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5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6.xml" ContentType="application/vnd.openxmlformats-officedocument.them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7.xml" ContentType="application/vnd.openxmlformats-officedocument.them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8.xml" ContentType="application/vnd.openxmlformats-officedocument.them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9.xml" ContentType="application/vnd.openxmlformats-officedocument.theme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heme/theme10.xml" ContentType="application/vnd.openxmlformats-officedocument.theme+xml"/>
  <Override PartName="/ppt/theme/theme11.xml" ContentType="application/vnd.openxmlformats-officedocument.theme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notesSlides/notesSlide1.xml" ContentType="application/vnd.openxmlformats-officedocument.presentationml.notesSlide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notesSlides/notesSlide2.xml" ContentType="application/vnd.openxmlformats-officedocument.presentationml.notesSlide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notesSlides/notesSlide3.xml" ContentType="application/vnd.openxmlformats-officedocument.presentationml.notesSlide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notesSlides/notesSlide4.xml" ContentType="application/vnd.openxmlformats-officedocument.presentationml.notesSlide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notesSlides/notesSlide5.xml" ContentType="application/vnd.openxmlformats-officedocument.presentationml.notesSlide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notesSlides/notesSlide6.xml" ContentType="application/vnd.openxmlformats-officedocument.presentationml.notesSlide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notesSlides/notesSlide7.xml" ContentType="application/vnd.openxmlformats-officedocument.presentationml.notesSlide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48" r:id="rId3"/>
    <p:sldMasterId id="2147483667" r:id="rId4"/>
    <p:sldMasterId id="2147483674" r:id="rId5"/>
    <p:sldMasterId id="2147483681" r:id="rId6"/>
    <p:sldMasterId id="2147483688" r:id="rId7"/>
    <p:sldMasterId id="2147483691" r:id="rId8"/>
    <p:sldMasterId id="2147483694" r:id="rId9"/>
    <p:sldMasterId id="2147483699" r:id="rId10"/>
    <p:sldMasterId id="2147483703" r:id="rId11"/>
  </p:sldMasterIdLst>
  <p:notesMasterIdLst>
    <p:notesMasterId r:id="rId23"/>
  </p:notesMasterIdLst>
  <p:handoutMasterIdLst>
    <p:handoutMasterId r:id="rId24"/>
  </p:handoutMasterIdLst>
  <p:sldIdLst>
    <p:sldId id="343" r:id="rId12"/>
    <p:sldId id="545" r:id="rId13"/>
    <p:sldId id="541" r:id="rId14"/>
    <p:sldId id="542" r:id="rId15"/>
    <p:sldId id="532" r:id="rId16"/>
    <p:sldId id="533" r:id="rId17"/>
    <p:sldId id="534" r:id="rId18"/>
    <p:sldId id="539" r:id="rId19"/>
    <p:sldId id="536" r:id="rId20"/>
    <p:sldId id="537" r:id="rId21"/>
    <p:sldId id="544" r:id="rId22"/>
  </p:sldIdLst>
  <p:sldSz cx="12192000" cy="6858000"/>
  <p:notesSz cx="7010400" cy="9296400"/>
  <p:custDataLst>
    <p:tags r:id="rId2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66191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32383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98572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64763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330953" algn="l" defTabSz="93238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97142" algn="l" defTabSz="93238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63334" algn="l" defTabSz="93238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729526" algn="l" defTabSz="93238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384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or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2E2E2"/>
    <a:srgbClr val="0563BB"/>
    <a:srgbClr val="0354B0"/>
    <a:srgbClr val="0049A6"/>
    <a:srgbClr val="0457B5"/>
    <a:srgbClr val="10A2ED"/>
    <a:srgbClr val="087CE3"/>
    <a:srgbClr val="055CB9"/>
    <a:srgbClr val="035CB8"/>
    <a:srgbClr val="066B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470" autoAdjust="0"/>
    <p:restoredTop sz="96814" autoAdjust="0"/>
  </p:normalViewPr>
  <p:slideViewPr>
    <p:cSldViewPr snapToGrid="0" snapToObjects="1">
      <p:cViewPr varScale="1">
        <p:scale>
          <a:sx n="74" d="100"/>
          <a:sy n="74" d="100"/>
        </p:scale>
        <p:origin x="804" y="84"/>
      </p:cViewPr>
      <p:guideLst>
        <p:guide orient="horz" pos="2160"/>
        <p:guide pos="3840"/>
        <p:guide pos="384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2346" y="108"/>
      </p:cViewPr>
      <p:guideLst>
        <p:guide orient="horz" pos="2928"/>
        <p:guide pos="220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6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commentAuthors" Target="commentAuthors.xml"/><Relationship Id="rId3" Type="http://schemas.openxmlformats.org/officeDocument/2006/relationships/slideMaster" Target="slideMasters/slideMaster1.xml"/><Relationship Id="rId21" Type="http://schemas.openxmlformats.org/officeDocument/2006/relationships/slide" Target="slides/slide10.xml"/><Relationship Id="rId7" Type="http://schemas.openxmlformats.org/officeDocument/2006/relationships/slideMaster" Target="slideMasters/slideMaster5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4.xml"/><Relationship Id="rId11" Type="http://schemas.openxmlformats.org/officeDocument/2006/relationships/slideMaster" Target="slideMasters/slideMaster9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3.xml"/><Relationship Id="rId15" Type="http://schemas.openxmlformats.org/officeDocument/2006/relationships/slide" Target="slides/slide4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slideMaster" Target="slideMasters/slideMaster8.xml"/><Relationship Id="rId19" Type="http://schemas.openxmlformats.org/officeDocument/2006/relationships/slide" Target="slides/slide8.xml"/><Relationship Id="rId4" Type="http://schemas.openxmlformats.org/officeDocument/2006/relationships/slideMaster" Target="slideMasters/slideMaster2.xml"/><Relationship Id="rId9" Type="http://schemas.openxmlformats.org/officeDocument/2006/relationships/slideMaster" Target="slideMasters/slideMaster7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511175" y="498475"/>
            <a:ext cx="6038850" cy="33972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47580" y="4115224"/>
            <a:ext cx="6564723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65440" y="8943878"/>
            <a:ext cx="246862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1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812238" y="9589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912957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9785" indent="-118165" algn="l" defTabSz="912957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5938" indent="-184534" algn="l" defTabSz="912957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35434" indent="-127878" algn="l" defTabSz="912957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53601" indent="-116547" algn="l" defTabSz="912957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330953" algn="l" defTabSz="93238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7142" algn="l" defTabSz="93238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3334" algn="l" defTabSz="93238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29526" algn="l" defTabSz="93238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733754" y="8943878"/>
            <a:ext cx="78548" cy="169277"/>
          </a:xfrm>
        </p:spPr>
        <p:txBody>
          <a:bodyPr/>
          <a:lstStyle/>
          <a:p>
            <a:fld id="{3C3A632B-FBDE-46D4-BF6F-6D14421E6342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/>
          </p:nvPr>
        </p:nvSpPr>
        <p:spPr>
          <a:xfrm>
            <a:off x="511175" y="498475"/>
            <a:ext cx="6038850" cy="3397250"/>
          </a:xfrm>
        </p:spPr>
      </p:sp>
      <p:sp>
        <p:nvSpPr>
          <p:cNvPr id="10" name="Notes Placeholder 9"/>
          <p:cNvSpPr>
            <a:spLocks noGrp="1"/>
          </p:cNvSpPr>
          <p:nvPr>
            <p:ph type="body" idx="1"/>
          </p:nvPr>
        </p:nvSpPr>
        <p:spPr>
          <a:xfrm>
            <a:off x="247580" y="4115224"/>
            <a:ext cx="6564723" cy="246221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26291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8675" name="Notes Placeholder 2"/>
          <p:cNvSpPr>
            <a:spLocks noGrp="1"/>
          </p:cNvSpPr>
          <p:nvPr>
            <p:ph type="body" idx="1"/>
          </p:nvPr>
        </p:nvSpPr>
        <p:spPr>
          <a:xfrm>
            <a:off x="560466" y="4256322"/>
            <a:ext cx="5888804" cy="393954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s-ES" b="1" dirty="0" err="1">
                <a:latin typeface="Arial" pitchFamily="34" charset="0"/>
              </a:rPr>
              <a:t>Faculty</a:t>
            </a:r>
            <a:r>
              <a:rPr lang="es-ES" b="1" dirty="0">
                <a:latin typeface="Arial" pitchFamily="34" charset="0"/>
              </a:rPr>
              <a:t> notes</a:t>
            </a:r>
          </a:p>
          <a:p>
            <a:r>
              <a:rPr lang="es-ES" dirty="0">
                <a:latin typeface="Arial" pitchFamily="34" charset="0"/>
              </a:rPr>
              <a:t>- </a:t>
            </a:r>
            <a:r>
              <a:rPr lang="es-ES" dirty="0" err="1">
                <a:latin typeface="Arial" pitchFamily="34" charset="0"/>
              </a:rPr>
              <a:t>Faculty</a:t>
            </a:r>
            <a:r>
              <a:rPr lang="es-ES" dirty="0">
                <a:latin typeface="Arial" pitchFamily="34" charset="0"/>
              </a:rPr>
              <a:t> – </a:t>
            </a:r>
            <a:r>
              <a:rPr lang="es-ES" dirty="0" err="1">
                <a:latin typeface="Arial" pitchFamily="34" charset="0"/>
              </a:rPr>
              <a:t>we</a:t>
            </a:r>
            <a:r>
              <a:rPr lang="es-ES" dirty="0">
                <a:latin typeface="Arial" pitchFamily="34" charset="0"/>
              </a:rPr>
              <a:t> are </a:t>
            </a:r>
            <a:r>
              <a:rPr lang="es-ES" dirty="0" err="1">
                <a:latin typeface="Arial" pitchFamily="34" charset="0"/>
              </a:rPr>
              <a:t>going</a:t>
            </a:r>
            <a:r>
              <a:rPr lang="es-ES" dirty="0">
                <a:latin typeface="Arial" pitchFamily="34" charset="0"/>
              </a:rPr>
              <a:t> to divide </a:t>
            </a:r>
            <a:r>
              <a:rPr lang="es-ES" dirty="0" err="1">
                <a:latin typeface="Arial" pitchFamily="34" charset="0"/>
              </a:rPr>
              <a:t>participants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into</a:t>
            </a:r>
            <a:r>
              <a:rPr lang="es-ES" dirty="0">
                <a:latin typeface="Arial" pitchFamily="34" charset="0"/>
              </a:rPr>
              <a:t> 4 </a:t>
            </a:r>
            <a:r>
              <a:rPr lang="es-ES" dirty="0" err="1">
                <a:latin typeface="Arial" pitchFamily="34" charset="0"/>
              </a:rPr>
              <a:t>groups</a:t>
            </a:r>
            <a:r>
              <a:rPr lang="es-ES" dirty="0">
                <a:latin typeface="Arial" pitchFamily="34" charset="0"/>
              </a:rPr>
              <a:t> and </a:t>
            </a:r>
            <a:r>
              <a:rPr lang="es-ES" dirty="0" err="1">
                <a:latin typeface="Arial" pitchFamily="34" charset="0"/>
              </a:rPr>
              <a:t>have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them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teach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each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other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the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parts</a:t>
            </a:r>
            <a:r>
              <a:rPr lang="es-ES" dirty="0">
                <a:latin typeface="Arial" pitchFamily="34" charset="0"/>
              </a:rPr>
              <a:t> of </a:t>
            </a:r>
            <a:r>
              <a:rPr lang="es-ES" dirty="0" err="1">
                <a:latin typeface="Arial" pitchFamily="34" charset="0"/>
              </a:rPr>
              <a:t>this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framework</a:t>
            </a:r>
            <a:r>
              <a:rPr lang="es-ES" dirty="0">
                <a:latin typeface="Arial" pitchFamily="34" charset="0"/>
              </a:rPr>
              <a:t>.  </a:t>
            </a:r>
            <a:r>
              <a:rPr lang="es-ES" dirty="0" err="1">
                <a:latin typeface="Arial" pitchFamily="34" charset="0"/>
              </a:rPr>
              <a:t>Before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beginning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the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session</a:t>
            </a:r>
            <a:r>
              <a:rPr lang="es-ES" dirty="0">
                <a:latin typeface="Arial" pitchFamily="34" charset="0"/>
              </a:rPr>
              <a:t>, </a:t>
            </a:r>
            <a:r>
              <a:rPr lang="es-ES" dirty="0" err="1">
                <a:latin typeface="Arial" pitchFamily="34" charset="0"/>
              </a:rPr>
              <a:t>we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will</a:t>
            </a:r>
            <a:r>
              <a:rPr lang="es-ES" dirty="0">
                <a:latin typeface="Arial" pitchFamily="34" charset="0"/>
              </a:rPr>
              <a:t> introduce </a:t>
            </a:r>
            <a:r>
              <a:rPr lang="es-ES" dirty="0" err="1">
                <a:latin typeface="Arial" pitchFamily="34" charset="0"/>
              </a:rPr>
              <a:t>the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framework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on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this</a:t>
            </a:r>
            <a:r>
              <a:rPr lang="es-ES" dirty="0">
                <a:latin typeface="Arial" pitchFamily="34" charset="0"/>
              </a:rPr>
              <a:t> page.  </a:t>
            </a:r>
          </a:p>
          <a:p>
            <a:r>
              <a:rPr lang="es-ES" dirty="0">
                <a:latin typeface="Arial" pitchFamily="34" charset="0"/>
              </a:rPr>
              <a:t>- </a:t>
            </a:r>
            <a:r>
              <a:rPr lang="es-ES" dirty="0" err="1">
                <a:latin typeface="Arial" pitchFamily="34" charset="0"/>
              </a:rPr>
              <a:t>This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is</a:t>
            </a:r>
            <a:r>
              <a:rPr lang="es-ES" dirty="0">
                <a:latin typeface="Arial" pitchFamily="34" charset="0"/>
              </a:rPr>
              <a:t> a </a:t>
            </a:r>
            <a:r>
              <a:rPr lang="es-ES" dirty="0" err="1">
                <a:latin typeface="Arial" pitchFamily="34" charset="0"/>
              </a:rPr>
              <a:t>system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for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describing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the</a:t>
            </a:r>
            <a:r>
              <a:rPr lang="es-ES" dirty="0">
                <a:latin typeface="Arial" pitchFamily="34" charset="0"/>
              </a:rPr>
              <a:t> new </a:t>
            </a:r>
            <a:r>
              <a:rPr lang="es-ES" dirty="0" err="1">
                <a:latin typeface="Arial" pitchFamily="34" charset="0"/>
              </a:rPr>
              <a:t>business</a:t>
            </a:r>
            <a:r>
              <a:rPr lang="es-ES" dirty="0">
                <a:latin typeface="Arial" pitchFamily="34" charset="0"/>
              </a:rPr>
              <a:t> as usual and </a:t>
            </a:r>
            <a:r>
              <a:rPr lang="es-ES" dirty="0" err="1">
                <a:latin typeface="Arial" pitchFamily="34" charset="0"/>
              </a:rPr>
              <a:t>the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basics</a:t>
            </a:r>
            <a:r>
              <a:rPr lang="es-ES" dirty="0">
                <a:latin typeface="Arial" pitchFamily="34" charset="0"/>
              </a:rPr>
              <a:t> of </a:t>
            </a:r>
            <a:r>
              <a:rPr lang="es-ES" dirty="0" err="1">
                <a:latin typeface="Arial" pitchFamily="34" charset="0"/>
              </a:rPr>
              <a:t>management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practices</a:t>
            </a:r>
            <a:r>
              <a:rPr lang="es-ES" dirty="0">
                <a:latin typeface="Arial" pitchFamily="34" charset="0"/>
              </a:rPr>
              <a:t>.</a:t>
            </a:r>
          </a:p>
          <a:p>
            <a:r>
              <a:rPr lang="es-ES" dirty="0">
                <a:latin typeface="Arial" pitchFamily="34" charset="0"/>
              </a:rPr>
              <a:t>- </a:t>
            </a:r>
            <a:r>
              <a:rPr lang="es-ES" dirty="0" err="1">
                <a:latin typeface="Arial" pitchFamily="34" charset="0"/>
              </a:rPr>
              <a:t>This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is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about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aligning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your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team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around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common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purposes</a:t>
            </a:r>
            <a:r>
              <a:rPr lang="es-ES" dirty="0">
                <a:latin typeface="Arial" pitchFamily="34" charset="0"/>
              </a:rPr>
              <a:t> and </a:t>
            </a:r>
            <a:r>
              <a:rPr lang="es-ES" dirty="0" err="1">
                <a:latin typeface="Arial" pitchFamily="34" charset="0"/>
              </a:rPr>
              <a:t>daily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objectives</a:t>
            </a:r>
            <a:r>
              <a:rPr lang="es-ES" dirty="0">
                <a:latin typeface="Arial" pitchFamily="34" charset="0"/>
              </a:rPr>
              <a:t> and </a:t>
            </a:r>
            <a:r>
              <a:rPr lang="es-ES" dirty="0" err="1">
                <a:latin typeface="Arial" pitchFamily="34" charset="0"/>
              </a:rPr>
              <a:t>is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about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leveraging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your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people</a:t>
            </a:r>
            <a:r>
              <a:rPr lang="es-ES" dirty="0">
                <a:latin typeface="Arial" pitchFamily="34" charset="0"/>
              </a:rPr>
              <a:t> to </a:t>
            </a:r>
            <a:r>
              <a:rPr lang="es-ES" dirty="0" err="1">
                <a:latin typeface="Arial" pitchFamily="34" charset="0"/>
              </a:rPr>
              <a:t>their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fullest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potential</a:t>
            </a:r>
            <a:r>
              <a:rPr lang="es-ES" dirty="0">
                <a:latin typeface="Arial" pitchFamily="34" charset="0"/>
              </a:rPr>
              <a:t> and to </a:t>
            </a:r>
            <a:r>
              <a:rPr lang="es-ES" dirty="0" err="1">
                <a:latin typeface="Arial" pitchFamily="34" charset="0"/>
              </a:rPr>
              <a:t>have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them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contribute</a:t>
            </a:r>
            <a:r>
              <a:rPr lang="es-ES" dirty="0">
                <a:latin typeface="Arial" pitchFamily="34" charset="0"/>
              </a:rPr>
              <a:t> to </a:t>
            </a:r>
            <a:r>
              <a:rPr lang="es-ES" dirty="0" err="1">
                <a:latin typeface="Arial" pitchFamily="34" charset="0"/>
              </a:rPr>
              <a:t>improving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the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ways</a:t>
            </a:r>
            <a:r>
              <a:rPr lang="es-ES" dirty="0">
                <a:latin typeface="Arial" pitchFamily="34" charset="0"/>
              </a:rPr>
              <a:t> of </a:t>
            </a:r>
            <a:r>
              <a:rPr lang="es-ES" dirty="0" err="1">
                <a:latin typeface="Arial" pitchFamily="34" charset="0"/>
              </a:rPr>
              <a:t>working</a:t>
            </a:r>
            <a:endParaRPr lang="es-ES" dirty="0">
              <a:latin typeface="Arial" pitchFamily="34" charset="0"/>
            </a:endParaRPr>
          </a:p>
          <a:p>
            <a:r>
              <a:rPr lang="es-ES" dirty="0">
                <a:latin typeface="Arial" pitchFamily="34" charset="0"/>
              </a:rPr>
              <a:t>- </a:t>
            </a:r>
            <a:r>
              <a:rPr lang="es-ES" dirty="0" err="1">
                <a:latin typeface="Arial" pitchFamily="34" charset="0"/>
              </a:rPr>
              <a:t>We’re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going</a:t>
            </a:r>
            <a:r>
              <a:rPr lang="es-ES" dirty="0">
                <a:latin typeface="Arial" pitchFamily="34" charset="0"/>
              </a:rPr>
              <a:t> to explore </a:t>
            </a:r>
            <a:r>
              <a:rPr lang="es-ES" dirty="0" err="1">
                <a:latin typeface="Arial" pitchFamily="34" charset="0"/>
              </a:rPr>
              <a:t>these</a:t>
            </a:r>
            <a:r>
              <a:rPr lang="es-ES" dirty="0">
                <a:latin typeface="Arial" pitchFamily="34" charset="0"/>
              </a:rPr>
              <a:t> 4 </a:t>
            </a:r>
            <a:r>
              <a:rPr lang="es-ES" dirty="0" err="1">
                <a:latin typeface="Arial" pitchFamily="34" charset="0"/>
              </a:rPr>
              <a:t>loops</a:t>
            </a:r>
            <a:r>
              <a:rPr lang="es-ES" dirty="0">
                <a:latin typeface="Arial" pitchFamily="34" charset="0"/>
              </a:rPr>
              <a:t> in more </a:t>
            </a:r>
            <a:r>
              <a:rPr lang="es-ES" dirty="0" err="1">
                <a:latin typeface="Arial" pitchFamily="34" charset="0"/>
              </a:rPr>
              <a:t>detail</a:t>
            </a:r>
            <a:r>
              <a:rPr lang="es-ES" dirty="0">
                <a:latin typeface="Arial" pitchFamily="34" charset="0"/>
              </a:rPr>
              <a:t> – break </a:t>
            </a:r>
            <a:r>
              <a:rPr lang="es-ES" dirty="0" err="1">
                <a:latin typeface="Arial" pitchFamily="34" charset="0"/>
              </a:rPr>
              <a:t>the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groups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into</a:t>
            </a:r>
            <a:r>
              <a:rPr lang="es-ES" dirty="0">
                <a:latin typeface="Arial" pitchFamily="34" charset="0"/>
              </a:rPr>
              <a:t> 4 </a:t>
            </a:r>
            <a:r>
              <a:rPr lang="es-ES" dirty="0" err="1">
                <a:latin typeface="Arial" pitchFamily="34" charset="0"/>
              </a:rPr>
              <a:t>teams</a:t>
            </a:r>
            <a:r>
              <a:rPr lang="es-ES" dirty="0">
                <a:latin typeface="Arial" pitchFamily="34" charset="0"/>
              </a:rPr>
              <a:t>.  </a:t>
            </a:r>
            <a:r>
              <a:rPr lang="es-ES" dirty="0" err="1">
                <a:latin typeface="Arial" pitchFamily="34" charset="0"/>
              </a:rPr>
              <a:t>Each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team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will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get</a:t>
            </a:r>
            <a:r>
              <a:rPr lang="es-ES" dirty="0">
                <a:latin typeface="Arial" pitchFamily="34" charset="0"/>
              </a:rPr>
              <a:t> a </a:t>
            </a:r>
            <a:r>
              <a:rPr lang="es-ES" dirty="0" err="1">
                <a:latin typeface="Arial" pitchFamily="34" charset="0"/>
              </a:rPr>
              <a:t>hand-out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with</a:t>
            </a:r>
            <a:r>
              <a:rPr lang="es-ES" dirty="0">
                <a:latin typeface="Arial" pitchFamily="34" charset="0"/>
              </a:rPr>
              <a:t> more </a:t>
            </a:r>
            <a:r>
              <a:rPr lang="es-ES" dirty="0" err="1">
                <a:latin typeface="Arial" pitchFamily="34" charset="0"/>
              </a:rPr>
              <a:t>information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about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your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loop</a:t>
            </a:r>
            <a:r>
              <a:rPr lang="es-ES" dirty="0">
                <a:latin typeface="Arial" pitchFamily="34" charset="0"/>
              </a:rPr>
              <a:t> and </a:t>
            </a:r>
            <a:r>
              <a:rPr lang="es-ES" dirty="0" err="1">
                <a:latin typeface="Arial" pitchFamily="34" charset="0"/>
              </a:rPr>
              <a:t>will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have</a:t>
            </a:r>
            <a:r>
              <a:rPr lang="es-ES" dirty="0">
                <a:latin typeface="Arial" pitchFamily="34" charset="0"/>
              </a:rPr>
              <a:t> 15 minutes to </a:t>
            </a:r>
            <a:r>
              <a:rPr lang="es-ES" dirty="0" err="1">
                <a:latin typeface="Arial" pitchFamily="34" charset="0"/>
              </a:rPr>
              <a:t>review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the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hand-out</a:t>
            </a:r>
            <a:r>
              <a:rPr lang="es-ES" dirty="0">
                <a:latin typeface="Arial" pitchFamily="34" charset="0"/>
              </a:rPr>
              <a:t> and </a:t>
            </a:r>
            <a:r>
              <a:rPr lang="es-ES" dirty="0" err="1">
                <a:latin typeface="Arial" pitchFamily="34" charset="0"/>
              </a:rPr>
              <a:t>then</a:t>
            </a:r>
            <a:r>
              <a:rPr lang="es-ES" dirty="0">
                <a:latin typeface="Arial" pitchFamily="34" charset="0"/>
              </a:rPr>
              <a:t> 4 minutes </a:t>
            </a:r>
            <a:r>
              <a:rPr lang="es-ES" dirty="0" err="1">
                <a:latin typeface="Arial" pitchFamily="34" charset="0"/>
              </a:rPr>
              <a:t>for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each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group</a:t>
            </a:r>
            <a:r>
              <a:rPr lang="es-ES" dirty="0">
                <a:latin typeface="Arial" pitchFamily="34" charset="0"/>
              </a:rPr>
              <a:t> to “</a:t>
            </a:r>
            <a:r>
              <a:rPr lang="es-ES" dirty="0" err="1">
                <a:latin typeface="Arial" pitchFamily="34" charset="0"/>
              </a:rPr>
              <a:t>teach</a:t>
            </a:r>
            <a:r>
              <a:rPr lang="es-ES" dirty="0">
                <a:latin typeface="Arial" pitchFamily="34" charset="0"/>
              </a:rPr>
              <a:t>” </a:t>
            </a:r>
            <a:r>
              <a:rPr lang="es-ES" dirty="0" err="1">
                <a:latin typeface="Arial" pitchFamily="34" charset="0"/>
              </a:rPr>
              <a:t>their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loop</a:t>
            </a:r>
            <a:r>
              <a:rPr lang="es-ES" dirty="0">
                <a:latin typeface="Arial" pitchFamily="34" charset="0"/>
              </a:rPr>
              <a:t> to </a:t>
            </a:r>
            <a:r>
              <a:rPr lang="es-ES" dirty="0" err="1">
                <a:latin typeface="Arial" pitchFamily="34" charset="0"/>
              </a:rPr>
              <a:t>the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rest</a:t>
            </a:r>
            <a:r>
              <a:rPr lang="es-ES" dirty="0">
                <a:latin typeface="Arial" pitchFamily="34" charset="0"/>
              </a:rPr>
              <a:t> of </a:t>
            </a:r>
            <a:r>
              <a:rPr lang="es-ES" dirty="0" err="1">
                <a:latin typeface="Arial" pitchFamily="34" charset="0"/>
              </a:rPr>
              <a:t>the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participants</a:t>
            </a:r>
            <a:endParaRPr lang="es-ES" b="1" dirty="0">
              <a:latin typeface="Arial" pitchFamily="34" charset="0"/>
            </a:endParaRPr>
          </a:p>
        </p:txBody>
      </p:sp>
      <p:sp>
        <p:nvSpPr>
          <p:cNvPr id="28676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6726502" y="7530524"/>
            <a:ext cx="84959" cy="184666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08565" indent="-272525" eaLnBrk="0" hangingPunct="0">
              <a:defRPr sz="1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090101" indent="-218020" eaLnBrk="0" hangingPunct="0">
              <a:defRPr sz="1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526143" indent="-218020" eaLnBrk="0" hangingPunct="0">
              <a:defRPr sz="1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1962184" indent="-218020" eaLnBrk="0" hangingPunct="0">
              <a:defRPr sz="1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398223" indent="-21802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834264" indent="-21802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270305" indent="-21802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706345" indent="-21802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fld id="{603195C4-642D-47C0-9C0E-54F4B1E1B088}" type="slidenum">
              <a:rPr lang="es-ES" sz="1200"/>
              <a:pPr eaLnBrk="1" hangingPunct="1"/>
              <a:t>3</a:t>
            </a:fld>
            <a:endParaRPr lang="es-ES" sz="1200" dirty="0"/>
          </a:p>
        </p:txBody>
      </p:sp>
      <p:sp>
        <p:nvSpPr>
          <p:cNvPr id="28677" name="Footer Placeholder 4"/>
          <p:cNvSpPr>
            <a:spLocks noGrp="1"/>
          </p:cNvSpPr>
          <p:nvPr>
            <p:ph type="ftr" sz="quarter" idx="4"/>
          </p:nvPr>
        </p:nvSpPr>
        <p:spPr>
          <a:xfrm>
            <a:off x="3966932" y="63430"/>
            <a:ext cx="2749150" cy="123111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08565" indent="-272525" eaLnBrk="0" hangingPunct="0">
              <a:defRPr sz="1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090101" indent="-218020" eaLnBrk="0" hangingPunct="0">
              <a:defRPr sz="1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526143" indent="-218020" eaLnBrk="0" hangingPunct="0">
              <a:defRPr sz="1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1962184" indent="-218020" eaLnBrk="0" hangingPunct="0">
              <a:defRPr sz="1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398223" indent="-21802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834264" indent="-21802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270305" indent="-21802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706345" indent="-21802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s-ES" sz="800" dirty="0"/>
              <a:t>JOH-TEM015-20101127-YB-Template 1- TARIK </a:t>
            </a:r>
            <a:r>
              <a:rPr lang="es-ES" sz="800" dirty="0" err="1"/>
              <a:t>ALATOVIC</a:t>
            </a:r>
            <a:endParaRPr lang="es-ES" sz="800" dirty="0"/>
          </a:p>
        </p:txBody>
      </p:sp>
    </p:spTree>
    <p:extLst>
      <p:ext uri="{BB962C8B-B14F-4D97-AF65-F5344CB8AC3E}">
        <p14:creationId xmlns:p14="http://schemas.microsoft.com/office/powerpoint/2010/main" val="22905605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6733755" y="8943878"/>
            <a:ext cx="78547" cy="169277"/>
          </a:xfrm>
          <a:ln/>
        </p:spPr>
        <p:txBody>
          <a:bodyPr/>
          <a:lstStyle/>
          <a:p>
            <a:fld id="{F7521BF2-83D5-4125-9E0F-95ADBE77112F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75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57150" y="514350"/>
            <a:ext cx="6440488" cy="3622675"/>
          </a:xfrm>
          <a:ln/>
        </p:spPr>
      </p:sp>
      <p:sp>
        <p:nvSpPr>
          <p:cNvPr id="57549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30134" y="4422078"/>
            <a:ext cx="5574734" cy="246221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44580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6753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1866754" name="Notes Placeholder 2"/>
          <p:cNvSpPr>
            <a:spLocks noGrp="1"/>
          </p:cNvSpPr>
          <p:nvPr>
            <p:ph type="body" idx="1"/>
          </p:nvPr>
        </p:nvSpPr>
        <p:spPr>
          <a:xfrm>
            <a:off x="532344" y="4786367"/>
            <a:ext cx="5595528" cy="246221"/>
          </a:xfrm>
          <a:noFill/>
        </p:spPr>
        <p:txBody>
          <a:bodyPr/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312632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8500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97751" y="4647078"/>
            <a:ext cx="6178821" cy="246221"/>
          </a:xfrm>
        </p:spPr>
        <p:txBody>
          <a:bodyPr/>
          <a:lstStyle/>
          <a:p>
            <a:endParaRPr lang="es-C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598023" y="8308552"/>
            <a:ext cx="78548" cy="169277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89584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6753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1866754" name="Notes Placeholder 2"/>
          <p:cNvSpPr>
            <a:spLocks noGrp="1"/>
          </p:cNvSpPr>
          <p:nvPr>
            <p:ph type="body" idx="1"/>
          </p:nvPr>
        </p:nvSpPr>
        <p:spPr>
          <a:xfrm>
            <a:off x="532344" y="4786367"/>
            <a:ext cx="5595528" cy="246221"/>
          </a:xfrm>
          <a:noFill/>
        </p:spPr>
        <p:txBody>
          <a:bodyPr/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18451158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44652" y="4804993"/>
            <a:ext cx="5724856" cy="246221"/>
          </a:xfrm>
        </p:spPr>
        <p:txBody>
          <a:bodyPr/>
          <a:lstStyle/>
          <a:p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38630733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733754" y="8943878"/>
            <a:ext cx="78548" cy="169277"/>
          </a:xfrm>
        </p:spPr>
        <p:txBody>
          <a:bodyPr/>
          <a:lstStyle/>
          <a:p>
            <a:fld id="{3C3A632B-FBDE-46D4-BF6F-6D14421E6342}" type="slidenum">
              <a:rPr lang="en-US" smtClean="0">
                <a:solidFill>
                  <a:srgbClr val="000000"/>
                </a:solidFill>
              </a:rPr>
              <a:pPr/>
              <a:t>11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/>
          </p:nvPr>
        </p:nvSpPr>
        <p:spPr>
          <a:xfrm>
            <a:off x="511175" y="498475"/>
            <a:ext cx="6038850" cy="3397250"/>
          </a:xfrm>
        </p:spPr>
      </p:sp>
      <p:sp>
        <p:nvSpPr>
          <p:cNvPr id="10" name="Notes Placeholder 9"/>
          <p:cNvSpPr>
            <a:spLocks noGrp="1"/>
          </p:cNvSpPr>
          <p:nvPr>
            <p:ph type="body" idx="1"/>
          </p:nvPr>
        </p:nvSpPr>
        <p:spPr>
          <a:xfrm>
            <a:off x="247580" y="4115224"/>
            <a:ext cx="6564723" cy="246221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25718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jp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4.png"/><Relationship Id="rId2" Type="http://schemas.openxmlformats.org/officeDocument/2006/relationships/tags" Target="../tags/tag2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2.emf"/><Relationship Id="rId5" Type="http://schemas.openxmlformats.org/officeDocument/2006/relationships/image" Target="../media/image9.emf"/><Relationship Id="rId4" Type="http://schemas.openxmlformats.org/officeDocument/2006/relationships/oleObject" Target="../embeddings/oleObject9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g"/><Relationship Id="rId3" Type="http://schemas.openxmlformats.org/officeDocument/2006/relationships/tags" Target="../tags/tag31.xml"/><Relationship Id="rId7" Type="http://schemas.openxmlformats.org/officeDocument/2006/relationships/image" Target="../media/image10.emf"/><Relationship Id="rId2" Type="http://schemas.openxmlformats.org/officeDocument/2006/relationships/tags" Target="../tags/tag3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1.bin"/><Relationship Id="rId10" Type="http://schemas.openxmlformats.org/officeDocument/2006/relationships/image" Target="../media/image19.png"/><Relationship Id="rId4" Type="http://schemas.openxmlformats.org/officeDocument/2006/relationships/slideMaster" Target="../slideMasters/slideMaster4.xml"/><Relationship Id="rId9" Type="http://schemas.openxmlformats.org/officeDocument/2006/relationships/image" Target="../media/image12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2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g"/><Relationship Id="rId3" Type="http://schemas.openxmlformats.org/officeDocument/2006/relationships/tags" Target="../tags/tag34.xml"/><Relationship Id="rId7" Type="http://schemas.openxmlformats.org/officeDocument/2006/relationships/image" Target="../media/image10.emf"/><Relationship Id="rId2" Type="http://schemas.openxmlformats.org/officeDocument/2006/relationships/tags" Target="../tags/tag3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3.bin"/><Relationship Id="rId10" Type="http://schemas.openxmlformats.org/officeDocument/2006/relationships/image" Target="../media/image19.png"/><Relationship Id="rId4" Type="http://schemas.openxmlformats.org/officeDocument/2006/relationships/slideMaster" Target="../slideMasters/slideMaster4.xml"/><Relationship Id="rId9" Type="http://schemas.openxmlformats.org/officeDocument/2006/relationships/image" Target="../media/image12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4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5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7.bin"/><Relationship Id="rId4" Type="http://schemas.openxmlformats.org/officeDocument/2006/relationships/image" Target="../media/image4.jp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5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8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6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4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1.bin"/><Relationship Id="rId4" Type="http://schemas.openxmlformats.org/officeDocument/2006/relationships/image" Target="../media/image4.jp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5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2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93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4.bin"/><Relationship Id="rId4" Type="http://schemas.openxmlformats.org/officeDocument/2006/relationships/image" Target="../media/image4.jp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94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5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7.bin"/><Relationship Id="rId4" Type="http://schemas.openxmlformats.org/officeDocument/2006/relationships/image" Target="../media/image4.jp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8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23.xml"/><Relationship Id="rId7" Type="http://schemas.openxmlformats.org/officeDocument/2006/relationships/image" Target="../media/image10.emf"/><Relationship Id="rId2" Type="http://schemas.openxmlformats.org/officeDocument/2006/relationships/tags" Target="../tags/tag2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5.bin"/><Relationship Id="rId10" Type="http://schemas.openxmlformats.org/officeDocument/2006/relationships/image" Target="../media/image13.pn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12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9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1.bin"/><Relationship Id="rId4" Type="http://schemas.openxmlformats.org/officeDocument/2006/relationships/image" Target="../media/image4.jp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2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4.png"/><Relationship Id="rId2" Type="http://schemas.openxmlformats.org/officeDocument/2006/relationships/tags" Target="../tags/tag2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2.emf"/><Relationship Id="rId5" Type="http://schemas.openxmlformats.org/officeDocument/2006/relationships/image" Target="../media/image9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27.xml"/><Relationship Id="rId7" Type="http://schemas.openxmlformats.org/officeDocument/2006/relationships/image" Target="../media/image10.emf"/><Relationship Id="rId2" Type="http://schemas.openxmlformats.org/officeDocument/2006/relationships/tags" Target="../tags/tag2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8.bin"/><Relationship Id="rId10" Type="http://schemas.openxmlformats.org/officeDocument/2006/relationships/image" Target="../media/image13.png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1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 bwMode="ltGray">
      <p:bgPr>
        <a:blipFill dpi="0" rotWithShape="1">
          <a:blip r:embed="rId4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6487202"/>
              </p:ext>
            </p:extLst>
          </p:nvPr>
        </p:nvGraphicFramePr>
        <p:xfrm>
          <a:off x="2167" y="1627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30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7" y="1627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1874175" y="1256239"/>
            <a:ext cx="8478152" cy="492443"/>
          </a:xfrm>
          <a:prstGeom prst="rect">
            <a:avLst/>
          </a:prstGeom>
        </p:spPr>
        <p:txBody>
          <a:bodyPr anchor="t"/>
          <a:lstStyle>
            <a:lvl1pPr>
              <a:defRPr lang="x-none" sz="3200" b="1" baseline="0">
                <a:solidFill>
                  <a:schemeClr val="accent3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1874174" y="2800224"/>
            <a:ext cx="3815427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6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1874174" y="4087975"/>
            <a:ext cx="381542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x-none" sz="16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11055952" y="6566446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s-ES_tradnl" smtClean="0">
                <a:solidFill>
                  <a:srgbClr val="FFFFFF"/>
                </a:solidFill>
              </a:rPr>
              <a:pPr algn="ctr"/>
              <a:t>‹Nº›</a:t>
            </a:fld>
            <a:endParaRPr lang="es-ES_tradnl" dirty="0">
              <a:solidFill>
                <a:srgbClr val="FFFFFF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 err="1" smtClean="0"/>
              <a:t>Click</a:t>
            </a:r>
            <a:r>
              <a:rPr lang="es-ES_tradnl" dirty="0" smtClean="0"/>
              <a:t> to </a:t>
            </a:r>
            <a:r>
              <a:rPr lang="es-ES_tradnl" dirty="0" err="1" smtClean="0"/>
              <a:t>edit</a:t>
            </a:r>
            <a:r>
              <a:rPr lang="es-ES_tradnl" dirty="0" smtClean="0"/>
              <a:t> Master </a:t>
            </a:r>
            <a:r>
              <a:rPr lang="es-ES_tradnl" dirty="0" err="1" smtClean="0"/>
              <a:t>title</a:t>
            </a:r>
            <a:r>
              <a:rPr lang="es-ES_tradnl" dirty="0" smtClean="0"/>
              <a:t> </a:t>
            </a:r>
            <a:r>
              <a:rPr lang="es-ES_tradnl" dirty="0" err="1" smtClean="0"/>
              <a:t>style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4098357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11055952" y="6566446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s-ES_tradnl" smtClean="0">
                <a:solidFill>
                  <a:srgbClr val="FFFFFF"/>
                </a:solidFill>
              </a:rPr>
              <a:pPr algn="ctr"/>
              <a:t>‹Nº›</a:t>
            </a:fld>
            <a:endParaRPr lang="es-ES_tradnl" dirty="0">
              <a:solidFill>
                <a:srgbClr val="FFFFFF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 err="1" smtClean="0"/>
              <a:t>Click</a:t>
            </a:r>
            <a:r>
              <a:rPr lang="es-ES_tradnl" dirty="0" smtClean="0"/>
              <a:t> to </a:t>
            </a:r>
            <a:r>
              <a:rPr lang="es-ES_tradnl" dirty="0" err="1" smtClean="0"/>
              <a:t>edit</a:t>
            </a:r>
            <a:r>
              <a:rPr lang="es-ES_tradnl" dirty="0" smtClean="0"/>
              <a:t> Master </a:t>
            </a:r>
            <a:r>
              <a:rPr lang="es-ES_tradnl" dirty="0" err="1" smtClean="0"/>
              <a:t>title</a:t>
            </a:r>
            <a:r>
              <a:rPr lang="es-ES_tradnl" dirty="0" smtClean="0"/>
              <a:t> </a:t>
            </a:r>
            <a:r>
              <a:rPr lang="es-ES_tradnl" dirty="0" err="1" smtClean="0"/>
              <a:t>style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40226156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64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38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4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Title Elements"/>
          <p:cNvGrpSpPr/>
          <p:nvPr userDrawn="1"/>
        </p:nvGrpSpPr>
        <p:grpSpPr>
          <a:xfrm>
            <a:off x="0" y="3"/>
            <a:ext cx="12187682" cy="6859620"/>
            <a:chOff x="0" y="0"/>
            <a:chExt cx="8958264" cy="6723063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2640013" y="4890273"/>
              <a:ext cx="4935538" cy="2564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CO" sz="1700" dirty="0" smtClean="0">
                  <a:solidFill>
                    <a:srgbClr val="000000"/>
                  </a:solidFill>
                </a:rPr>
                <a:t>Tipo de Documento</a:t>
              </a: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2640013" y="5199063"/>
              <a:ext cx="4935538" cy="2564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CO" sz="1700" dirty="0" smtClean="0">
                  <a:solidFill>
                    <a:srgbClr val="000000"/>
                  </a:solidFill>
                </a:rPr>
                <a:t>Fecha</a:t>
              </a:r>
            </a:p>
          </p:txBody>
        </p:sp>
        <p:sp>
          <p:nvSpPr>
            <p:cNvPr id="11" name="Disclaimer" hidden="1"/>
            <p:cNvSpPr>
              <a:spLocks noChangeArrowheads="1"/>
            </p:cNvSpPr>
            <p:nvPr/>
          </p:nvSpPr>
          <p:spPr bwMode="auto">
            <a:xfrm>
              <a:off x="2640013" y="5838800"/>
              <a:ext cx="5121275" cy="3016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977311" eaLnBrk="0" hangingPunct="0"/>
              <a:r>
                <a:rPr lang="es-CO" sz="1000" dirty="0" smtClean="0">
                  <a:solidFill>
                    <a:srgbClr val="000000"/>
                  </a:solidFill>
                </a:rPr>
                <a:t>DOCUMENTO CONFIDENCIAL PROPIEDAD DE </a:t>
              </a:r>
              <a:r>
                <a:rPr lang="es-CO" sz="1000" dirty="0" err="1" smtClean="0">
                  <a:solidFill>
                    <a:srgbClr val="000000"/>
                  </a:solidFill>
                </a:rPr>
                <a:t>McKINSEY</a:t>
              </a:r>
              <a:r>
                <a:rPr lang="es-CO" sz="1000" dirty="0" smtClean="0">
                  <a:solidFill>
                    <a:srgbClr val="000000"/>
                  </a:solidFill>
                </a:rPr>
                <a:t> &amp; CO.</a:t>
              </a:r>
            </a:p>
            <a:p>
              <a:pPr defTabSz="977311" eaLnBrk="0" hangingPunct="0"/>
              <a:r>
                <a:rPr lang="es-CO" sz="1000" dirty="0" smtClean="0">
                  <a:solidFill>
                    <a:srgbClr val="000000"/>
                  </a:solidFill>
                </a:rPr>
                <a:t>Queda prohibido su uso y distribución sin la autorización expresa de McKinsey &amp; Company </a:t>
              </a:r>
              <a:endParaRPr lang="es-CO" sz="1000" dirty="0">
                <a:solidFill>
                  <a:srgbClr val="000000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2238375"/>
              <a:ext cx="2193925" cy="4484688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CO" sz="1900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2193925" cy="2238375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CO" sz="1900" dirty="0">
                <a:solidFill>
                  <a:srgbClr val="000000"/>
                </a:solidFill>
              </a:endParaRPr>
            </a:p>
          </p:txBody>
        </p:sp>
        <p:sp>
          <p:nvSpPr>
            <p:cNvPr id="19" name="Rectangle 18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 sz="1900" dirty="0" smtClean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60080" y="6574548"/>
            <a:ext cx="2226740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Rectangle 16"/>
          <p:cNvSpPr>
            <a:spLocks/>
          </p:cNvSpPr>
          <p:nvPr userDrawn="1"/>
        </p:nvSpPr>
        <p:spPr>
          <a:xfrm>
            <a:off x="3010747" y="1464249"/>
            <a:ext cx="9181257" cy="3566678"/>
          </a:xfrm>
          <a:prstGeom prst="rect">
            <a:avLst/>
          </a:prstGeom>
          <a:solidFill>
            <a:schemeClr val="bg2">
              <a:alpha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1031" tIns="55516" rIns="111031" bIns="55516" rtlCol="0" anchor="ctr"/>
          <a:lstStyle/>
          <a:p>
            <a:pPr algn="ctr"/>
            <a:endParaRPr lang="en-US" sz="1900" dirty="0" smtClean="0">
              <a:solidFill>
                <a:srgbClr val="000000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20" y="3240"/>
            <a:ext cx="12176882" cy="6856381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3" y="3"/>
            <a:ext cx="12181202" cy="6858000"/>
          </a:xfrm>
          <a:prstGeom prst="rect">
            <a:avLst/>
          </a:prstGeom>
          <a:solidFill>
            <a:schemeClr val="bg2">
              <a:alpha val="4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1031" tIns="55516" rIns="111031" bIns="55516" rtlCol="0" anchor="ctr"/>
          <a:lstStyle/>
          <a:p>
            <a:pPr algn="ctr"/>
            <a:endParaRPr lang="es-CO" sz="1900" dirty="0" err="1" smtClean="0">
              <a:solidFill>
                <a:srgbClr val="000000"/>
              </a:solidFill>
            </a:endParaRPr>
          </a:p>
        </p:txBody>
      </p:sp>
      <p:sp>
        <p:nvSpPr>
          <p:cNvPr id="29" name="Rectangle 28"/>
          <p:cNvSpPr>
            <a:spLocks/>
          </p:cNvSpPr>
          <p:nvPr userDrawn="1"/>
        </p:nvSpPr>
        <p:spPr>
          <a:xfrm>
            <a:off x="3416168" y="1984421"/>
            <a:ext cx="8775837" cy="2272271"/>
          </a:xfrm>
          <a:prstGeom prst="rect">
            <a:avLst/>
          </a:prstGeom>
          <a:solidFill>
            <a:schemeClr val="tx1">
              <a:lumMod val="95000"/>
              <a:lumOff val="5000"/>
              <a:alpha val="4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1031" tIns="55516" rIns="111031" bIns="55516" rtlCol="0" anchor="ctr"/>
          <a:lstStyle/>
          <a:p>
            <a:pPr algn="ctr"/>
            <a:endParaRPr lang="en-US" sz="1900" dirty="0" smtClean="0">
              <a:solidFill>
                <a:srgbClr val="000000"/>
              </a:solidFill>
            </a:endParaRPr>
          </a:p>
        </p:txBody>
      </p:sp>
      <p:pic>
        <p:nvPicPr>
          <p:cNvPr id="16" name="Picture 1398" descr="Resultado de imagen para cmpc logo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31323" y="2156433"/>
            <a:ext cx="1501975" cy="1809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520917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145011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976209" y="1990668"/>
            <a:ext cx="5853024" cy="146193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Box 4"/>
          <p:cNvSpPr txBox="1"/>
          <p:nvPr userDrawn="1"/>
        </p:nvSpPr>
        <p:spPr>
          <a:xfrm>
            <a:off x="11626137" y="6566446"/>
            <a:ext cx="284012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D80E8600-A5E6-4DA3-B7E5-C11D489850A7}" type="slidenum">
              <a:rPr lang="en-US" sz="1200" smtClean="0">
                <a:solidFill>
                  <a:srgbClr val="000000"/>
                </a:solidFill>
              </a:rPr>
              <a:pPr/>
              <a:t>‹Nº›</a:t>
            </a:fld>
            <a:endParaRPr lang="en-US" sz="12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51723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632" name="Diapositiva de think-cell" r:id="rId5" imgW="383" imgH="384" progId="TCLayout.ActiveDocument.1">
                  <p:embed/>
                </p:oleObj>
              </mc:Choice>
              <mc:Fallback>
                <p:oleObj name="Diapositiva de think-cell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5045265" y="6420669"/>
            <a:ext cx="7144576" cy="429233"/>
            <a:chOff x="2337" y="3969"/>
            <a:chExt cx="3308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2337" y="3969"/>
              <a:ext cx="3308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CO" sz="1900" dirty="0">
                <a:solidFill>
                  <a:srgbClr val="000000"/>
                </a:solidFill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5" name="Picture 4"/>
          <p:cNvPicPr>
            <a:picLocks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" y="0"/>
            <a:ext cx="12186282" cy="6849902"/>
          </a:xfrm>
          <a:prstGeom prst="rect">
            <a:avLst/>
          </a:prstGeom>
        </p:spPr>
      </p:pic>
      <p:grpSp>
        <p:nvGrpSpPr>
          <p:cNvPr id="2" name="Title Elements"/>
          <p:cNvGrpSpPr/>
          <p:nvPr userDrawn="1"/>
        </p:nvGrpSpPr>
        <p:grpSpPr>
          <a:xfrm>
            <a:off x="0" y="1"/>
            <a:ext cx="12187682" cy="6859620"/>
            <a:chOff x="0" y="0"/>
            <a:chExt cx="8958264" cy="6723063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2640013" y="4890273"/>
              <a:ext cx="4935538" cy="2564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CO" sz="1700" dirty="0" smtClean="0">
                  <a:solidFill>
                    <a:srgbClr val="000000"/>
                  </a:solidFill>
                </a:rPr>
                <a:t>Tipo de Documento</a:t>
              </a: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2640013" y="5199063"/>
              <a:ext cx="4935538" cy="2564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CO" sz="1700" dirty="0" smtClean="0">
                  <a:solidFill>
                    <a:srgbClr val="000000"/>
                  </a:solidFill>
                </a:rPr>
                <a:t>Fecha</a:t>
              </a:r>
            </a:p>
          </p:txBody>
        </p:sp>
        <p:sp>
          <p:nvSpPr>
            <p:cNvPr id="11" name="Disclaimer" hidden="1"/>
            <p:cNvSpPr>
              <a:spLocks noChangeArrowheads="1"/>
            </p:cNvSpPr>
            <p:nvPr/>
          </p:nvSpPr>
          <p:spPr bwMode="auto">
            <a:xfrm>
              <a:off x="2640013" y="5838800"/>
              <a:ext cx="5121275" cy="3016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977587" eaLnBrk="0" hangingPunct="0"/>
              <a:r>
                <a:rPr lang="es-CO" sz="1000" dirty="0" smtClean="0">
                  <a:solidFill>
                    <a:srgbClr val="000000"/>
                  </a:solidFill>
                </a:rPr>
                <a:t>DOCUMENTO CONFIDENCIAL PROPIEDAD DE </a:t>
              </a:r>
              <a:r>
                <a:rPr lang="es-CO" sz="1000" dirty="0" err="1" smtClean="0">
                  <a:solidFill>
                    <a:srgbClr val="000000"/>
                  </a:solidFill>
                </a:rPr>
                <a:t>McKINSEY</a:t>
              </a:r>
              <a:r>
                <a:rPr lang="es-CO" sz="1000" dirty="0" smtClean="0">
                  <a:solidFill>
                    <a:srgbClr val="000000"/>
                  </a:solidFill>
                </a:rPr>
                <a:t> &amp; CO.</a:t>
              </a:r>
            </a:p>
            <a:p>
              <a:pPr defTabSz="977587" eaLnBrk="0" hangingPunct="0"/>
              <a:r>
                <a:rPr lang="es-CO" sz="1000" dirty="0" smtClean="0">
                  <a:solidFill>
                    <a:srgbClr val="000000"/>
                  </a:solidFill>
                </a:rPr>
                <a:t>Queda prohibido su uso y distribución sin la autorización expresa de McKinsey &amp; Company </a:t>
              </a:r>
              <a:endParaRPr lang="es-CO" sz="1000" dirty="0">
                <a:solidFill>
                  <a:srgbClr val="000000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2238375"/>
              <a:ext cx="2193925" cy="4484688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CO" sz="1900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2193925" cy="2238375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CO" sz="1900" dirty="0">
                <a:solidFill>
                  <a:srgbClr val="000000"/>
                </a:solidFill>
              </a:endParaRPr>
            </a:p>
          </p:txBody>
        </p:sp>
        <p:sp>
          <p:nvSpPr>
            <p:cNvPr id="19" name="Rectangle 18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 sz="1900" dirty="0" smtClean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60080" y="6574545"/>
            <a:ext cx="2226740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786089" y="2252170"/>
            <a:ext cx="6486404" cy="600164"/>
          </a:xfrm>
          <a:prstGeom prst="rect">
            <a:avLst/>
          </a:prstGeom>
        </p:spPr>
        <p:txBody>
          <a:bodyPr/>
          <a:lstStyle>
            <a:lvl1pPr>
              <a:defRPr sz="3900" b="0">
                <a:solidFill>
                  <a:srgbClr val="48AB2C"/>
                </a:solidFill>
              </a:defRPr>
            </a:lvl1pPr>
          </a:lstStyle>
          <a:p>
            <a:pPr lvl="0"/>
            <a:r>
              <a:rPr lang="es-CO" noProof="0" dirty="0" err="1" smtClean="0"/>
              <a:t>Click</a:t>
            </a:r>
            <a:r>
              <a:rPr lang="es-CO" noProof="0" dirty="0" smtClean="0"/>
              <a:t> to </a:t>
            </a:r>
            <a:r>
              <a:rPr lang="es-CO" noProof="0" dirty="0" err="1" smtClean="0"/>
              <a:t>edit</a:t>
            </a:r>
            <a:r>
              <a:rPr lang="es-CO" noProof="0" dirty="0" smtClean="0"/>
              <a:t> Master </a:t>
            </a:r>
            <a:r>
              <a:rPr lang="es-CO" noProof="0" dirty="0" err="1" smtClean="0"/>
              <a:t>title</a:t>
            </a:r>
            <a:r>
              <a:rPr lang="es-CO" noProof="0" dirty="0" smtClean="0"/>
              <a:t> </a:t>
            </a:r>
            <a:r>
              <a:rPr lang="es-CO" noProof="0" dirty="0" err="1" smtClean="0"/>
              <a:t>style</a:t>
            </a:r>
            <a:endParaRPr lang="es-CO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4786089" y="4020931"/>
            <a:ext cx="6486404" cy="26161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7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s-CO" noProof="0" dirty="0" err="1" smtClean="0"/>
              <a:t>Click</a:t>
            </a:r>
            <a:r>
              <a:rPr lang="es-CO" noProof="0" dirty="0" smtClean="0"/>
              <a:t> to </a:t>
            </a:r>
            <a:r>
              <a:rPr lang="es-CO" noProof="0" dirty="0" err="1" smtClean="0"/>
              <a:t>edit</a:t>
            </a:r>
            <a:r>
              <a:rPr lang="es-CO" noProof="0" dirty="0" smtClean="0"/>
              <a:t> Master </a:t>
            </a:r>
            <a:r>
              <a:rPr lang="es-CO" noProof="0" dirty="0" err="1" smtClean="0"/>
              <a:t>subtitle</a:t>
            </a:r>
            <a:r>
              <a:rPr lang="es-CO" noProof="0" dirty="0" smtClean="0"/>
              <a:t> </a:t>
            </a:r>
            <a:r>
              <a:rPr lang="es-CO" noProof="0" dirty="0" err="1" smtClean="0"/>
              <a:t>style</a:t>
            </a:r>
            <a:endParaRPr lang="es-CO" noProof="0" dirty="0" smtClean="0"/>
          </a:p>
        </p:txBody>
      </p:sp>
      <p:pic>
        <p:nvPicPr>
          <p:cNvPr id="22" name="Picture 576" descr="https://upload.wikimedia.org/wikipedia/commons/thumb/4/44/CMPC_logo.png/150px-CMPC_logo.png"/>
          <p:cNvPicPr>
            <a:picLocks noChangeAspect="1" noChangeArrowheads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59202" y="432924"/>
            <a:ext cx="1076107" cy="1221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93145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8088523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656" name="Diapositiva de think-cell" r:id="rId4" imgW="530" imgH="528" progId="TCLayout.ActiveDocument.1">
                  <p:embed/>
                </p:oleObj>
              </mc:Choice>
              <mc:Fallback>
                <p:oleObj name="Diapositiva de think-cell" r:id="rId4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 txBox="1">
            <a:spLocks/>
          </p:cNvSpPr>
          <p:nvPr userDrawn="1"/>
        </p:nvSpPr>
        <p:spPr>
          <a:xfrm>
            <a:off x="11055952" y="6566446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s-CO" smtClean="0">
                <a:solidFill>
                  <a:srgbClr val="FFFFFF"/>
                </a:solidFill>
              </a:rPr>
              <a:pPr algn="ctr"/>
              <a:t>‹Nº›</a:t>
            </a:fld>
            <a:endParaRPr lang="es-CO" dirty="0">
              <a:solidFill>
                <a:srgbClr val="FFFFFF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dirty="0" err="1" smtClean="0"/>
              <a:t>Click</a:t>
            </a:r>
            <a:r>
              <a:rPr lang="es-CO" dirty="0" smtClean="0"/>
              <a:t> to </a:t>
            </a:r>
            <a:r>
              <a:rPr lang="es-CO" dirty="0" err="1" smtClean="0"/>
              <a:t>edit</a:t>
            </a:r>
            <a:r>
              <a:rPr lang="es-CO" dirty="0" smtClean="0"/>
              <a:t> Master </a:t>
            </a:r>
            <a:r>
              <a:rPr lang="es-CO" dirty="0" err="1" smtClean="0"/>
              <a:t>title</a:t>
            </a:r>
            <a:r>
              <a:rPr lang="es-CO" dirty="0" smtClean="0"/>
              <a:t> </a:t>
            </a:r>
            <a:r>
              <a:rPr lang="es-CO" dirty="0" err="1" smtClean="0"/>
              <a:t>style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755699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85" y="234863"/>
            <a:ext cx="11725485" cy="353943"/>
          </a:xfrm>
        </p:spPr>
        <p:txBody>
          <a:bodyPr/>
          <a:lstStyle/>
          <a:p>
            <a:r>
              <a:rPr lang="es-CO" dirty="0" err="1" smtClean="0"/>
              <a:t>Click</a:t>
            </a:r>
            <a:r>
              <a:rPr lang="es-CO" dirty="0" smtClean="0"/>
              <a:t> to </a:t>
            </a:r>
            <a:r>
              <a:rPr lang="es-CO" dirty="0" err="1" smtClean="0"/>
              <a:t>edit</a:t>
            </a:r>
            <a:r>
              <a:rPr lang="es-CO" dirty="0" smtClean="0"/>
              <a:t> Master </a:t>
            </a:r>
            <a:r>
              <a:rPr lang="es-CO" dirty="0" err="1" smtClean="0"/>
              <a:t>title</a:t>
            </a:r>
            <a:r>
              <a:rPr lang="es-CO" dirty="0" smtClean="0"/>
              <a:t> </a:t>
            </a:r>
            <a:r>
              <a:rPr lang="es-CO" dirty="0" err="1" smtClean="0"/>
              <a:t>style</a:t>
            </a:r>
            <a:endParaRPr lang="es-CO" dirty="0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1976207" y="1990667"/>
            <a:ext cx="5853024" cy="292388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11055952" y="6566446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s-CO" smtClean="0">
                <a:solidFill>
                  <a:srgbClr val="FFFFFF"/>
                </a:solidFill>
              </a:rPr>
              <a:pPr algn="ctr"/>
              <a:t>‹Nº›</a:t>
            </a:fld>
            <a:endParaRPr lang="es-CO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7552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8224710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680" name="Diapositiva de think-cell" r:id="rId5" imgW="383" imgH="384" progId="TCLayout.ActiveDocument.1">
                  <p:embed/>
                </p:oleObj>
              </mc:Choice>
              <mc:Fallback>
                <p:oleObj name="Diapositiva de think-cell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5045265" y="6420669"/>
            <a:ext cx="7144576" cy="429233"/>
            <a:chOff x="2337" y="3969"/>
            <a:chExt cx="3308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2337" y="3969"/>
              <a:ext cx="3308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CO" sz="1900" dirty="0">
                <a:solidFill>
                  <a:srgbClr val="000000"/>
                </a:solidFill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5" name="Picture 4"/>
          <p:cNvPicPr>
            <a:picLocks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" y="0"/>
            <a:ext cx="12186282" cy="6849902"/>
          </a:xfrm>
          <a:prstGeom prst="rect">
            <a:avLst/>
          </a:prstGeom>
        </p:spPr>
      </p:pic>
      <p:grpSp>
        <p:nvGrpSpPr>
          <p:cNvPr id="2" name="Title Elements"/>
          <p:cNvGrpSpPr/>
          <p:nvPr userDrawn="1"/>
        </p:nvGrpSpPr>
        <p:grpSpPr>
          <a:xfrm>
            <a:off x="0" y="1"/>
            <a:ext cx="12187682" cy="6859620"/>
            <a:chOff x="0" y="0"/>
            <a:chExt cx="8958264" cy="6723063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2640013" y="4890273"/>
              <a:ext cx="4935538" cy="2564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CO" sz="1700" dirty="0" smtClean="0">
                  <a:solidFill>
                    <a:srgbClr val="000000"/>
                  </a:solidFill>
                </a:rPr>
                <a:t>Tipo de Documento</a:t>
              </a: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2640013" y="5199063"/>
              <a:ext cx="4935538" cy="2564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CO" sz="1700" dirty="0" smtClean="0">
                  <a:solidFill>
                    <a:srgbClr val="000000"/>
                  </a:solidFill>
                </a:rPr>
                <a:t>Fecha</a:t>
              </a:r>
            </a:p>
          </p:txBody>
        </p:sp>
        <p:sp>
          <p:nvSpPr>
            <p:cNvPr id="11" name="Disclaimer" hidden="1"/>
            <p:cNvSpPr>
              <a:spLocks noChangeArrowheads="1"/>
            </p:cNvSpPr>
            <p:nvPr/>
          </p:nvSpPr>
          <p:spPr bwMode="auto">
            <a:xfrm>
              <a:off x="2640013" y="5838800"/>
              <a:ext cx="5121275" cy="3016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977587" eaLnBrk="0" hangingPunct="0"/>
              <a:r>
                <a:rPr lang="es-CO" sz="1000" dirty="0" smtClean="0">
                  <a:solidFill>
                    <a:srgbClr val="000000"/>
                  </a:solidFill>
                </a:rPr>
                <a:t>DOCUMENTO CONFIDENCIAL PROPIEDAD DE </a:t>
              </a:r>
              <a:r>
                <a:rPr lang="es-CO" sz="1000" dirty="0" err="1" smtClean="0">
                  <a:solidFill>
                    <a:srgbClr val="000000"/>
                  </a:solidFill>
                </a:rPr>
                <a:t>McKINSEY</a:t>
              </a:r>
              <a:r>
                <a:rPr lang="es-CO" sz="1000" dirty="0" smtClean="0">
                  <a:solidFill>
                    <a:srgbClr val="000000"/>
                  </a:solidFill>
                </a:rPr>
                <a:t> &amp; CO.</a:t>
              </a:r>
            </a:p>
            <a:p>
              <a:pPr defTabSz="977587" eaLnBrk="0" hangingPunct="0"/>
              <a:r>
                <a:rPr lang="es-CO" sz="1000" dirty="0" smtClean="0">
                  <a:solidFill>
                    <a:srgbClr val="000000"/>
                  </a:solidFill>
                </a:rPr>
                <a:t>Queda prohibido su uso y distribución sin la autorización expresa de McKinsey &amp; Company </a:t>
              </a:r>
              <a:endParaRPr lang="es-CO" sz="1000" dirty="0">
                <a:solidFill>
                  <a:srgbClr val="000000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2238375"/>
              <a:ext cx="2193925" cy="4484688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CO" sz="1900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2193925" cy="2238375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CO" sz="1900" dirty="0">
                <a:solidFill>
                  <a:srgbClr val="000000"/>
                </a:solidFill>
              </a:endParaRPr>
            </a:p>
          </p:txBody>
        </p:sp>
        <p:sp>
          <p:nvSpPr>
            <p:cNvPr id="19" name="Rectangle 18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 sz="1900" dirty="0" smtClean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60080" y="6574545"/>
            <a:ext cx="2226740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786089" y="2252170"/>
            <a:ext cx="6486404" cy="600164"/>
          </a:xfrm>
          <a:prstGeom prst="rect">
            <a:avLst/>
          </a:prstGeom>
        </p:spPr>
        <p:txBody>
          <a:bodyPr/>
          <a:lstStyle>
            <a:lvl1pPr>
              <a:defRPr sz="3900" b="0">
                <a:solidFill>
                  <a:srgbClr val="48AB2C"/>
                </a:solidFill>
              </a:defRPr>
            </a:lvl1pPr>
          </a:lstStyle>
          <a:p>
            <a:pPr lvl="0"/>
            <a:r>
              <a:rPr lang="es-CO" noProof="0" dirty="0" err="1" smtClean="0"/>
              <a:t>Click</a:t>
            </a:r>
            <a:r>
              <a:rPr lang="es-CO" noProof="0" dirty="0" smtClean="0"/>
              <a:t> to </a:t>
            </a:r>
            <a:r>
              <a:rPr lang="es-CO" noProof="0" dirty="0" err="1" smtClean="0"/>
              <a:t>edit</a:t>
            </a:r>
            <a:r>
              <a:rPr lang="es-CO" noProof="0" dirty="0" smtClean="0"/>
              <a:t> Master </a:t>
            </a:r>
            <a:r>
              <a:rPr lang="es-CO" noProof="0" dirty="0" err="1" smtClean="0"/>
              <a:t>title</a:t>
            </a:r>
            <a:r>
              <a:rPr lang="es-CO" noProof="0" dirty="0" smtClean="0"/>
              <a:t> </a:t>
            </a:r>
            <a:r>
              <a:rPr lang="es-CO" noProof="0" dirty="0" err="1" smtClean="0"/>
              <a:t>style</a:t>
            </a:r>
            <a:endParaRPr lang="es-CO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4786089" y="4020931"/>
            <a:ext cx="6486404" cy="26161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7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s-CO" noProof="0" dirty="0" err="1" smtClean="0"/>
              <a:t>Click</a:t>
            </a:r>
            <a:r>
              <a:rPr lang="es-CO" noProof="0" dirty="0" smtClean="0"/>
              <a:t> to </a:t>
            </a:r>
            <a:r>
              <a:rPr lang="es-CO" noProof="0" dirty="0" err="1" smtClean="0"/>
              <a:t>edit</a:t>
            </a:r>
            <a:r>
              <a:rPr lang="es-CO" noProof="0" dirty="0" smtClean="0"/>
              <a:t> Master </a:t>
            </a:r>
            <a:r>
              <a:rPr lang="es-CO" noProof="0" dirty="0" err="1" smtClean="0"/>
              <a:t>subtitle</a:t>
            </a:r>
            <a:r>
              <a:rPr lang="es-CO" noProof="0" dirty="0" smtClean="0"/>
              <a:t> </a:t>
            </a:r>
            <a:r>
              <a:rPr lang="es-CO" noProof="0" dirty="0" err="1" smtClean="0"/>
              <a:t>style</a:t>
            </a:r>
            <a:endParaRPr lang="es-CO" noProof="0" dirty="0" smtClean="0"/>
          </a:p>
        </p:txBody>
      </p:sp>
      <p:pic>
        <p:nvPicPr>
          <p:cNvPr id="22" name="Picture 576" descr="https://upload.wikimedia.org/wikipedia/commons/thumb/4/44/CMPC_logo.png/150px-CMPC_logo.png"/>
          <p:cNvPicPr>
            <a:picLocks noChangeAspect="1" noChangeArrowheads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59202" y="432924"/>
            <a:ext cx="1076107" cy="1221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12788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9889233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704" name="Diapositiva de think-cell" r:id="rId4" imgW="353" imgH="353" progId="TCLayout.ActiveDocument.1">
                  <p:embed/>
                </p:oleObj>
              </mc:Choice>
              <mc:Fallback>
                <p:oleObj name="Diapositiva de think-cell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 txBox="1">
            <a:spLocks/>
          </p:cNvSpPr>
          <p:nvPr userDrawn="1"/>
        </p:nvSpPr>
        <p:spPr>
          <a:xfrm>
            <a:off x="11055952" y="6566446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s-CO" smtClean="0">
                <a:solidFill>
                  <a:srgbClr val="FFFFFF"/>
                </a:solidFill>
              </a:rPr>
              <a:pPr algn="ctr"/>
              <a:t>‹Nº›</a:t>
            </a:fld>
            <a:endParaRPr lang="es-CO" dirty="0">
              <a:solidFill>
                <a:srgbClr val="FFFFFF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dirty="0" err="1" smtClean="0"/>
              <a:t>Click</a:t>
            </a:r>
            <a:r>
              <a:rPr lang="es-CO" dirty="0" smtClean="0"/>
              <a:t> to </a:t>
            </a:r>
            <a:r>
              <a:rPr lang="es-CO" dirty="0" err="1" smtClean="0"/>
              <a:t>edit</a:t>
            </a:r>
            <a:r>
              <a:rPr lang="es-CO" dirty="0" smtClean="0"/>
              <a:t> Master </a:t>
            </a:r>
            <a:r>
              <a:rPr lang="es-CO" dirty="0" err="1" smtClean="0"/>
              <a:t>title</a:t>
            </a:r>
            <a:r>
              <a:rPr lang="es-CO" dirty="0" smtClean="0"/>
              <a:t> </a:t>
            </a:r>
            <a:r>
              <a:rPr lang="es-CO" dirty="0" err="1" smtClean="0"/>
              <a:t>style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532680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4269611"/>
              </p:ext>
            </p:extLst>
          </p:nvPr>
        </p:nvGraphicFramePr>
        <p:xfrm>
          <a:off x="1589" y="1592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24" name="Diapositiva de think-cell" r:id="rId4" imgW="347" imgH="346" progId="TCLayout.ActiveDocument.1">
                  <p:embed/>
                </p:oleObj>
              </mc:Choice>
              <mc:Fallback>
                <p:oleObj name="Diapositiva de think-cell" r:id="rId4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9" y="51837"/>
            <a:ext cx="123156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7336"/>
            <a:endParaRPr lang="x-none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701">
          <p15:clr>
            <a:srgbClr val="F26B43"/>
          </p15:clr>
        </p15:guide>
        <p15:guide id="4" orient="horz" pos="3991">
          <p15:clr>
            <a:srgbClr val="F26B43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88203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728" name="Diapositiva de think-cell" r:id="rId4" imgW="530" imgH="528" progId="TCLayout.ActiveDocument.1">
                  <p:embed/>
                </p:oleObj>
              </mc:Choice>
              <mc:Fallback>
                <p:oleObj name="Diapositiva de think-cell" r:id="rId4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882081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ltGray">
      <p:bgPr>
        <a:blipFill dpi="0" rotWithShape="1">
          <a:blip r:embed="rId4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798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1874173" y="1256239"/>
            <a:ext cx="8478152" cy="502445"/>
          </a:xfrm>
          <a:prstGeom prst="rect">
            <a:avLst/>
          </a:prstGeom>
        </p:spPr>
        <p:txBody>
          <a:bodyPr anchor="t"/>
          <a:lstStyle>
            <a:lvl1pPr>
              <a:defRPr lang="x-none" sz="3200" b="1" baseline="0">
                <a:solidFill>
                  <a:schemeClr val="accent3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1874173" y="2800217"/>
            <a:ext cx="3815427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6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1874173" y="4087971"/>
            <a:ext cx="381542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dirty="0">
                <a:solidFill>
                  <a:srgbClr val="808080"/>
                </a:solidFill>
                <a:latin typeface="Arial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406473060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22" name="Diapositiva de think-cell" r:id="rId4" imgW="347" imgH="346" progId="TCLayout.ActiveDocument.1">
                  <p:embed/>
                </p:oleObj>
              </mc:Choice>
              <mc:Fallback>
                <p:oleObj name="Diapositiva de think-cell" r:id="rId4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3" y="51835"/>
            <a:ext cx="123156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26"/>
            <a:endParaRPr lang="x-none" sz="612" dirty="0">
              <a:solidFill>
                <a:srgbClr val="80808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470569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701">
          <p15:clr>
            <a:srgbClr val="F26B43"/>
          </p15:clr>
        </p15:guide>
        <p15:guide id="4" orient="horz" pos="3991">
          <p15:clr>
            <a:srgbClr val="F26B43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9" name="Diapositiva de think-cell" r:id="rId4" imgW="347" imgH="346" progId="TCLayout.ActiveDocument.1">
                  <p:embed/>
                </p:oleObj>
              </mc:Choice>
              <mc:Fallback>
                <p:oleObj name="Diapositiva de think-cell" r:id="rId4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x-none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3" y="51835"/>
            <a:ext cx="123156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26" fontAlgn="base">
              <a:spcBef>
                <a:spcPct val="0"/>
              </a:spcBef>
              <a:spcAft>
                <a:spcPct val="0"/>
              </a:spcAft>
            </a:pPr>
            <a:endParaRPr lang="x-none" sz="612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58546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701">
          <p15:clr>
            <a:srgbClr val="F26B43"/>
          </p15:clr>
        </p15:guide>
        <p15:guide id="4" orient="horz" pos="3991">
          <p15:clr>
            <a:srgbClr val="F26B43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ltGray">
      <p:bgPr>
        <a:blipFill dpi="0" rotWithShape="1">
          <a:blip r:embed="rId4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870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1874173" y="1256239"/>
            <a:ext cx="8478152" cy="502445"/>
          </a:xfrm>
          <a:prstGeom prst="rect">
            <a:avLst/>
          </a:prstGeom>
        </p:spPr>
        <p:txBody>
          <a:bodyPr anchor="t"/>
          <a:lstStyle>
            <a:lvl1pPr>
              <a:defRPr lang="x-none" sz="3200" b="1" baseline="0">
                <a:solidFill>
                  <a:schemeClr val="accent3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1874173" y="2800217"/>
            <a:ext cx="3815427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6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1874173" y="4087971"/>
            <a:ext cx="381542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dirty="0">
                <a:solidFill>
                  <a:srgbClr val="808080"/>
                </a:solidFill>
                <a:latin typeface="Arial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202110390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894" name="Diapositiva de think-cell" r:id="rId4" imgW="347" imgH="346" progId="TCLayout.ActiveDocument.1">
                  <p:embed/>
                </p:oleObj>
              </mc:Choice>
              <mc:Fallback>
                <p:oleObj name="Diapositiva de think-cell" r:id="rId4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3" y="51835"/>
            <a:ext cx="123156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26"/>
            <a:endParaRPr lang="x-none" sz="612" dirty="0">
              <a:solidFill>
                <a:srgbClr val="80808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4498330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701">
          <p15:clr>
            <a:srgbClr val="F26B43"/>
          </p15:clr>
        </p15:guide>
        <p15:guide id="4" orient="horz" pos="3991">
          <p15:clr>
            <a:srgbClr val="F26B43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ltGray">
      <p:bgPr>
        <a:blipFill dpi="0" rotWithShape="1">
          <a:blip r:embed="rId4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942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1874173" y="1256239"/>
            <a:ext cx="8478152" cy="502445"/>
          </a:xfrm>
          <a:prstGeom prst="rect">
            <a:avLst/>
          </a:prstGeom>
        </p:spPr>
        <p:txBody>
          <a:bodyPr anchor="t"/>
          <a:lstStyle>
            <a:lvl1pPr>
              <a:defRPr lang="x-none" sz="3200" b="1" baseline="0">
                <a:solidFill>
                  <a:schemeClr val="accent3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1874173" y="2800217"/>
            <a:ext cx="3815427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6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1874173" y="4087971"/>
            <a:ext cx="381542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dirty="0">
                <a:solidFill>
                  <a:srgbClr val="808080"/>
                </a:solidFill>
                <a:latin typeface="Arial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31688908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966" name="Diapositiva de think-cell" r:id="rId4" imgW="347" imgH="346" progId="TCLayout.ActiveDocument.1">
                  <p:embed/>
                </p:oleObj>
              </mc:Choice>
              <mc:Fallback>
                <p:oleObj name="Diapositiva de think-cell" r:id="rId4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3" y="51835"/>
            <a:ext cx="123156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26"/>
            <a:endParaRPr lang="x-none" sz="612" dirty="0">
              <a:solidFill>
                <a:srgbClr val="80808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116001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701">
          <p15:clr>
            <a:srgbClr val="F26B43"/>
          </p15:clr>
        </p15:guide>
        <p15:guide id="4" orient="horz" pos="3991">
          <p15:clr>
            <a:srgbClr val="F26B43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 bwMode="ltGray">
      <p:bgPr>
        <a:blipFill dpi="0" rotWithShape="1">
          <a:blip r:embed="rId4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67" y="1627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292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7" y="1627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1874175" y="1256239"/>
            <a:ext cx="8478152" cy="492443"/>
          </a:xfrm>
          <a:prstGeom prst="rect">
            <a:avLst/>
          </a:prstGeom>
        </p:spPr>
        <p:txBody>
          <a:bodyPr anchor="t"/>
          <a:lstStyle>
            <a:lvl1pPr>
              <a:defRPr lang="x-none" sz="3200" b="1" baseline="0">
                <a:solidFill>
                  <a:schemeClr val="accent3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1874174" y="2800224"/>
            <a:ext cx="3815427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6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1874174" y="4087975"/>
            <a:ext cx="381542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dirty="0">
                <a:solidFill>
                  <a:srgbClr val="808080"/>
                </a:solidFill>
                <a:latin typeface="Arial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104167128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2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316" name="Diapositiva de think-cell" r:id="rId4" imgW="347" imgH="346" progId="TCLayout.ActiveDocument.1">
                  <p:embed/>
                </p:oleObj>
              </mc:Choice>
              <mc:Fallback>
                <p:oleObj name="Diapositiva de think-cell" r:id="rId4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9" y="51837"/>
            <a:ext cx="123156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7336"/>
            <a:endParaRPr lang="x-none" sz="600" dirty="0">
              <a:solidFill>
                <a:srgbClr val="80808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4917033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701">
          <p15:clr>
            <a:srgbClr val="F26B43"/>
          </p15:clr>
        </p15:guide>
        <p15:guide id="4" orient="horz" pos="399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67" y="1625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42" name="Diapositiva de think-cell" r:id="rId5" imgW="383" imgH="384" progId="TCLayout.ActiveDocument.1">
                  <p:embed/>
                </p:oleObj>
              </mc:Choice>
              <mc:Fallback>
                <p:oleObj name="Diapositiva de think-cell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7" y="1625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5045265" y="6420673"/>
            <a:ext cx="7144576" cy="429233"/>
            <a:chOff x="2337" y="3969"/>
            <a:chExt cx="3308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2337" y="3969"/>
              <a:ext cx="3308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900" dirty="0">
                <a:solidFill>
                  <a:srgbClr val="000000"/>
                </a:solidFill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5" name="Picture 4"/>
          <p:cNvPicPr>
            <a:picLocks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" y="0"/>
            <a:ext cx="12186282" cy="6849902"/>
          </a:xfrm>
          <a:prstGeom prst="rect">
            <a:avLst/>
          </a:prstGeom>
        </p:spPr>
      </p:pic>
      <p:grpSp>
        <p:nvGrpSpPr>
          <p:cNvPr id="2" name="Title Elements"/>
          <p:cNvGrpSpPr/>
          <p:nvPr userDrawn="1"/>
        </p:nvGrpSpPr>
        <p:grpSpPr>
          <a:xfrm>
            <a:off x="0" y="5"/>
            <a:ext cx="12187682" cy="6859620"/>
            <a:chOff x="0" y="0"/>
            <a:chExt cx="8958264" cy="6723063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2640013" y="4890273"/>
              <a:ext cx="4935538" cy="2564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1700" dirty="0" smtClean="0">
                  <a:solidFill>
                    <a:srgbClr val="000000"/>
                  </a:solidFill>
                </a:rPr>
                <a:t>Tipo de Documento</a:t>
              </a: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2640013" y="5199063"/>
              <a:ext cx="4935538" cy="2564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1700" dirty="0" smtClean="0">
                  <a:solidFill>
                    <a:srgbClr val="000000"/>
                  </a:solidFill>
                </a:rPr>
                <a:t>Fecha</a:t>
              </a:r>
            </a:p>
          </p:txBody>
        </p:sp>
        <p:sp>
          <p:nvSpPr>
            <p:cNvPr id="11" name="Disclaimer" hidden="1"/>
            <p:cNvSpPr>
              <a:spLocks noChangeArrowheads="1"/>
            </p:cNvSpPr>
            <p:nvPr/>
          </p:nvSpPr>
          <p:spPr bwMode="auto">
            <a:xfrm>
              <a:off x="2640013" y="5838800"/>
              <a:ext cx="5121275" cy="3016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977034" eaLnBrk="0" hangingPunct="0"/>
              <a:r>
                <a:rPr lang="es-ES_tradnl" sz="1000" dirty="0" smtClean="0">
                  <a:solidFill>
                    <a:srgbClr val="000000"/>
                  </a:solidFill>
                </a:rPr>
                <a:t>DOCUMENTO CONFIDENCIAL PROPIEDAD DE McKINSEY &amp; CO.</a:t>
              </a:r>
            </a:p>
            <a:p>
              <a:pPr defTabSz="977034" eaLnBrk="0" hangingPunct="0"/>
              <a:r>
                <a:rPr lang="es-ES_tradnl" sz="1000" dirty="0" smtClean="0">
                  <a:solidFill>
                    <a:srgbClr val="000000"/>
                  </a:solidFill>
                </a:rPr>
                <a:t>Queda prohibido su uso y distribución sin la autorización expresa de McKinsey &amp; Company </a:t>
              </a:r>
              <a:endParaRPr lang="es-ES_tradnl" sz="1000" dirty="0">
                <a:solidFill>
                  <a:srgbClr val="000000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2238375"/>
              <a:ext cx="2193925" cy="4484688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900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2193925" cy="2238375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900" dirty="0">
                <a:solidFill>
                  <a:srgbClr val="000000"/>
                </a:solidFill>
              </a:endParaRPr>
            </a:p>
          </p:txBody>
        </p:sp>
        <p:sp>
          <p:nvSpPr>
            <p:cNvPr id="19" name="Rectangle 18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dirty="0" smtClean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60080" y="6574550"/>
            <a:ext cx="2226740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786089" y="2252170"/>
            <a:ext cx="6486404" cy="600164"/>
          </a:xfrm>
          <a:prstGeom prst="rect">
            <a:avLst/>
          </a:prstGeom>
        </p:spPr>
        <p:txBody>
          <a:bodyPr/>
          <a:lstStyle>
            <a:lvl1pPr>
              <a:defRPr sz="3900" b="0">
                <a:solidFill>
                  <a:srgbClr val="48AB2C"/>
                </a:solidFill>
              </a:defRPr>
            </a:lvl1pPr>
          </a:lstStyle>
          <a:p>
            <a:pPr lvl="0"/>
            <a:r>
              <a:rPr lang="es-ES_tradnl" noProof="0" dirty="0" err="1" smtClean="0"/>
              <a:t>Click</a:t>
            </a:r>
            <a:r>
              <a:rPr lang="es-ES_tradnl" noProof="0" dirty="0" smtClean="0"/>
              <a:t> to </a:t>
            </a:r>
            <a:r>
              <a:rPr lang="es-ES_tradnl" noProof="0" dirty="0" err="1" smtClean="0"/>
              <a:t>edit</a:t>
            </a:r>
            <a:r>
              <a:rPr lang="es-ES_tradnl" noProof="0" dirty="0" smtClean="0"/>
              <a:t> Master </a:t>
            </a:r>
            <a:r>
              <a:rPr lang="es-ES_tradnl" noProof="0" dirty="0" err="1" smtClean="0"/>
              <a:t>title</a:t>
            </a:r>
            <a:r>
              <a:rPr lang="es-ES_tradnl" noProof="0" dirty="0" smtClean="0"/>
              <a:t> </a:t>
            </a:r>
            <a:r>
              <a:rPr lang="es-ES_tradnl" noProof="0" dirty="0" err="1" smtClean="0"/>
              <a:t>style</a:t>
            </a:r>
            <a:endParaRPr lang="es-ES_tradnl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4786089" y="4020931"/>
            <a:ext cx="6486404" cy="26161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7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s-ES_tradnl" noProof="0" dirty="0" err="1" smtClean="0"/>
              <a:t>Click</a:t>
            </a:r>
            <a:r>
              <a:rPr lang="es-ES_tradnl" noProof="0" dirty="0" smtClean="0"/>
              <a:t> to </a:t>
            </a:r>
            <a:r>
              <a:rPr lang="es-ES_tradnl" noProof="0" dirty="0" err="1" smtClean="0"/>
              <a:t>edit</a:t>
            </a:r>
            <a:r>
              <a:rPr lang="es-ES_tradnl" noProof="0" dirty="0" smtClean="0"/>
              <a:t> Master </a:t>
            </a:r>
            <a:r>
              <a:rPr lang="es-ES_tradnl" noProof="0" dirty="0" err="1" smtClean="0"/>
              <a:t>subtitle</a:t>
            </a:r>
            <a:r>
              <a:rPr lang="es-ES_tradnl" noProof="0" dirty="0" smtClean="0"/>
              <a:t> </a:t>
            </a:r>
            <a:r>
              <a:rPr lang="es-ES_tradnl" noProof="0" dirty="0" err="1" smtClean="0"/>
              <a:t>style</a:t>
            </a:r>
            <a:endParaRPr lang="es-ES_tradnl" noProof="0" dirty="0" smtClean="0"/>
          </a:p>
        </p:txBody>
      </p:sp>
      <p:pic>
        <p:nvPicPr>
          <p:cNvPr id="22" name="Picture 576" descr="https://upload.wikimedia.org/wikipedia/commons/thumb/4/44/CMPC_logo.png/150px-CMPC_logo.png"/>
          <p:cNvPicPr>
            <a:picLocks noChangeAspect="1" noChangeArrowheads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59207" y="432927"/>
            <a:ext cx="1076107" cy="1221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2445792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340" name="Diapositiva de think-cell" r:id="rId4" imgW="347" imgH="346" progId="TCLayout.ActiveDocument.1">
                  <p:embed/>
                </p:oleObj>
              </mc:Choice>
              <mc:Fallback>
                <p:oleObj name="Diapositiva de think-cell" r:id="rId4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x-none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3" y="51835"/>
            <a:ext cx="123156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26"/>
            <a:endParaRPr lang="x-none" sz="612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975300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701">
          <p15:clr>
            <a:srgbClr val="F26B43"/>
          </p15:clr>
        </p15:guide>
        <p15:guide id="4" orient="horz" pos="3991">
          <p15:clr>
            <a:srgbClr val="F26B43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de título">
    <p:bg bwMode="ltGray">
      <p:bgPr>
        <a:blipFill dpi="0" rotWithShape="1">
          <a:blip r:embed="rId4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410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1874173" y="1256239"/>
            <a:ext cx="8478152" cy="502445"/>
          </a:xfrm>
          <a:prstGeom prst="rect">
            <a:avLst/>
          </a:prstGeom>
        </p:spPr>
        <p:txBody>
          <a:bodyPr anchor="t"/>
          <a:lstStyle>
            <a:lvl1pPr>
              <a:defRPr lang="x-none" sz="3200" b="1" baseline="0">
                <a:solidFill>
                  <a:schemeClr val="accent3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s-ES" noProof="0" smtClean="0"/>
              <a:t>Haga clic para modificar el estilo de título del patrón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1874173" y="2800217"/>
            <a:ext cx="3815427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6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s-ES" noProof="0" smtClean="0"/>
              <a:t>Haga clic para modificar el estilo de subtítulo del patrón</a:t>
            </a:r>
            <a:endParaRPr lang="x-none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1874173" y="4087971"/>
            <a:ext cx="381542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dirty="0">
                <a:solidFill>
                  <a:srgbClr val="808080"/>
                </a:solidFill>
                <a:latin typeface="Arial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256553148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434" name="Diapositiva de think-cell" r:id="rId4" imgW="347" imgH="346" progId="TCLayout.ActiveDocument.1">
                  <p:embed/>
                </p:oleObj>
              </mc:Choice>
              <mc:Fallback>
                <p:oleObj name="Diapositiva de think-cell" r:id="rId4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x-none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3" y="51835"/>
            <a:ext cx="123156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26"/>
            <a:endParaRPr lang="x-none" sz="612" dirty="0">
              <a:solidFill>
                <a:srgbClr val="80808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1262970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4294967295" pos="7489">
          <p15:clr>
            <a:srgbClr val="F26B43"/>
          </p15:clr>
        </p15:guide>
        <p15:guide id="4294967295" pos="101">
          <p15:clr>
            <a:srgbClr val="F26B43"/>
          </p15:clr>
        </p15:guide>
        <p15:guide id="4294967295" orient="horz" pos="701">
          <p15:clr>
            <a:srgbClr val="F26B43"/>
          </p15:clr>
        </p15:guide>
        <p15:guide id="4294967295" orient="horz" pos="3991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11055952" y="6566446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s-ES_tradnl" smtClean="0">
                <a:solidFill>
                  <a:srgbClr val="FFFFFF"/>
                </a:solidFill>
              </a:rPr>
              <a:pPr algn="ctr"/>
              <a:t>‹Nº›</a:t>
            </a:fld>
            <a:endParaRPr lang="es-ES_tradnl" dirty="0">
              <a:solidFill>
                <a:srgbClr val="FFFFFF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 err="1" smtClean="0"/>
              <a:t>Click</a:t>
            </a:r>
            <a:r>
              <a:rPr lang="es-ES_tradnl" dirty="0" smtClean="0"/>
              <a:t> to </a:t>
            </a:r>
            <a:r>
              <a:rPr lang="es-ES_tradnl" dirty="0" err="1" smtClean="0"/>
              <a:t>edit</a:t>
            </a:r>
            <a:r>
              <a:rPr lang="es-ES_tradnl" dirty="0" smtClean="0"/>
              <a:t> Master </a:t>
            </a:r>
            <a:r>
              <a:rPr lang="es-ES_tradnl" dirty="0" err="1" smtClean="0"/>
              <a:t>title</a:t>
            </a:r>
            <a:r>
              <a:rPr lang="es-ES_tradnl" dirty="0" smtClean="0"/>
              <a:t> </a:t>
            </a:r>
            <a:r>
              <a:rPr lang="es-ES_tradnl" dirty="0" err="1" smtClean="0"/>
              <a:t>style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23371601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11055952" y="6566446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s-ES_tradnl" smtClean="0">
                <a:solidFill>
                  <a:srgbClr val="FFFFFF"/>
                </a:solidFill>
              </a:rPr>
              <a:pPr algn="ctr"/>
              <a:t>‹Nº›</a:t>
            </a:fld>
            <a:endParaRPr lang="es-ES_tradnl" dirty="0">
              <a:solidFill>
                <a:srgbClr val="FFFFFF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 err="1" smtClean="0"/>
              <a:t>Click</a:t>
            </a:r>
            <a:r>
              <a:rPr lang="es-ES_tradnl" dirty="0" smtClean="0"/>
              <a:t> to </a:t>
            </a:r>
            <a:r>
              <a:rPr lang="es-ES_tradnl" dirty="0" err="1" smtClean="0"/>
              <a:t>edit</a:t>
            </a:r>
            <a:r>
              <a:rPr lang="es-ES_tradnl" dirty="0" smtClean="0"/>
              <a:t> Master </a:t>
            </a:r>
            <a:r>
              <a:rPr lang="es-ES_tradnl" dirty="0" err="1" smtClean="0"/>
              <a:t>title</a:t>
            </a:r>
            <a:r>
              <a:rPr lang="es-ES_tradnl" dirty="0" smtClean="0"/>
              <a:t> </a:t>
            </a:r>
            <a:r>
              <a:rPr lang="es-ES_tradnl" dirty="0" err="1" smtClean="0"/>
              <a:t>style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7795297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67" y="1625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466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7" y="1625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Title Elements"/>
          <p:cNvGrpSpPr/>
          <p:nvPr userDrawn="1"/>
        </p:nvGrpSpPr>
        <p:grpSpPr>
          <a:xfrm>
            <a:off x="0" y="5"/>
            <a:ext cx="12187682" cy="6859620"/>
            <a:chOff x="0" y="0"/>
            <a:chExt cx="8958264" cy="6723063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2640013" y="4890273"/>
              <a:ext cx="4935538" cy="2564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CO" sz="1700" dirty="0" smtClean="0">
                  <a:solidFill>
                    <a:srgbClr val="000000"/>
                  </a:solidFill>
                </a:rPr>
                <a:t>Tipo de Documento</a:t>
              </a: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2640013" y="5199063"/>
              <a:ext cx="4935538" cy="2564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CO" sz="1700" dirty="0" smtClean="0">
                  <a:solidFill>
                    <a:srgbClr val="000000"/>
                  </a:solidFill>
                </a:rPr>
                <a:t>Fecha</a:t>
              </a:r>
            </a:p>
          </p:txBody>
        </p:sp>
        <p:sp>
          <p:nvSpPr>
            <p:cNvPr id="11" name="Disclaimer" hidden="1"/>
            <p:cNvSpPr>
              <a:spLocks noChangeArrowheads="1"/>
            </p:cNvSpPr>
            <p:nvPr/>
          </p:nvSpPr>
          <p:spPr bwMode="auto">
            <a:xfrm>
              <a:off x="2640013" y="5838800"/>
              <a:ext cx="5121275" cy="3016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977034" eaLnBrk="0" hangingPunct="0"/>
              <a:r>
                <a:rPr lang="es-CO" sz="1000" dirty="0" smtClean="0">
                  <a:solidFill>
                    <a:srgbClr val="000000"/>
                  </a:solidFill>
                </a:rPr>
                <a:t>DOCUMENTO CONFIDENCIAL PROPIEDAD DE </a:t>
              </a:r>
              <a:r>
                <a:rPr lang="es-CO" sz="1000" dirty="0" err="1" smtClean="0">
                  <a:solidFill>
                    <a:srgbClr val="000000"/>
                  </a:solidFill>
                </a:rPr>
                <a:t>McKINSEY</a:t>
              </a:r>
              <a:r>
                <a:rPr lang="es-CO" sz="1000" dirty="0" smtClean="0">
                  <a:solidFill>
                    <a:srgbClr val="000000"/>
                  </a:solidFill>
                </a:rPr>
                <a:t> &amp; CO.</a:t>
              </a:r>
            </a:p>
            <a:p>
              <a:pPr defTabSz="977034" eaLnBrk="0" hangingPunct="0"/>
              <a:r>
                <a:rPr lang="es-CO" sz="1000" dirty="0" smtClean="0">
                  <a:solidFill>
                    <a:srgbClr val="000000"/>
                  </a:solidFill>
                </a:rPr>
                <a:t>Queda prohibido su uso y distribución sin la autorización expresa de McKinsey &amp; Company </a:t>
              </a:r>
              <a:endParaRPr lang="es-CO" sz="1000" dirty="0">
                <a:solidFill>
                  <a:srgbClr val="000000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2238375"/>
              <a:ext cx="2193925" cy="4484688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CO" sz="1900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2193925" cy="2238375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CO" sz="1900" dirty="0">
                <a:solidFill>
                  <a:srgbClr val="000000"/>
                </a:solidFill>
              </a:endParaRPr>
            </a:p>
          </p:txBody>
        </p:sp>
        <p:sp>
          <p:nvSpPr>
            <p:cNvPr id="19" name="Rectangle 18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 sz="1900" dirty="0" smtClean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60080" y="6574550"/>
            <a:ext cx="2226740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Rectangle 16"/>
          <p:cNvSpPr>
            <a:spLocks/>
          </p:cNvSpPr>
          <p:nvPr userDrawn="1"/>
        </p:nvSpPr>
        <p:spPr>
          <a:xfrm>
            <a:off x="3010749" y="1464249"/>
            <a:ext cx="9181257" cy="3566678"/>
          </a:xfrm>
          <a:prstGeom prst="rect">
            <a:avLst/>
          </a:prstGeom>
          <a:solidFill>
            <a:schemeClr val="bg2">
              <a:alpha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1000" tIns="55500" rIns="111000" bIns="55500" rtlCol="0" anchor="ctr"/>
          <a:lstStyle/>
          <a:p>
            <a:pPr algn="ctr"/>
            <a:endParaRPr lang="en-US" sz="1900" dirty="0" smtClean="0">
              <a:solidFill>
                <a:srgbClr val="000000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20" y="3240"/>
            <a:ext cx="12176882" cy="6856381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3" y="5"/>
            <a:ext cx="12181202" cy="6858000"/>
          </a:xfrm>
          <a:prstGeom prst="rect">
            <a:avLst/>
          </a:prstGeom>
          <a:solidFill>
            <a:schemeClr val="bg2">
              <a:alpha val="4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1000" tIns="55500" rIns="111000" bIns="55500" rtlCol="0" anchor="ctr"/>
          <a:lstStyle/>
          <a:p>
            <a:pPr algn="ctr"/>
            <a:endParaRPr lang="es-CO" sz="1900" dirty="0" err="1" smtClean="0">
              <a:solidFill>
                <a:srgbClr val="000000"/>
              </a:solidFill>
            </a:endParaRPr>
          </a:p>
        </p:txBody>
      </p:sp>
      <p:sp>
        <p:nvSpPr>
          <p:cNvPr id="29" name="Rectangle 28"/>
          <p:cNvSpPr>
            <a:spLocks/>
          </p:cNvSpPr>
          <p:nvPr userDrawn="1"/>
        </p:nvSpPr>
        <p:spPr>
          <a:xfrm>
            <a:off x="3416171" y="1984423"/>
            <a:ext cx="8775837" cy="2272271"/>
          </a:xfrm>
          <a:prstGeom prst="rect">
            <a:avLst/>
          </a:prstGeom>
          <a:solidFill>
            <a:schemeClr val="tx1">
              <a:lumMod val="95000"/>
              <a:lumOff val="5000"/>
              <a:alpha val="4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1000" tIns="55500" rIns="111000" bIns="55500" rtlCol="0" anchor="ctr"/>
          <a:lstStyle/>
          <a:p>
            <a:pPr algn="ctr"/>
            <a:endParaRPr lang="en-US" sz="1900" dirty="0" smtClean="0">
              <a:solidFill>
                <a:srgbClr val="000000"/>
              </a:solidFill>
            </a:endParaRPr>
          </a:p>
        </p:txBody>
      </p:sp>
      <p:pic>
        <p:nvPicPr>
          <p:cNvPr id="16" name="Picture 1398" descr="Resultado de imagen para cmpc logo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31326" y="2156436"/>
            <a:ext cx="1501975" cy="1809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692585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3070175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976209" y="1990668"/>
            <a:ext cx="5853024" cy="146193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Box 4"/>
          <p:cNvSpPr txBox="1"/>
          <p:nvPr userDrawn="1"/>
        </p:nvSpPr>
        <p:spPr>
          <a:xfrm>
            <a:off x="11626137" y="6566446"/>
            <a:ext cx="284012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D80E8600-A5E6-4DA3-B7E5-C11D489850A7}" type="slidenum">
              <a:rPr lang="en-US" sz="1200" smtClean="0">
                <a:solidFill>
                  <a:srgbClr val="000000"/>
                </a:solidFill>
              </a:rPr>
              <a:pPr/>
              <a:t>‹Nº›</a:t>
            </a:fld>
            <a:endParaRPr lang="en-US" sz="12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6848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64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514" name="Diapositiva de think-cell" r:id="rId5" imgW="383" imgH="384" progId="TCLayout.ActiveDocument.1">
                  <p:embed/>
                </p:oleObj>
              </mc:Choice>
              <mc:Fallback>
                <p:oleObj name="Diapositiva de think-cell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4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5045265" y="6420671"/>
            <a:ext cx="7144576" cy="429233"/>
            <a:chOff x="2337" y="3969"/>
            <a:chExt cx="3308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2337" y="3969"/>
              <a:ext cx="3308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900" dirty="0">
                <a:solidFill>
                  <a:srgbClr val="000000"/>
                </a:solidFill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5" name="Picture 4"/>
          <p:cNvPicPr>
            <a:picLocks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" y="0"/>
            <a:ext cx="12186282" cy="6849902"/>
          </a:xfrm>
          <a:prstGeom prst="rect">
            <a:avLst/>
          </a:prstGeom>
        </p:spPr>
      </p:pic>
      <p:grpSp>
        <p:nvGrpSpPr>
          <p:cNvPr id="2" name="Title Elements"/>
          <p:cNvGrpSpPr/>
          <p:nvPr userDrawn="1"/>
        </p:nvGrpSpPr>
        <p:grpSpPr>
          <a:xfrm>
            <a:off x="0" y="3"/>
            <a:ext cx="12187682" cy="6859620"/>
            <a:chOff x="0" y="0"/>
            <a:chExt cx="8958264" cy="6723063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2640013" y="4890273"/>
              <a:ext cx="4935538" cy="2564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1700" dirty="0" smtClean="0">
                  <a:solidFill>
                    <a:srgbClr val="000000"/>
                  </a:solidFill>
                </a:rPr>
                <a:t>Tipo de Documento</a:t>
              </a: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2640013" y="5199063"/>
              <a:ext cx="4935538" cy="2564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1700" dirty="0" smtClean="0">
                  <a:solidFill>
                    <a:srgbClr val="000000"/>
                  </a:solidFill>
                </a:rPr>
                <a:t>Fecha</a:t>
              </a:r>
            </a:p>
          </p:txBody>
        </p:sp>
        <p:sp>
          <p:nvSpPr>
            <p:cNvPr id="11" name="Disclaimer" hidden="1"/>
            <p:cNvSpPr>
              <a:spLocks noChangeArrowheads="1"/>
            </p:cNvSpPr>
            <p:nvPr/>
          </p:nvSpPr>
          <p:spPr bwMode="auto">
            <a:xfrm>
              <a:off x="2640013" y="5838800"/>
              <a:ext cx="5121275" cy="3016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977311" eaLnBrk="0" hangingPunct="0"/>
              <a:r>
                <a:rPr lang="es-ES_tradnl" sz="1000" dirty="0" smtClean="0">
                  <a:solidFill>
                    <a:srgbClr val="000000"/>
                  </a:solidFill>
                </a:rPr>
                <a:t>DOCUMENTO CONFIDENCIAL PROPIEDAD DE McKINSEY &amp; CO.</a:t>
              </a:r>
            </a:p>
            <a:p>
              <a:pPr defTabSz="977311" eaLnBrk="0" hangingPunct="0"/>
              <a:r>
                <a:rPr lang="es-ES_tradnl" sz="1000" dirty="0" smtClean="0">
                  <a:solidFill>
                    <a:srgbClr val="000000"/>
                  </a:solidFill>
                </a:rPr>
                <a:t>Queda prohibido su uso y distribución sin la autorización expresa de McKinsey &amp; Company </a:t>
              </a:r>
              <a:endParaRPr lang="es-ES_tradnl" sz="1000" dirty="0">
                <a:solidFill>
                  <a:srgbClr val="000000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2238375"/>
              <a:ext cx="2193925" cy="4484688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900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2193925" cy="2238375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900" dirty="0">
                <a:solidFill>
                  <a:srgbClr val="000000"/>
                </a:solidFill>
              </a:endParaRPr>
            </a:p>
          </p:txBody>
        </p:sp>
        <p:sp>
          <p:nvSpPr>
            <p:cNvPr id="19" name="Rectangle 18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900" dirty="0" smtClean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60080" y="6574548"/>
            <a:ext cx="2226740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786089" y="2252170"/>
            <a:ext cx="6486404" cy="600164"/>
          </a:xfrm>
          <a:prstGeom prst="rect">
            <a:avLst/>
          </a:prstGeom>
        </p:spPr>
        <p:txBody>
          <a:bodyPr/>
          <a:lstStyle>
            <a:lvl1pPr>
              <a:defRPr sz="3900" b="0">
                <a:solidFill>
                  <a:srgbClr val="48AB2C"/>
                </a:solidFill>
              </a:defRPr>
            </a:lvl1pPr>
          </a:lstStyle>
          <a:p>
            <a:pPr lvl="0"/>
            <a:r>
              <a:rPr lang="es-ES_tradnl" noProof="0" dirty="0" err="1" smtClean="0"/>
              <a:t>Click</a:t>
            </a:r>
            <a:r>
              <a:rPr lang="es-ES_tradnl" noProof="0" dirty="0" smtClean="0"/>
              <a:t> to </a:t>
            </a:r>
            <a:r>
              <a:rPr lang="es-ES_tradnl" noProof="0" dirty="0" err="1" smtClean="0"/>
              <a:t>edit</a:t>
            </a:r>
            <a:r>
              <a:rPr lang="es-ES_tradnl" noProof="0" dirty="0" smtClean="0"/>
              <a:t> Master </a:t>
            </a:r>
            <a:r>
              <a:rPr lang="es-ES_tradnl" noProof="0" dirty="0" err="1" smtClean="0"/>
              <a:t>title</a:t>
            </a:r>
            <a:r>
              <a:rPr lang="es-ES_tradnl" noProof="0" dirty="0" smtClean="0"/>
              <a:t> </a:t>
            </a:r>
            <a:r>
              <a:rPr lang="es-ES_tradnl" noProof="0" dirty="0" err="1" smtClean="0"/>
              <a:t>style</a:t>
            </a:r>
            <a:endParaRPr lang="es-ES_tradnl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4786089" y="4020931"/>
            <a:ext cx="6486404" cy="26161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7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s-ES_tradnl" noProof="0" dirty="0" err="1" smtClean="0"/>
              <a:t>Click</a:t>
            </a:r>
            <a:r>
              <a:rPr lang="es-ES_tradnl" noProof="0" dirty="0" smtClean="0"/>
              <a:t> to </a:t>
            </a:r>
            <a:r>
              <a:rPr lang="es-ES_tradnl" noProof="0" dirty="0" err="1" smtClean="0"/>
              <a:t>edit</a:t>
            </a:r>
            <a:r>
              <a:rPr lang="es-ES_tradnl" noProof="0" dirty="0" smtClean="0"/>
              <a:t> Master </a:t>
            </a:r>
            <a:r>
              <a:rPr lang="es-ES_tradnl" noProof="0" dirty="0" err="1" smtClean="0"/>
              <a:t>subtitle</a:t>
            </a:r>
            <a:r>
              <a:rPr lang="es-ES_tradnl" noProof="0" dirty="0" smtClean="0"/>
              <a:t> </a:t>
            </a:r>
            <a:r>
              <a:rPr lang="es-ES_tradnl" noProof="0" dirty="0" err="1" smtClean="0"/>
              <a:t>style</a:t>
            </a:r>
            <a:endParaRPr lang="es-ES_tradnl" noProof="0" dirty="0" smtClean="0"/>
          </a:p>
        </p:txBody>
      </p:sp>
      <p:pic>
        <p:nvPicPr>
          <p:cNvPr id="22" name="Picture 576" descr="https://upload.wikimedia.org/wikipedia/commons/thumb/4/44/CMPC_logo.png/150px-CMPC_logo.png"/>
          <p:cNvPicPr>
            <a:picLocks noChangeAspect="1" noChangeArrowheads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59204" y="432926"/>
            <a:ext cx="1076107" cy="1221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130027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image" Target="../media/image1.emf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image" Target="../media/image2.jp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4.vml"/><Relationship Id="rId13" Type="http://schemas.openxmlformats.org/officeDocument/2006/relationships/image" Target="../media/image7.emf"/><Relationship Id="rId3" Type="http://schemas.openxmlformats.org/officeDocument/2006/relationships/slideLayout" Target="../slideLayouts/slideLayout5.xml"/><Relationship Id="rId7" Type="http://schemas.openxmlformats.org/officeDocument/2006/relationships/theme" Target="../theme/theme2.xml"/><Relationship Id="rId12" Type="http://schemas.openxmlformats.org/officeDocument/2006/relationships/image" Target="../media/image6.jpeg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7.xml"/><Relationship Id="rId10" Type="http://schemas.openxmlformats.org/officeDocument/2006/relationships/oleObject" Target="../embeddings/oleObject4.bin"/><Relationship Id="rId4" Type="http://schemas.openxmlformats.org/officeDocument/2006/relationships/slideLayout" Target="../slideLayouts/slideLayout6.xml"/><Relationship Id="rId9" Type="http://schemas.openxmlformats.org/officeDocument/2006/relationships/tags" Target="../tags/tag21.xml"/><Relationship Id="rId14" Type="http://schemas.openxmlformats.org/officeDocument/2006/relationships/image" Target="../media/image8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7.vml"/><Relationship Id="rId13" Type="http://schemas.openxmlformats.org/officeDocument/2006/relationships/image" Target="../media/image7.emf"/><Relationship Id="rId3" Type="http://schemas.openxmlformats.org/officeDocument/2006/relationships/slideLayout" Target="../slideLayouts/slideLayout11.xml"/><Relationship Id="rId7" Type="http://schemas.openxmlformats.org/officeDocument/2006/relationships/theme" Target="../theme/theme3.xml"/><Relationship Id="rId12" Type="http://schemas.openxmlformats.org/officeDocument/2006/relationships/image" Target="../media/image6.jpeg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3.xml"/><Relationship Id="rId10" Type="http://schemas.openxmlformats.org/officeDocument/2006/relationships/oleObject" Target="../embeddings/oleObject7.bin"/><Relationship Id="rId4" Type="http://schemas.openxmlformats.org/officeDocument/2006/relationships/slideLayout" Target="../slideLayouts/slideLayout12.xml"/><Relationship Id="rId9" Type="http://schemas.openxmlformats.org/officeDocument/2006/relationships/tags" Target="../tags/tag25.xml"/><Relationship Id="rId14" Type="http://schemas.openxmlformats.org/officeDocument/2006/relationships/image" Target="../media/image8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0.vml"/><Relationship Id="rId13" Type="http://schemas.openxmlformats.org/officeDocument/2006/relationships/image" Target="../media/image7.emf"/><Relationship Id="rId3" Type="http://schemas.openxmlformats.org/officeDocument/2006/relationships/slideLayout" Target="../slideLayouts/slideLayout17.xml"/><Relationship Id="rId7" Type="http://schemas.openxmlformats.org/officeDocument/2006/relationships/theme" Target="../theme/theme4.xml"/><Relationship Id="rId12" Type="http://schemas.openxmlformats.org/officeDocument/2006/relationships/image" Target="../media/image16.jpeg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9.xml"/><Relationship Id="rId10" Type="http://schemas.openxmlformats.org/officeDocument/2006/relationships/oleObject" Target="../embeddings/oleObject10.bin"/><Relationship Id="rId4" Type="http://schemas.openxmlformats.org/officeDocument/2006/relationships/slideLayout" Target="../slideLayouts/slideLayout18.xml"/><Relationship Id="rId9" Type="http://schemas.openxmlformats.org/officeDocument/2006/relationships/tags" Target="../tags/tag29.xml"/><Relationship Id="rId14" Type="http://schemas.openxmlformats.org/officeDocument/2006/relationships/image" Target="../media/image17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13" Type="http://schemas.openxmlformats.org/officeDocument/2006/relationships/tags" Target="../tags/tag44.xml"/><Relationship Id="rId18" Type="http://schemas.openxmlformats.org/officeDocument/2006/relationships/tags" Target="../tags/tag49.xml"/><Relationship Id="rId3" Type="http://schemas.openxmlformats.org/officeDocument/2006/relationships/slideLayout" Target="../slideLayouts/slideLayout23.xml"/><Relationship Id="rId21" Type="http://schemas.openxmlformats.org/officeDocument/2006/relationships/tags" Target="../tags/tag52.xml"/><Relationship Id="rId7" Type="http://schemas.openxmlformats.org/officeDocument/2006/relationships/tags" Target="../tags/tag38.xml"/><Relationship Id="rId12" Type="http://schemas.openxmlformats.org/officeDocument/2006/relationships/tags" Target="../tags/tag43.xml"/><Relationship Id="rId17" Type="http://schemas.openxmlformats.org/officeDocument/2006/relationships/tags" Target="../tags/tag48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2.xml"/><Relationship Id="rId16" Type="http://schemas.openxmlformats.org/officeDocument/2006/relationships/tags" Target="../tags/tag47.xml"/><Relationship Id="rId20" Type="http://schemas.openxmlformats.org/officeDocument/2006/relationships/tags" Target="../tags/tag51.xml"/><Relationship Id="rId1" Type="http://schemas.openxmlformats.org/officeDocument/2006/relationships/slideLayout" Target="../slideLayouts/slideLayout21.xml"/><Relationship Id="rId6" Type="http://schemas.openxmlformats.org/officeDocument/2006/relationships/tags" Target="../tags/tag37.xml"/><Relationship Id="rId11" Type="http://schemas.openxmlformats.org/officeDocument/2006/relationships/tags" Target="../tags/tag42.xml"/><Relationship Id="rId24" Type="http://schemas.openxmlformats.org/officeDocument/2006/relationships/oleObject" Target="../embeddings/oleObject16.bin"/><Relationship Id="rId5" Type="http://schemas.openxmlformats.org/officeDocument/2006/relationships/vmlDrawing" Target="../drawings/vmlDrawing16.vml"/><Relationship Id="rId15" Type="http://schemas.openxmlformats.org/officeDocument/2006/relationships/tags" Target="../tags/tag46.xml"/><Relationship Id="rId23" Type="http://schemas.openxmlformats.org/officeDocument/2006/relationships/image" Target="../media/image2.jpg"/><Relationship Id="rId10" Type="http://schemas.openxmlformats.org/officeDocument/2006/relationships/tags" Target="../tags/tag41.xml"/><Relationship Id="rId19" Type="http://schemas.openxmlformats.org/officeDocument/2006/relationships/tags" Target="../tags/tag50.xml"/><Relationship Id="rId4" Type="http://schemas.openxmlformats.org/officeDocument/2006/relationships/theme" Target="../theme/theme5.xml"/><Relationship Id="rId9" Type="http://schemas.openxmlformats.org/officeDocument/2006/relationships/tags" Target="../tags/tag40.xml"/><Relationship Id="rId14" Type="http://schemas.openxmlformats.org/officeDocument/2006/relationships/tags" Target="../tags/tag45.xml"/><Relationship Id="rId22" Type="http://schemas.openxmlformats.org/officeDocument/2006/relationships/tags" Target="../tags/tag5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13" Type="http://schemas.openxmlformats.org/officeDocument/2006/relationships/tags" Target="../tags/tag65.xml"/><Relationship Id="rId18" Type="http://schemas.openxmlformats.org/officeDocument/2006/relationships/tags" Target="../tags/tag70.xml"/><Relationship Id="rId3" Type="http://schemas.openxmlformats.org/officeDocument/2006/relationships/theme" Target="../theme/theme6.xml"/><Relationship Id="rId21" Type="http://schemas.openxmlformats.org/officeDocument/2006/relationships/tags" Target="../tags/tag73.xml"/><Relationship Id="rId7" Type="http://schemas.openxmlformats.org/officeDocument/2006/relationships/tags" Target="../tags/tag59.xml"/><Relationship Id="rId12" Type="http://schemas.openxmlformats.org/officeDocument/2006/relationships/tags" Target="../tags/tag64.xml"/><Relationship Id="rId17" Type="http://schemas.openxmlformats.org/officeDocument/2006/relationships/tags" Target="../tags/tag69.xml"/><Relationship Id="rId2" Type="http://schemas.openxmlformats.org/officeDocument/2006/relationships/slideLayout" Target="../slideLayouts/slideLayout25.xml"/><Relationship Id="rId16" Type="http://schemas.openxmlformats.org/officeDocument/2006/relationships/tags" Target="../tags/tag68.xml"/><Relationship Id="rId20" Type="http://schemas.openxmlformats.org/officeDocument/2006/relationships/tags" Target="../tags/tag72.xml"/><Relationship Id="rId1" Type="http://schemas.openxmlformats.org/officeDocument/2006/relationships/slideLayout" Target="../slideLayouts/slideLayout24.xml"/><Relationship Id="rId6" Type="http://schemas.openxmlformats.org/officeDocument/2006/relationships/tags" Target="../tags/tag58.xml"/><Relationship Id="rId11" Type="http://schemas.openxmlformats.org/officeDocument/2006/relationships/tags" Target="../tags/tag63.xml"/><Relationship Id="rId24" Type="http://schemas.openxmlformats.org/officeDocument/2006/relationships/image" Target="../media/image1.emf"/><Relationship Id="rId5" Type="http://schemas.openxmlformats.org/officeDocument/2006/relationships/tags" Target="../tags/tag57.xml"/><Relationship Id="rId15" Type="http://schemas.openxmlformats.org/officeDocument/2006/relationships/tags" Target="../tags/tag67.xml"/><Relationship Id="rId23" Type="http://schemas.openxmlformats.org/officeDocument/2006/relationships/oleObject" Target="../embeddings/oleObject20.bin"/><Relationship Id="rId10" Type="http://schemas.openxmlformats.org/officeDocument/2006/relationships/tags" Target="../tags/tag62.xml"/><Relationship Id="rId19" Type="http://schemas.openxmlformats.org/officeDocument/2006/relationships/tags" Target="../tags/tag71.xml"/><Relationship Id="rId4" Type="http://schemas.openxmlformats.org/officeDocument/2006/relationships/vmlDrawing" Target="../drawings/vmlDrawing20.vml"/><Relationship Id="rId9" Type="http://schemas.openxmlformats.org/officeDocument/2006/relationships/tags" Target="../tags/tag61.xml"/><Relationship Id="rId14" Type="http://schemas.openxmlformats.org/officeDocument/2006/relationships/tags" Target="../tags/tag66.xml"/><Relationship Id="rId22" Type="http://schemas.openxmlformats.org/officeDocument/2006/relationships/image" Target="../media/image2.jp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13" Type="http://schemas.openxmlformats.org/officeDocument/2006/relationships/tags" Target="../tags/tag84.xml"/><Relationship Id="rId18" Type="http://schemas.openxmlformats.org/officeDocument/2006/relationships/tags" Target="../tags/tag89.xml"/><Relationship Id="rId3" Type="http://schemas.openxmlformats.org/officeDocument/2006/relationships/theme" Target="../theme/theme7.xml"/><Relationship Id="rId21" Type="http://schemas.openxmlformats.org/officeDocument/2006/relationships/tags" Target="../tags/tag92.xml"/><Relationship Id="rId7" Type="http://schemas.openxmlformats.org/officeDocument/2006/relationships/tags" Target="../tags/tag78.xml"/><Relationship Id="rId12" Type="http://schemas.openxmlformats.org/officeDocument/2006/relationships/tags" Target="../tags/tag83.xml"/><Relationship Id="rId17" Type="http://schemas.openxmlformats.org/officeDocument/2006/relationships/tags" Target="../tags/tag88.xml"/><Relationship Id="rId2" Type="http://schemas.openxmlformats.org/officeDocument/2006/relationships/slideLayout" Target="../slideLayouts/slideLayout27.xml"/><Relationship Id="rId16" Type="http://schemas.openxmlformats.org/officeDocument/2006/relationships/tags" Target="../tags/tag87.xml"/><Relationship Id="rId20" Type="http://schemas.openxmlformats.org/officeDocument/2006/relationships/tags" Target="../tags/tag91.xml"/><Relationship Id="rId1" Type="http://schemas.openxmlformats.org/officeDocument/2006/relationships/slideLayout" Target="../slideLayouts/slideLayout26.xml"/><Relationship Id="rId6" Type="http://schemas.openxmlformats.org/officeDocument/2006/relationships/tags" Target="../tags/tag77.xml"/><Relationship Id="rId11" Type="http://schemas.openxmlformats.org/officeDocument/2006/relationships/tags" Target="../tags/tag82.xml"/><Relationship Id="rId24" Type="http://schemas.openxmlformats.org/officeDocument/2006/relationships/image" Target="../media/image1.emf"/><Relationship Id="rId5" Type="http://schemas.openxmlformats.org/officeDocument/2006/relationships/tags" Target="../tags/tag76.xml"/><Relationship Id="rId15" Type="http://schemas.openxmlformats.org/officeDocument/2006/relationships/tags" Target="../tags/tag86.xml"/><Relationship Id="rId23" Type="http://schemas.openxmlformats.org/officeDocument/2006/relationships/oleObject" Target="../embeddings/oleObject23.bin"/><Relationship Id="rId10" Type="http://schemas.openxmlformats.org/officeDocument/2006/relationships/tags" Target="../tags/tag81.xml"/><Relationship Id="rId19" Type="http://schemas.openxmlformats.org/officeDocument/2006/relationships/tags" Target="../tags/tag90.xml"/><Relationship Id="rId4" Type="http://schemas.openxmlformats.org/officeDocument/2006/relationships/vmlDrawing" Target="../drawings/vmlDrawing23.vml"/><Relationship Id="rId9" Type="http://schemas.openxmlformats.org/officeDocument/2006/relationships/tags" Target="../tags/tag80.xml"/><Relationship Id="rId14" Type="http://schemas.openxmlformats.org/officeDocument/2006/relationships/tags" Target="../tags/tag85.xml"/><Relationship Id="rId22" Type="http://schemas.openxmlformats.org/officeDocument/2006/relationships/image" Target="../media/image2.jp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97.xml"/><Relationship Id="rId13" Type="http://schemas.openxmlformats.org/officeDocument/2006/relationships/tags" Target="../tags/tag102.xml"/><Relationship Id="rId18" Type="http://schemas.openxmlformats.org/officeDocument/2006/relationships/tags" Target="../tags/tag107.xml"/><Relationship Id="rId3" Type="http://schemas.openxmlformats.org/officeDocument/2006/relationships/slideLayout" Target="../slideLayouts/slideLayout30.xml"/><Relationship Id="rId21" Type="http://schemas.openxmlformats.org/officeDocument/2006/relationships/tags" Target="../tags/tag110.xml"/><Relationship Id="rId7" Type="http://schemas.openxmlformats.org/officeDocument/2006/relationships/tags" Target="../tags/tag96.xml"/><Relationship Id="rId12" Type="http://schemas.openxmlformats.org/officeDocument/2006/relationships/tags" Target="../tags/tag101.xml"/><Relationship Id="rId17" Type="http://schemas.openxmlformats.org/officeDocument/2006/relationships/tags" Target="../tags/tag106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9.xml"/><Relationship Id="rId16" Type="http://schemas.openxmlformats.org/officeDocument/2006/relationships/tags" Target="../tags/tag105.xml"/><Relationship Id="rId20" Type="http://schemas.openxmlformats.org/officeDocument/2006/relationships/tags" Target="../tags/tag109.xml"/><Relationship Id="rId1" Type="http://schemas.openxmlformats.org/officeDocument/2006/relationships/slideLayout" Target="../slideLayouts/slideLayout28.xml"/><Relationship Id="rId6" Type="http://schemas.openxmlformats.org/officeDocument/2006/relationships/tags" Target="../tags/tag95.xml"/><Relationship Id="rId11" Type="http://schemas.openxmlformats.org/officeDocument/2006/relationships/tags" Target="../tags/tag100.xml"/><Relationship Id="rId24" Type="http://schemas.openxmlformats.org/officeDocument/2006/relationships/oleObject" Target="../embeddings/oleObject26.bin"/><Relationship Id="rId5" Type="http://schemas.openxmlformats.org/officeDocument/2006/relationships/vmlDrawing" Target="../drawings/vmlDrawing26.vml"/><Relationship Id="rId15" Type="http://schemas.openxmlformats.org/officeDocument/2006/relationships/tags" Target="../tags/tag104.xml"/><Relationship Id="rId23" Type="http://schemas.openxmlformats.org/officeDocument/2006/relationships/image" Target="../media/image2.jpg"/><Relationship Id="rId10" Type="http://schemas.openxmlformats.org/officeDocument/2006/relationships/tags" Target="../tags/tag99.xml"/><Relationship Id="rId19" Type="http://schemas.openxmlformats.org/officeDocument/2006/relationships/tags" Target="../tags/tag108.xml"/><Relationship Id="rId4" Type="http://schemas.openxmlformats.org/officeDocument/2006/relationships/theme" Target="../theme/theme8.xml"/><Relationship Id="rId9" Type="http://schemas.openxmlformats.org/officeDocument/2006/relationships/tags" Target="../tags/tag98.xml"/><Relationship Id="rId14" Type="http://schemas.openxmlformats.org/officeDocument/2006/relationships/tags" Target="../tags/tag103.xml"/><Relationship Id="rId22" Type="http://schemas.openxmlformats.org/officeDocument/2006/relationships/tags" Target="../tags/tag111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ags" Target="../tags/tag118.xml"/><Relationship Id="rId13" Type="http://schemas.openxmlformats.org/officeDocument/2006/relationships/tags" Target="../tags/tag123.xml"/><Relationship Id="rId18" Type="http://schemas.openxmlformats.org/officeDocument/2006/relationships/tags" Target="../tags/tag128.xml"/><Relationship Id="rId3" Type="http://schemas.openxmlformats.org/officeDocument/2006/relationships/theme" Target="../theme/theme9.xml"/><Relationship Id="rId21" Type="http://schemas.openxmlformats.org/officeDocument/2006/relationships/tags" Target="../tags/tag131.xml"/><Relationship Id="rId7" Type="http://schemas.openxmlformats.org/officeDocument/2006/relationships/tags" Target="../tags/tag117.xml"/><Relationship Id="rId12" Type="http://schemas.openxmlformats.org/officeDocument/2006/relationships/tags" Target="../tags/tag122.xml"/><Relationship Id="rId17" Type="http://schemas.openxmlformats.org/officeDocument/2006/relationships/tags" Target="../tags/tag127.xml"/><Relationship Id="rId2" Type="http://schemas.openxmlformats.org/officeDocument/2006/relationships/slideLayout" Target="../slideLayouts/slideLayout32.xml"/><Relationship Id="rId16" Type="http://schemas.openxmlformats.org/officeDocument/2006/relationships/tags" Target="../tags/tag126.xml"/><Relationship Id="rId20" Type="http://schemas.openxmlformats.org/officeDocument/2006/relationships/tags" Target="../tags/tag130.xml"/><Relationship Id="rId1" Type="http://schemas.openxmlformats.org/officeDocument/2006/relationships/slideLayout" Target="../slideLayouts/slideLayout31.xml"/><Relationship Id="rId6" Type="http://schemas.openxmlformats.org/officeDocument/2006/relationships/tags" Target="../tags/tag116.xml"/><Relationship Id="rId11" Type="http://schemas.openxmlformats.org/officeDocument/2006/relationships/tags" Target="../tags/tag121.xml"/><Relationship Id="rId24" Type="http://schemas.openxmlformats.org/officeDocument/2006/relationships/image" Target="../media/image1.emf"/><Relationship Id="rId5" Type="http://schemas.openxmlformats.org/officeDocument/2006/relationships/tags" Target="../tags/tag115.xml"/><Relationship Id="rId15" Type="http://schemas.openxmlformats.org/officeDocument/2006/relationships/tags" Target="../tags/tag125.xml"/><Relationship Id="rId23" Type="http://schemas.openxmlformats.org/officeDocument/2006/relationships/oleObject" Target="../embeddings/oleObject30.bin"/><Relationship Id="rId10" Type="http://schemas.openxmlformats.org/officeDocument/2006/relationships/tags" Target="../tags/tag120.xml"/><Relationship Id="rId19" Type="http://schemas.openxmlformats.org/officeDocument/2006/relationships/tags" Target="../tags/tag129.xml"/><Relationship Id="rId4" Type="http://schemas.openxmlformats.org/officeDocument/2006/relationships/vmlDrawing" Target="../drawings/vmlDrawing30.vml"/><Relationship Id="rId9" Type="http://schemas.openxmlformats.org/officeDocument/2006/relationships/tags" Target="../tags/tag119.xml"/><Relationship Id="rId14" Type="http://schemas.openxmlformats.org/officeDocument/2006/relationships/tags" Target="../tags/tag124.xml"/><Relationship Id="rId22" Type="http://schemas.openxmlformats.org/officeDocument/2006/relationships/image" Target="../media/image2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blipFill dpi="0" rotWithShape="1">
          <a:blip r:embed="rId2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749875804"/>
              </p:ext>
            </p:extLst>
          </p:nvPr>
        </p:nvGraphicFramePr>
        <p:xfrm>
          <a:off x="0" y="2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43" name="Diapositiva de think-cell" r:id="rId23" imgW="270" imgH="270" progId="TCLayout.ActiveDocument.1">
                  <p:embed/>
                </p:oleObj>
              </mc:Choice>
              <mc:Fallback>
                <p:oleObj name="Diapositiva de think-cell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2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6"/>
            </p:custDataLst>
          </p:nvPr>
        </p:nvSpPr>
        <p:spPr bwMode="auto">
          <a:xfrm>
            <a:off x="0" y="2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200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832101" y="720939"/>
            <a:ext cx="9055371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x-none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317688" y="77304"/>
            <a:ext cx="5514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9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317689" y="1190358"/>
            <a:ext cx="1056978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/>
        </p:nvGrpSpPr>
        <p:grpSpPr bwMode="gray">
          <a:xfrm>
            <a:off x="1317687" y="6421021"/>
            <a:ext cx="10569784" cy="345004"/>
            <a:chOff x="75" y="3928"/>
            <a:chExt cx="5385" cy="213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28"/>
              <a:ext cx="5385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4092" indent="-84092">
                <a:defRPr lang="x-none"/>
              </a:pPr>
              <a:r>
                <a:rPr lang="x-none" sz="9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55"/>
              <a:ext cx="5152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518821" indent="-518821" defTabSz="1217336">
                <a:tabLst/>
              </a:pPr>
              <a:r>
                <a:rPr lang="x-none" sz="9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SOURCE : Source</a:t>
              </a:r>
              <a:endParaRPr lang="en-US" sz="900" baseline="0" noProof="0" dirty="0">
                <a:solidFill>
                  <a:schemeClr val="accent6"/>
                </a:solidFill>
                <a:latin typeface="+mn-lt"/>
                <a:ea typeface="+mn-ea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371626" y="2615195"/>
            <a:ext cx="5801187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2371623" y="1915577"/>
            <a:ext cx="5801187" cy="510221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x-none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61" name="Slide Number"/>
          <p:cNvSpPr txBox="1">
            <a:spLocks/>
          </p:cNvSpPr>
          <p:nvPr/>
        </p:nvSpPr>
        <p:spPr bwMode="gray">
          <a:xfrm>
            <a:off x="11685493" y="6634028"/>
            <a:ext cx="201978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x-none" sz="900" baseline="0" smtClean="0">
                <a:solidFill>
                  <a:schemeClr val="accent6"/>
                </a:solidFill>
              </a:rPr>
              <a:pPr lvl="0" algn="r"/>
              <a:t>‹Nº›</a:t>
            </a:fld>
            <a:endParaRPr lang="x-none" sz="900" baseline="0" dirty="0">
              <a:solidFill>
                <a:schemeClr val="accent6"/>
              </a:solidFill>
            </a:endParaRPr>
          </a:p>
        </p:txBody>
      </p:sp>
      <p:grpSp>
        <p:nvGrpSpPr>
          <p:cNvPr id="59" name="LegendBoxes" hidden="1"/>
          <p:cNvGrpSpPr>
            <a:grpSpLocks/>
          </p:cNvGrpSpPr>
          <p:nvPr/>
        </p:nvGrpSpPr>
        <p:grpSpPr bwMode="auto">
          <a:xfrm>
            <a:off x="11123890" y="1297032"/>
            <a:ext cx="763588" cy="996951"/>
            <a:chOff x="4936" y="176"/>
            <a:chExt cx="481" cy="628"/>
          </a:xfrm>
        </p:grpSpPr>
        <p:sp>
          <p:nvSpPr>
            <p:cNvPr id="102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844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3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4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844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5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6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844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7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8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844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9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110" name="LegendLines" hidden="1"/>
          <p:cNvGrpSpPr>
            <a:grpSpLocks/>
          </p:cNvGrpSpPr>
          <p:nvPr/>
        </p:nvGrpSpPr>
        <p:grpSpPr bwMode="auto">
          <a:xfrm>
            <a:off x="10815920" y="1297030"/>
            <a:ext cx="1071564" cy="730255"/>
            <a:chOff x="4750" y="176"/>
            <a:chExt cx="675" cy="460"/>
          </a:xfrm>
        </p:grpSpPr>
        <p:sp>
          <p:nvSpPr>
            <p:cNvPr id="111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2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3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4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844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15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844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16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844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117" name="McKSticker" hidden="1"/>
          <p:cNvGrpSpPr/>
          <p:nvPr/>
        </p:nvGrpSpPr>
        <p:grpSpPr bwMode="auto">
          <a:xfrm>
            <a:off x="11077525" y="1297029"/>
            <a:ext cx="809965" cy="166199"/>
            <a:chOff x="7930810" y="285750"/>
            <a:chExt cx="809965" cy="166198"/>
          </a:xfrm>
        </p:grpSpPr>
        <p:sp>
          <p:nvSpPr>
            <p:cNvPr id="118" name="StickerRectangle"/>
            <p:cNvSpPr>
              <a:spLocks noChangeArrowheads="1"/>
            </p:cNvSpPr>
            <p:nvPr/>
          </p:nvSpPr>
          <p:spPr bwMode="auto">
            <a:xfrm>
              <a:off x="7930810" y="285750"/>
              <a:ext cx="809965" cy="16619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4844">
                <a:buClr>
                  <a:schemeClr val="tx2"/>
                </a:buClr>
              </a:pPr>
              <a:r>
                <a:rPr lang="en-US" sz="900" baseline="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19" name="AutoShape 31"/>
            <p:cNvCxnSpPr>
              <a:cxnSpLocks noChangeShapeType="1"/>
              <a:stCxn id="118" idx="2"/>
              <a:endCxn id="118" idx="4"/>
            </p:cNvCxnSpPr>
            <p:nvPr/>
          </p:nvCxnSpPr>
          <p:spPr bwMode="auto">
            <a:xfrm>
              <a:off x="7930810" y="285750"/>
              <a:ext cx="0" cy="16619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0" name="AutoShape 32"/>
            <p:cNvCxnSpPr>
              <a:cxnSpLocks noChangeShapeType="1"/>
              <a:stCxn id="118" idx="4"/>
              <a:endCxn id="118" idx="6"/>
            </p:cNvCxnSpPr>
            <p:nvPr/>
          </p:nvCxnSpPr>
          <p:spPr bwMode="auto">
            <a:xfrm>
              <a:off x="7930810" y="451948"/>
              <a:ext cx="80996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21" name="LegendMoons" hidden="1"/>
          <p:cNvGrpSpPr/>
          <p:nvPr/>
        </p:nvGrpSpPr>
        <p:grpSpPr bwMode="auto">
          <a:xfrm>
            <a:off x="11057025" y="1297028"/>
            <a:ext cx="830430" cy="1306516"/>
            <a:chOff x="6655594" y="273840"/>
            <a:chExt cx="830434" cy="1306516"/>
          </a:xfrm>
        </p:grpSpPr>
        <p:grpSp>
          <p:nvGrpSpPr>
            <p:cNvPr id="122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40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41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123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38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39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124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36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37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125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34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35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sp>
          <p:nvSpPr>
            <p:cNvPr id="126" name="Legend1"/>
            <p:cNvSpPr>
              <a:spLocks noChangeArrowheads="1"/>
            </p:cNvSpPr>
            <p:nvPr/>
          </p:nvSpPr>
          <p:spPr bwMode="auto">
            <a:xfrm>
              <a:off x="6976270" y="286540"/>
              <a:ext cx="50975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844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27" name="Legend2"/>
            <p:cNvSpPr>
              <a:spLocks noChangeArrowheads="1"/>
            </p:cNvSpPr>
            <p:nvPr/>
          </p:nvSpPr>
          <p:spPr bwMode="auto">
            <a:xfrm>
              <a:off x="6976271" y="561178"/>
              <a:ext cx="50975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844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28" name="Legend3"/>
            <p:cNvSpPr>
              <a:spLocks noChangeArrowheads="1"/>
            </p:cNvSpPr>
            <p:nvPr/>
          </p:nvSpPr>
          <p:spPr bwMode="auto">
            <a:xfrm>
              <a:off x="6976268" y="835817"/>
              <a:ext cx="50975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844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29" name="Legend4"/>
            <p:cNvSpPr>
              <a:spLocks noChangeArrowheads="1"/>
            </p:cNvSpPr>
            <p:nvPr/>
          </p:nvSpPr>
          <p:spPr bwMode="auto">
            <a:xfrm>
              <a:off x="6976268" y="1107280"/>
              <a:ext cx="50975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844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30" name="Legend5"/>
            <p:cNvSpPr>
              <a:spLocks noChangeArrowheads="1"/>
            </p:cNvSpPr>
            <p:nvPr/>
          </p:nvSpPr>
          <p:spPr bwMode="auto">
            <a:xfrm>
              <a:off x="6976268" y="1383505"/>
              <a:ext cx="50975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844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131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132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33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hf hdr="0" ftr="0" dt="0"/>
  <p:txStyles>
    <p:titleStyle>
      <a:lvl1pPr algn="l" defTabSz="1217336" rtl="0" eaLnBrk="1" fontAlgn="base" hangingPunct="1">
        <a:spcBef>
          <a:spcPct val="0"/>
        </a:spcBef>
        <a:spcAft>
          <a:spcPct val="0"/>
        </a:spcAft>
        <a:tabLst>
          <a:tab pos="366931" algn="l"/>
        </a:tabLst>
        <a:defRPr lang="x-none" sz="1900" b="1" baseline="0">
          <a:solidFill>
            <a:schemeClr val="accent3"/>
          </a:solidFill>
          <a:latin typeface="+mj-lt"/>
          <a:ea typeface="+mj-ea"/>
          <a:cs typeface="+mj-cs"/>
        </a:defRPr>
      </a:lvl1pPr>
      <a:lvl2pPr algn="l" defTabSz="1217336" rtl="0" eaLnBrk="1" fontAlgn="base" hangingPunct="1">
        <a:spcBef>
          <a:spcPct val="0"/>
        </a:spcBef>
        <a:spcAft>
          <a:spcPct val="0"/>
        </a:spcAft>
        <a:defRPr lang="x-none" sz="2600" b="1">
          <a:solidFill>
            <a:schemeClr val="tx2"/>
          </a:solidFill>
          <a:latin typeface="Arial" charset="0"/>
        </a:defRPr>
      </a:lvl2pPr>
      <a:lvl3pPr algn="l" defTabSz="1217336" rtl="0" eaLnBrk="1" fontAlgn="base" hangingPunct="1">
        <a:spcBef>
          <a:spcPct val="0"/>
        </a:spcBef>
        <a:spcAft>
          <a:spcPct val="0"/>
        </a:spcAft>
        <a:defRPr lang="x-none" sz="2600" b="1">
          <a:solidFill>
            <a:schemeClr val="tx2"/>
          </a:solidFill>
          <a:latin typeface="Arial" charset="0"/>
        </a:defRPr>
      </a:lvl3pPr>
      <a:lvl4pPr algn="l" defTabSz="1217336" rtl="0" eaLnBrk="1" fontAlgn="base" hangingPunct="1">
        <a:spcBef>
          <a:spcPct val="0"/>
        </a:spcBef>
        <a:spcAft>
          <a:spcPct val="0"/>
        </a:spcAft>
        <a:defRPr lang="x-none" sz="2600" b="1">
          <a:solidFill>
            <a:schemeClr val="tx2"/>
          </a:solidFill>
          <a:latin typeface="Arial" charset="0"/>
        </a:defRPr>
      </a:lvl4pPr>
      <a:lvl5pPr algn="l" defTabSz="1217336" rtl="0" eaLnBrk="1" fontAlgn="base" hangingPunct="1">
        <a:spcBef>
          <a:spcPct val="0"/>
        </a:spcBef>
        <a:spcAft>
          <a:spcPct val="0"/>
        </a:spcAft>
        <a:defRPr lang="x-none" sz="2600" b="1">
          <a:solidFill>
            <a:schemeClr val="tx2"/>
          </a:solidFill>
          <a:latin typeface="Arial" charset="0"/>
        </a:defRPr>
      </a:lvl5pPr>
      <a:lvl6pPr marL="621618" algn="l" defTabSz="1217336" rtl="0" eaLnBrk="1" fontAlgn="base" hangingPunct="1">
        <a:spcBef>
          <a:spcPct val="0"/>
        </a:spcBef>
        <a:spcAft>
          <a:spcPct val="0"/>
        </a:spcAft>
        <a:defRPr lang="x-none" sz="2600" b="1">
          <a:solidFill>
            <a:schemeClr val="tx2"/>
          </a:solidFill>
          <a:latin typeface="Arial" charset="0"/>
        </a:defRPr>
      </a:lvl6pPr>
      <a:lvl7pPr marL="1243238" algn="l" defTabSz="1217336" rtl="0" eaLnBrk="1" fontAlgn="base" hangingPunct="1">
        <a:spcBef>
          <a:spcPct val="0"/>
        </a:spcBef>
        <a:spcAft>
          <a:spcPct val="0"/>
        </a:spcAft>
        <a:defRPr lang="x-none" sz="2600" b="1">
          <a:solidFill>
            <a:schemeClr val="tx2"/>
          </a:solidFill>
          <a:latin typeface="Arial" charset="0"/>
        </a:defRPr>
      </a:lvl7pPr>
      <a:lvl8pPr marL="1864854" algn="l" defTabSz="1217336" rtl="0" eaLnBrk="1" fontAlgn="base" hangingPunct="1">
        <a:spcBef>
          <a:spcPct val="0"/>
        </a:spcBef>
        <a:spcAft>
          <a:spcPct val="0"/>
        </a:spcAft>
        <a:defRPr lang="x-none" sz="2600" b="1">
          <a:solidFill>
            <a:schemeClr val="tx2"/>
          </a:solidFill>
          <a:latin typeface="Arial" charset="0"/>
        </a:defRPr>
      </a:lvl8pPr>
      <a:lvl9pPr marL="2486476" algn="l" defTabSz="1217336" rtl="0" eaLnBrk="1" fontAlgn="base" hangingPunct="1">
        <a:spcBef>
          <a:spcPct val="0"/>
        </a:spcBef>
        <a:spcAft>
          <a:spcPct val="0"/>
        </a:spcAft>
        <a:defRPr lang="x-none" sz="26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1733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1915" indent="-191915" algn="l" defTabSz="121733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00" baseline="0">
          <a:solidFill>
            <a:schemeClr val="tx1"/>
          </a:solidFill>
          <a:latin typeface="+mn-lt"/>
        </a:defRPr>
      </a:lvl2pPr>
      <a:lvl3pPr marL="456942" indent="-265026" algn="l" defTabSz="121733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612302" indent="-155361" algn="l" defTabSz="121733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00" baseline="0">
          <a:solidFill>
            <a:schemeClr val="tx1"/>
          </a:solidFill>
          <a:latin typeface="+mn-lt"/>
        </a:defRPr>
      </a:lvl4pPr>
      <a:lvl5pPr marL="749384" indent="-127944" algn="l" defTabSz="121733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1019454" indent="-176990" algn="l" defTabSz="121733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200" baseline="0">
          <a:solidFill>
            <a:schemeClr val="tx1"/>
          </a:solidFill>
          <a:latin typeface="+mn-lt"/>
        </a:defRPr>
      </a:lvl6pPr>
      <a:lvl7pPr marL="1019454" indent="-176990" algn="l" defTabSz="121733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200" baseline="0">
          <a:solidFill>
            <a:schemeClr val="tx1"/>
          </a:solidFill>
          <a:latin typeface="+mn-lt"/>
        </a:defRPr>
      </a:lvl7pPr>
      <a:lvl8pPr marL="1019454" indent="-176990" algn="l" defTabSz="121733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200" baseline="0">
          <a:solidFill>
            <a:schemeClr val="tx1"/>
          </a:solidFill>
          <a:latin typeface="+mn-lt"/>
        </a:defRPr>
      </a:lvl8pPr>
      <a:lvl9pPr marL="1019454" indent="-176990" algn="l" defTabSz="121733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2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43238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21618" algn="l" defTabSz="1243238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43238" algn="l" defTabSz="1243238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64854" algn="l" defTabSz="1243238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86476" algn="l" defTabSz="1243238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108093" algn="l" defTabSz="1243238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729712" algn="l" defTabSz="1243238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351330" algn="l" defTabSz="1243238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972949" algn="l" defTabSz="1243238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396520795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418" name="Diapositiva de think-cell" r:id="rId10" imgW="270" imgH="270" progId="TCLayout.ActiveDocument.1">
                  <p:embed/>
                </p:oleObj>
              </mc:Choice>
              <mc:Fallback>
                <p:oleObj name="Diapositiva de think-cell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430390"/>
            <a:ext cx="11292805" cy="43085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  <a:extLst/>
        </p:spPr>
        <p:txBody>
          <a:bodyPr wrap="none" lIns="111000" tIns="55500" rIns="111000" bIns="55500" anchor="ctr"/>
          <a:lstStyle/>
          <a:p>
            <a:endParaRPr lang="es-ES_tradnl" sz="1900" dirty="0">
              <a:solidFill>
                <a:srgbClr val="000000"/>
              </a:solidFill>
            </a:endParaRPr>
          </a:p>
        </p:txBody>
      </p:sp>
      <p:pic>
        <p:nvPicPr>
          <p:cNvPr id="24" name="Picture 23"/>
          <p:cNvPicPr>
            <a:picLocks/>
          </p:cNvPicPr>
          <p:nvPr/>
        </p:nvPicPr>
        <p:blipFill rotWithShape="1">
          <a:blip r:embed="rId12" cstate="email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6430390"/>
            <a:ext cx="11292805" cy="430852"/>
          </a:xfrm>
          <a:prstGeom prst="rect">
            <a:avLst/>
          </a:prstGeom>
        </p:spPr>
      </p:pic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1991" y="234863"/>
            <a:ext cx="11725485" cy="3539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s-ES_tradnl" dirty="0" err="1" smtClean="0"/>
              <a:t>Click</a:t>
            </a:r>
            <a:r>
              <a:rPr lang="es-ES_tradnl" dirty="0" smtClean="0"/>
              <a:t> to </a:t>
            </a:r>
            <a:r>
              <a:rPr lang="es-ES_tradnl" dirty="0" err="1" smtClean="0"/>
              <a:t>edit</a:t>
            </a:r>
            <a:r>
              <a:rPr lang="es-ES_tradnl" dirty="0" smtClean="0"/>
              <a:t> Master </a:t>
            </a:r>
            <a:r>
              <a:rPr lang="es-ES_tradnl" dirty="0" err="1" smtClean="0"/>
              <a:t>title</a:t>
            </a:r>
            <a:r>
              <a:rPr lang="es-ES_tradnl" dirty="0" smtClean="0"/>
              <a:t> </a:t>
            </a:r>
            <a:r>
              <a:rPr lang="es-ES_tradnl" dirty="0" err="1" smtClean="0"/>
              <a:t>style</a:t>
            </a:r>
            <a:endParaRPr lang="es-ES_tradnl" dirty="0" smtClean="0"/>
          </a:p>
        </p:txBody>
      </p:sp>
      <p:sp>
        <p:nvSpPr>
          <p:cNvPr id="11" name="1. On-page tracker" hidden="1"/>
          <p:cNvSpPr>
            <a:spLocks noChangeArrowheads="1"/>
          </p:cNvSpPr>
          <p:nvPr/>
        </p:nvSpPr>
        <p:spPr bwMode="auto">
          <a:xfrm>
            <a:off x="161985" y="27536"/>
            <a:ext cx="1041952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s-ES_tradnl" sz="1700" dirty="0" err="1" smtClean="0">
                <a:solidFill>
                  <a:srgbClr val="808080"/>
                </a:solidFill>
                <a:latin typeface="Arial"/>
              </a:rPr>
              <a:t>TRACKER</a:t>
            </a:r>
            <a:endParaRPr lang="es-ES_tradnl" sz="17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2" name="3. Unit of measure" hidden="1"/>
          <p:cNvSpPr txBox="1">
            <a:spLocks noChangeArrowheads="1"/>
          </p:cNvSpPr>
          <p:nvPr/>
        </p:nvSpPr>
        <p:spPr bwMode="auto">
          <a:xfrm>
            <a:off x="161989" y="542620"/>
            <a:ext cx="11725485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s-ES_tradnl" sz="1900" dirty="0" smtClean="0">
                <a:solidFill>
                  <a:srgbClr val="808080"/>
                </a:solidFill>
              </a:rPr>
              <a:t>Unit of </a:t>
            </a:r>
            <a:r>
              <a:rPr lang="es-ES_tradnl" sz="1900" dirty="0" err="1" smtClean="0">
                <a:solidFill>
                  <a:srgbClr val="808080"/>
                </a:solidFill>
              </a:rPr>
              <a:t>measure</a:t>
            </a:r>
            <a:endParaRPr lang="es-ES_tradnl" sz="1900" dirty="0" smtClean="0">
              <a:solidFill>
                <a:srgbClr val="808080"/>
              </a:solidFill>
            </a:endParaRPr>
          </a:p>
        </p:txBody>
      </p:sp>
      <p:grpSp>
        <p:nvGrpSpPr>
          <p:cNvPr id="13" name="Slide Elements" hidden="1"/>
          <p:cNvGrpSpPr>
            <a:grpSpLocks/>
          </p:cNvGrpSpPr>
          <p:nvPr/>
        </p:nvGrpSpPr>
        <p:grpSpPr bwMode="auto">
          <a:xfrm>
            <a:off x="161985" y="6174470"/>
            <a:ext cx="11630454" cy="562052"/>
            <a:chOff x="75" y="3812"/>
            <a:chExt cx="5385" cy="347"/>
          </a:xfrm>
        </p:grpSpPr>
        <p:sp>
          <p:nvSpPr>
            <p:cNvPr id="14" name="4. Footnote"/>
            <p:cNvSpPr txBox="1">
              <a:spLocks noChangeArrowheads="1"/>
            </p:cNvSpPr>
            <p:nvPr/>
          </p:nvSpPr>
          <p:spPr bwMode="auto">
            <a:xfrm>
              <a:off x="75" y="3812"/>
              <a:ext cx="5385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s-ES_tradnl" sz="1200" dirty="0" smtClean="0">
                  <a:solidFill>
                    <a:srgbClr val="000000"/>
                  </a:solidFill>
                  <a:latin typeface="Arial"/>
                </a:rPr>
                <a:t>1 Nota al pie</a:t>
              </a:r>
            </a:p>
          </p:txBody>
        </p:sp>
        <p:sp>
          <p:nvSpPr>
            <p:cNvPr id="15" name="5. Source"/>
            <p:cNvSpPr>
              <a:spLocks noChangeArrowheads="1"/>
            </p:cNvSpPr>
            <p:nvPr/>
          </p:nvSpPr>
          <p:spPr bwMode="auto">
            <a:xfrm>
              <a:off x="75" y="4045"/>
              <a:ext cx="432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740002" indent="-740002" defTabSz="1086879">
                <a:tabLst>
                  <a:tab pos="743856" algn="l"/>
                </a:tabLst>
              </a:pPr>
              <a:r>
                <a:rPr lang="es-ES_tradnl" sz="1200" dirty="0" smtClean="0">
                  <a:solidFill>
                    <a:srgbClr val="000000"/>
                  </a:solidFill>
                  <a:latin typeface="Arial"/>
                </a:rPr>
                <a:t>FUENTE: Fuente</a:t>
              </a:r>
              <a:endParaRPr lang="es-ES_tradnl" sz="1200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16" name="ACET" hidden="1"/>
          <p:cNvGrpSpPr>
            <a:grpSpLocks/>
          </p:cNvGrpSpPr>
          <p:nvPr/>
        </p:nvGrpSpPr>
        <p:grpSpPr bwMode="auto">
          <a:xfrm>
            <a:off x="1976212" y="1065793"/>
            <a:ext cx="5801189" cy="602545"/>
            <a:chOff x="915" y="658"/>
            <a:chExt cx="2686" cy="372"/>
          </a:xfrm>
        </p:grpSpPr>
        <p:cxnSp>
          <p:nvCxnSpPr>
            <p:cNvPr id="1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658"/>
              <a:ext cx="2686" cy="37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s-ES_tradnl" sz="1900" b="1" dirty="0" err="1" smtClean="0">
                  <a:solidFill>
                    <a:srgbClr val="000000"/>
                  </a:solidFill>
                </a:rPr>
                <a:t>Title</a:t>
              </a:r>
              <a:endParaRPr lang="es-ES_tradnl" sz="1900" b="1" dirty="0" smtClean="0">
                <a:solidFill>
                  <a:srgbClr val="000000"/>
                </a:solidFill>
              </a:endParaRPr>
            </a:p>
            <a:p>
              <a:r>
                <a:rPr lang="es-ES_tradnl" sz="1900" dirty="0" smtClean="0">
                  <a:solidFill>
                    <a:srgbClr val="808080"/>
                  </a:solidFill>
                </a:rPr>
                <a:t>Unit of </a:t>
              </a:r>
              <a:r>
                <a:rPr lang="es-ES_tradnl" sz="1900" dirty="0" err="1" smtClean="0">
                  <a:solidFill>
                    <a:srgbClr val="808080"/>
                  </a:solidFill>
                </a:rPr>
                <a:t>measure</a:t>
              </a:r>
              <a:endParaRPr lang="es-ES_tradnl" sz="1900" dirty="0">
                <a:solidFill>
                  <a:srgbClr val="808080"/>
                </a:solidFill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976209" y="1990672"/>
            <a:ext cx="5853024" cy="29238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s-ES_tradnl" noProof="0" dirty="0" smtClean="0"/>
              <a:t>Text</a:t>
            </a:r>
            <a:endParaRPr lang="es-ES_tradnl" noProof="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9654" y="6297571"/>
            <a:ext cx="774759" cy="573390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14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7939" y="6317009"/>
            <a:ext cx="455344" cy="515079"/>
          </a:xfrm>
          <a:prstGeom prst="rect">
            <a:avLst/>
          </a:prstGeom>
        </p:spPr>
      </p:pic>
      <p:sp>
        <p:nvSpPr>
          <p:cNvPr id="25" name="Slide Number"/>
          <p:cNvSpPr txBox="1">
            <a:spLocks/>
          </p:cNvSpPr>
          <p:nvPr/>
        </p:nvSpPr>
        <p:spPr>
          <a:xfrm>
            <a:off x="11055952" y="6566446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s-ES_tradnl" smtClean="0">
                <a:solidFill>
                  <a:srgbClr val="FFFFFF"/>
                </a:solidFill>
              </a:rPr>
              <a:pPr algn="ctr"/>
              <a:t>‹Nº›</a:t>
            </a:fld>
            <a:endParaRPr lang="es-ES_tradn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9531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</p:sldLayoutIdLst>
  <p:hf hdr="0" ftr="0" dt="0"/>
  <p:txStyles>
    <p:titleStyle>
      <a:lvl1pPr algn="l" defTabSz="1086879" rtl="0" eaLnBrk="1" fontAlgn="base" hangingPunct="1">
        <a:spcBef>
          <a:spcPct val="0"/>
        </a:spcBef>
        <a:spcAft>
          <a:spcPct val="0"/>
        </a:spcAft>
        <a:tabLst>
          <a:tab pos="433595" algn="l"/>
        </a:tabLst>
        <a:defRPr sz="23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1086879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2pPr>
      <a:lvl3pPr algn="l" defTabSz="1086879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3pPr>
      <a:lvl4pPr algn="l" defTabSz="1086879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4pPr>
      <a:lvl5pPr algn="l" defTabSz="1086879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5pPr>
      <a:lvl6pPr marL="554999" algn="l" defTabSz="1086879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6pPr>
      <a:lvl7pPr marL="1110004" algn="l" defTabSz="1086879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7pPr>
      <a:lvl8pPr marL="1665003" algn="l" defTabSz="1086879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8pPr>
      <a:lvl9pPr marL="2220006" algn="l" defTabSz="1086879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1086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900">
          <a:solidFill>
            <a:schemeClr val="tx1"/>
          </a:solidFill>
          <a:latin typeface="+mn-lt"/>
          <a:ea typeface="+mn-ea"/>
          <a:cs typeface="+mn-cs"/>
        </a:defRPr>
      </a:lvl1pPr>
      <a:lvl2pPr marL="235105" indent="-233176" algn="l" defTabSz="1086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900">
          <a:solidFill>
            <a:schemeClr val="tx1"/>
          </a:solidFill>
          <a:latin typeface="+mn-lt"/>
        </a:defRPr>
      </a:lvl2pPr>
      <a:lvl3pPr marL="554999" indent="-317970" algn="l" defTabSz="1086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900">
          <a:solidFill>
            <a:schemeClr val="tx1"/>
          </a:solidFill>
          <a:latin typeface="+mn-lt"/>
        </a:defRPr>
      </a:lvl3pPr>
      <a:lvl4pPr marL="745785" indent="-188855" algn="l" defTabSz="1086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900">
          <a:solidFill>
            <a:schemeClr val="tx1"/>
          </a:solidFill>
          <a:latin typeface="+mn-lt"/>
        </a:defRPr>
      </a:lvl4pPr>
      <a:lvl5pPr marL="910202" indent="-158023" algn="l" defTabSz="1086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>
          <a:solidFill>
            <a:schemeClr val="tx1"/>
          </a:solidFill>
          <a:latin typeface="+mn-lt"/>
        </a:defRPr>
      </a:lvl5pPr>
      <a:lvl6pPr marL="910202" indent="-158023" algn="l" defTabSz="1086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>
          <a:solidFill>
            <a:schemeClr val="tx1"/>
          </a:solidFill>
          <a:latin typeface="+mn-lt"/>
        </a:defRPr>
      </a:lvl6pPr>
      <a:lvl7pPr marL="910202" indent="-158023" algn="l" defTabSz="1086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>
          <a:solidFill>
            <a:schemeClr val="tx1"/>
          </a:solidFill>
          <a:latin typeface="+mn-lt"/>
        </a:defRPr>
      </a:lvl7pPr>
      <a:lvl8pPr marL="910202" indent="-158023" algn="l" defTabSz="1086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>
          <a:solidFill>
            <a:schemeClr val="tx1"/>
          </a:solidFill>
          <a:latin typeface="+mn-lt"/>
        </a:defRPr>
      </a:lvl8pPr>
      <a:lvl9pPr marL="910202" indent="-158023" algn="l" defTabSz="10868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11000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54999" algn="l" defTabSz="111000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110004" algn="l" defTabSz="111000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65003" algn="l" defTabSz="111000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220006" algn="l" defTabSz="111000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75006" algn="l" defTabSz="111000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330011" algn="l" defTabSz="111000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85010" algn="l" defTabSz="111000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440009" algn="l" defTabSz="1110004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71034243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490" name="Diapositiva de think-cell" r:id="rId10" imgW="270" imgH="270" progId="TCLayout.ActiveDocument.1">
                  <p:embed/>
                </p:oleObj>
              </mc:Choice>
              <mc:Fallback>
                <p:oleObj name="Diapositiva de think-cell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430388"/>
            <a:ext cx="11292805" cy="43085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  <a:extLst/>
        </p:spPr>
        <p:txBody>
          <a:bodyPr wrap="none" lIns="111031" tIns="55516" rIns="111031" bIns="55516" anchor="ctr"/>
          <a:lstStyle/>
          <a:p>
            <a:endParaRPr lang="es-ES_tradnl" sz="1900" dirty="0">
              <a:solidFill>
                <a:srgbClr val="000000"/>
              </a:solidFill>
            </a:endParaRPr>
          </a:p>
        </p:txBody>
      </p:sp>
      <p:pic>
        <p:nvPicPr>
          <p:cNvPr id="24" name="Picture 23"/>
          <p:cNvPicPr>
            <a:picLocks/>
          </p:cNvPicPr>
          <p:nvPr/>
        </p:nvPicPr>
        <p:blipFill rotWithShape="1">
          <a:blip r:embed="rId12" cstate="email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6430388"/>
            <a:ext cx="11292805" cy="430852"/>
          </a:xfrm>
          <a:prstGeom prst="rect">
            <a:avLst/>
          </a:prstGeom>
        </p:spPr>
      </p:pic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1988" y="234863"/>
            <a:ext cx="11725485" cy="3539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s-ES_tradnl" dirty="0" err="1" smtClean="0"/>
              <a:t>Click</a:t>
            </a:r>
            <a:r>
              <a:rPr lang="es-ES_tradnl" dirty="0" smtClean="0"/>
              <a:t> to </a:t>
            </a:r>
            <a:r>
              <a:rPr lang="es-ES_tradnl" dirty="0" err="1" smtClean="0"/>
              <a:t>edit</a:t>
            </a:r>
            <a:r>
              <a:rPr lang="es-ES_tradnl" dirty="0" smtClean="0"/>
              <a:t> Master </a:t>
            </a:r>
            <a:r>
              <a:rPr lang="es-ES_tradnl" dirty="0" err="1" smtClean="0"/>
              <a:t>title</a:t>
            </a:r>
            <a:r>
              <a:rPr lang="es-ES_tradnl" dirty="0" smtClean="0"/>
              <a:t> </a:t>
            </a:r>
            <a:r>
              <a:rPr lang="es-ES_tradnl" dirty="0" err="1" smtClean="0"/>
              <a:t>style</a:t>
            </a:r>
            <a:endParaRPr lang="es-ES_tradnl" dirty="0" smtClean="0"/>
          </a:p>
        </p:txBody>
      </p:sp>
      <p:sp>
        <p:nvSpPr>
          <p:cNvPr id="11" name="1. On-page tracker" hidden="1"/>
          <p:cNvSpPr>
            <a:spLocks noChangeArrowheads="1"/>
          </p:cNvSpPr>
          <p:nvPr/>
        </p:nvSpPr>
        <p:spPr bwMode="auto">
          <a:xfrm>
            <a:off x="161985" y="27536"/>
            <a:ext cx="1041952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s-ES_tradnl" sz="1700" dirty="0" err="1" smtClean="0">
                <a:solidFill>
                  <a:srgbClr val="808080"/>
                </a:solidFill>
                <a:latin typeface="Arial"/>
              </a:rPr>
              <a:t>TRACKER</a:t>
            </a:r>
            <a:endParaRPr lang="es-ES_tradnl" sz="17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2" name="3. Unit of measure" hidden="1"/>
          <p:cNvSpPr txBox="1">
            <a:spLocks noChangeArrowheads="1"/>
          </p:cNvSpPr>
          <p:nvPr/>
        </p:nvSpPr>
        <p:spPr bwMode="auto">
          <a:xfrm>
            <a:off x="161987" y="542618"/>
            <a:ext cx="11725485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s-ES_tradnl" sz="1900" dirty="0" smtClean="0">
                <a:solidFill>
                  <a:srgbClr val="808080"/>
                </a:solidFill>
              </a:rPr>
              <a:t>Unit of </a:t>
            </a:r>
            <a:r>
              <a:rPr lang="es-ES_tradnl" sz="1900" dirty="0" err="1" smtClean="0">
                <a:solidFill>
                  <a:srgbClr val="808080"/>
                </a:solidFill>
              </a:rPr>
              <a:t>measure</a:t>
            </a:r>
            <a:endParaRPr lang="es-ES_tradnl" sz="1900" dirty="0" smtClean="0">
              <a:solidFill>
                <a:srgbClr val="808080"/>
              </a:solidFill>
            </a:endParaRPr>
          </a:p>
        </p:txBody>
      </p:sp>
      <p:grpSp>
        <p:nvGrpSpPr>
          <p:cNvPr id="13" name="Slide Elements" hidden="1"/>
          <p:cNvGrpSpPr>
            <a:grpSpLocks/>
          </p:cNvGrpSpPr>
          <p:nvPr/>
        </p:nvGrpSpPr>
        <p:grpSpPr bwMode="auto">
          <a:xfrm>
            <a:off x="161985" y="6174474"/>
            <a:ext cx="11630454" cy="562052"/>
            <a:chOff x="75" y="3812"/>
            <a:chExt cx="5385" cy="347"/>
          </a:xfrm>
        </p:grpSpPr>
        <p:sp>
          <p:nvSpPr>
            <p:cNvPr id="14" name="4. Footnote"/>
            <p:cNvSpPr txBox="1">
              <a:spLocks noChangeArrowheads="1"/>
            </p:cNvSpPr>
            <p:nvPr/>
          </p:nvSpPr>
          <p:spPr bwMode="auto">
            <a:xfrm>
              <a:off x="75" y="3812"/>
              <a:ext cx="5385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s-ES_tradnl" sz="1200" dirty="0" smtClean="0">
                  <a:solidFill>
                    <a:srgbClr val="000000"/>
                  </a:solidFill>
                  <a:latin typeface="Arial"/>
                </a:rPr>
                <a:t>1 Nota al pie</a:t>
              </a:r>
            </a:p>
          </p:txBody>
        </p:sp>
        <p:sp>
          <p:nvSpPr>
            <p:cNvPr id="15" name="5. Source"/>
            <p:cNvSpPr>
              <a:spLocks noChangeArrowheads="1"/>
            </p:cNvSpPr>
            <p:nvPr/>
          </p:nvSpPr>
          <p:spPr bwMode="auto">
            <a:xfrm>
              <a:off x="75" y="4045"/>
              <a:ext cx="432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740211" indent="-740211" defTabSz="1087185">
                <a:tabLst>
                  <a:tab pos="744066" algn="l"/>
                </a:tabLst>
              </a:pPr>
              <a:r>
                <a:rPr lang="es-ES_tradnl" sz="1200" dirty="0" smtClean="0">
                  <a:solidFill>
                    <a:srgbClr val="000000"/>
                  </a:solidFill>
                  <a:latin typeface="Arial"/>
                </a:rPr>
                <a:t>FUENTE: Fuente</a:t>
              </a:r>
              <a:endParaRPr lang="es-ES_tradnl" sz="1200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16" name="ACET" hidden="1"/>
          <p:cNvGrpSpPr>
            <a:grpSpLocks/>
          </p:cNvGrpSpPr>
          <p:nvPr/>
        </p:nvGrpSpPr>
        <p:grpSpPr bwMode="auto">
          <a:xfrm>
            <a:off x="1976209" y="1065793"/>
            <a:ext cx="5801189" cy="602545"/>
            <a:chOff x="915" y="658"/>
            <a:chExt cx="2686" cy="372"/>
          </a:xfrm>
        </p:grpSpPr>
        <p:cxnSp>
          <p:nvCxnSpPr>
            <p:cNvPr id="1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658"/>
              <a:ext cx="2686" cy="37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s-ES_tradnl" sz="1900" b="1" dirty="0" err="1" smtClean="0">
                  <a:solidFill>
                    <a:srgbClr val="000000"/>
                  </a:solidFill>
                </a:rPr>
                <a:t>Title</a:t>
              </a:r>
              <a:endParaRPr lang="es-ES_tradnl" sz="1900" b="1" dirty="0" smtClean="0">
                <a:solidFill>
                  <a:srgbClr val="000000"/>
                </a:solidFill>
              </a:endParaRPr>
            </a:p>
            <a:p>
              <a:r>
                <a:rPr lang="es-ES_tradnl" sz="1900" dirty="0" smtClean="0">
                  <a:solidFill>
                    <a:srgbClr val="808080"/>
                  </a:solidFill>
                </a:rPr>
                <a:t>Unit of </a:t>
              </a:r>
              <a:r>
                <a:rPr lang="es-ES_tradnl" sz="1900" dirty="0" err="1" smtClean="0">
                  <a:solidFill>
                    <a:srgbClr val="808080"/>
                  </a:solidFill>
                </a:rPr>
                <a:t>measure</a:t>
              </a:r>
              <a:endParaRPr lang="es-ES_tradnl" sz="1900" dirty="0">
                <a:solidFill>
                  <a:srgbClr val="808080"/>
                </a:solidFill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976209" y="1990670"/>
            <a:ext cx="5853024" cy="29238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s-ES_tradnl" noProof="0" dirty="0" smtClean="0"/>
              <a:t>Text</a:t>
            </a:r>
            <a:endParaRPr lang="es-ES_tradnl" noProof="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9654" y="6297569"/>
            <a:ext cx="774759" cy="573390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14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7939" y="6317007"/>
            <a:ext cx="455344" cy="515079"/>
          </a:xfrm>
          <a:prstGeom prst="rect">
            <a:avLst/>
          </a:prstGeom>
        </p:spPr>
      </p:pic>
      <p:sp>
        <p:nvSpPr>
          <p:cNvPr id="25" name="Slide Number"/>
          <p:cNvSpPr txBox="1">
            <a:spLocks/>
          </p:cNvSpPr>
          <p:nvPr/>
        </p:nvSpPr>
        <p:spPr>
          <a:xfrm>
            <a:off x="11055952" y="6566446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s-ES_tradnl" smtClean="0">
                <a:solidFill>
                  <a:srgbClr val="FFFFFF"/>
                </a:solidFill>
              </a:rPr>
              <a:pPr algn="ctr"/>
              <a:t>‹Nº›</a:t>
            </a:fld>
            <a:endParaRPr lang="es-ES_tradn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97702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</p:sldLayoutIdLst>
  <p:hf hdr="0" ftr="0" dt="0"/>
  <p:txStyles>
    <p:titleStyle>
      <a:lvl1pPr algn="l" defTabSz="1087185" rtl="0" eaLnBrk="1" fontAlgn="base" hangingPunct="1">
        <a:spcBef>
          <a:spcPct val="0"/>
        </a:spcBef>
        <a:spcAft>
          <a:spcPct val="0"/>
        </a:spcAft>
        <a:tabLst>
          <a:tab pos="433719" algn="l"/>
        </a:tabLst>
        <a:defRPr sz="23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1087185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2pPr>
      <a:lvl3pPr algn="l" defTabSz="1087185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3pPr>
      <a:lvl4pPr algn="l" defTabSz="1087185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4pPr>
      <a:lvl5pPr algn="l" defTabSz="1087185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5pPr>
      <a:lvl6pPr marL="555157" algn="l" defTabSz="1087185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6pPr>
      <a:lvl7pPr marL="1110317" algn="l" defTabSz="1087185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7pPr>
      <a:lvl8pPr marL="1665474" algn="l" defTabSz="1087185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8pPr>
      <a:lvl9pPr marL="2220633" algn="l" defTabSz="1087185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108718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900">
          <a:solidFill>
            <a:schemeClr val="tx1"/>
          </a:solidFill>
          <a:latin typeface="+mn-lt"/>
          <a:ea typeface="+mn-ea"/>
          <a:cs typeface="+mn-cs"/>
        </a:defRPr>
      </a:lvl1pPr>
      <a:lvl2pPr marL="235172" indent="-233244" algn="l" defTabSz="10871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900">
          <a:solidFill>
            <a:schemeClr val="tx1"/>
          </a:solidFill>
          <a:latin typeface="+mn-lt"/>
        </a:defRPr>
      </a:lvl2pPr>
      <a:lvl3pPr marL="555157" indent="-318060" algn="l" defTabSz="10871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900">
          <a:solidFill>
            <a:schemeClr val="tx1"/>
          </a:solidFill>
          <a:latin typeface="+mn-lt"/>
        </a:defRPr>
      </a:lvl3pPr>
      <a:lvl4pPr marL="745995" indent="-188908" algn="l" defTabSz="10871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900">
          <a:solidFill>
            <a:schemeClr val="tx1"/>
          </a:solidFill>
          <a:latin typeface="+mn-lt"/>
        </a:defRPr>
      </a:lvl4pPr>
      <a:lvl5pPr marL="910459" indent="-158067" algn="l" defTabSz="10871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>
          <a:solidFill>
            <a:schemeClr val="tx1"/>
          </a:solidFill>
          <a:latin typeface="+mn-lt"/>
        </a:defRPr>
      </a:lvl5pPr>
      <a:lvl6pPr marL="910459" indent="-158067" algn="l" defTabSz="10871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>
          <a:solidFill>
            <a:schemeClr val="tx1"/>
          </a:solidFill>
          <a:latin typeface="+mn-lt"/>
        </a:defRPr>
      </a:lvl6pPr>
      <a:lvl7pPr marL="910459" indent="-158067" algn="l" defTabSz="10871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>
          <a:solidFill>
            <a:schemeClr val="tx1"/>
          </a:solidFill>
          <a:latin typeface="+mn-lt"/>
        </a:defRPr>
      </a:lvl7pPr>
      <a:lvl8pPr marL="910459" indent="-158067" algn="l" defTabSz="10871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>
          <a:solidFill>
            <a:schemeClr val="tx1"/>
          </a:solidFill>
          <a:latin typeface="+mn-lt"/>
        </a:defRPr>
      </a:lvl8pPr>
      <a:lvl9pPr marL="910459" indent="-158067" algn="l" defTabSz="10871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11031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55157" algn="l" defTabSz="111031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110317" algn="l" defTabSz="111031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65474" algn="l" defTabSz="111031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220633" algn="l" defTabSz="111031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75791" algn="l" defTabSz="111031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330951" algn="l" defTabSz="111031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86108" algn="l" defTabSz="111031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441265" algn="l" defTabSz="1110317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566569949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608" name="Diapositiva de think-cell" r:id="rId10" imgW="270" imgH="270" progId="TCLayout.ActiveDocument.1">
                  <p:embed/>
                </p:oleObj>
              </mc:Choice>
              <mc:Fallback>
                <p:oleObj name="Diapositiva de think-cell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430386"/>
            <a:ext cx="11292805" cy="43085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  <a:extLst/>
        </p:spPr>
        <p:txBody>
          <a:bodyPr wrap="none" lIns="111063" tIns="55532" rIns="111063" bIns="55532" anchor="ctr"/>
          <a:lstStyle/>
          <a:p>
            <a:endParaRPr lang="es-CO" sz="1900" dirty="0">
              <a:solidFill>
                <a:srgbClr val="000000"/>
              </a:solidFill>
            </a:endParaRPr>
          </a:p>
        </p:txBody>
      </p:sp>
      <p:pic>
        <p:nvPicPr>
          <p:cNvPr id="24" name="Picture 23"/>
          <p:cNvPicPr>
            <a:picLocks/>
          </p:cNvPicPr>
          <p:nvPr/>
        </p:nvPicPr>
        <p:blipFill rotWithShape="1">
          <a:blip r:embed="rId12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6430386"/>
            <a:ext cx="11292805" cy="430852"/>
          </a:xfrm>
          <a:prstGeom prst="rect">
            <a:avLst/>
          </a:prstGeom>
        </p:spPr>
      </p:pic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1985" y="234863"/>
            <a:ext cx="11725485" cy="3539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s-CO" dirty="0" err="1" smtClean="0"/>
              <a:t>Click</a:t>
            </a:r>
            <a:r>
              <a:rPr lang="es-CO" dirty="0" smtClean="0"/>
              <a:t> to </a:t>
            </a:r>
            <a:r>
              <a:rPr lang="es-CO" dirty="0" err="1" smtClean="0"/>
              <a:t>edit</a:t>
            </a:r>
            <a:r>
              <a:rPr lang="es-CO" dirty="0" smtClean="0"/>
              <a:t> Master </a:t>
            </a:r>
            <a:r>
              <a:rPr lang="es-CO" dirty="0" err="1" smtClean="0"/>
              <a:t>title</a:t>
            </a:r>
            <a:r>
              <a:rPr lang="es-CO" dirty="0" smtClean="0"/>
              <a:t> </a:t>
            </a:r>
            <a:r>
              <a:rPr lang="es-CO" dirty="0" err="1" smtClean="0"/>
              <a:t>style</a:t>
            </a:r>
            <a:endParaRPr lang="es-CO" dirty="0" smtClean="0"/>
          </a:p>
        </p:txBody>
      </p:sp>
      <p:sp>
        <p:nvSpPr>
          <p:cNvPr id="11" name="1. On-page tracker" hidden="1"/>
          <p:cNvSpPr>
            <a:spLocks noChangeArrowheads="1"/>
          </p:cNvSpPr>
          <p:nvPr/>
        </p:nvSpPr>
        <p:spPr bwMode="auto">
          <a:xfrm>
            <a:off x="161985" y="27536"/>
            <a:ext cx="1041952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s-CO" sz="1700" dirty="0" err="1" smtClean="0">
                <a:solidFill>
                  <a:srgbClr val="808080"/>
                </a:solidFill>
                <a:latin typeface="Arial"/>
              </a:rPr>
              <a:t>TRACKER</a:t>
            </a:r>
            <a:endParaRPr lang="es-CO" sz="17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2" name="3. Unit of measure" hidden="1"/>
          <p:cNvSpPr txBox="1">
            <a:spLocks noChangeArrowheads="1"/>
          </p:cNvSpPr>
          <p:nvPr/>
        </p:nvSpPr>
        <p:spPr bwMode="auto">
          <a:xfrm>
            <a:off x="161984" y="542616"/>
            <a:ext cx="11725485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s-CO" sz="1900" dirty="0" err="1" smtClean="0">
                <a:solidFill>
                  <a:srgbClr val="808080"/>
                </a:solidFill>
              </a:rPr>
              <a:t>Unit</a:t>
            </a:r>
            <a:r>
              <a:rPr lang="es-CO" sz="1900" dirty="0" smtClean="0">
                <a:solidFill>
                  <a:srgbClr val="808080"/>
                </a:solidFill>
              </a:rPr>
              <a:t> of </a:t>
            </a:r>
            <a:r>
              <a:rPr lang="es-CO" sz="1900" dirty="0" err="1" smtClean="0">
                <a:solidFill>
                  <a:srgbClr val="808080"/>
                </a:solidFill>
              </a:rPr>
              <a:t>measure</a:t>
            </a:r>
            <a:endParaRPr lang="es-CO" sz="1900" dirty="0" smtClean="0">
              <a:solidFill>
                <a:srgbClr val="808080"/>
              </a:solidFill>
            </a:endParaRPr>
          </a:p>
        </p:txBody>
      </p:sp>
      <p:grpSp>
        <p:nvGrpSpPr>
          <p:cNvPr id="13" name="Slide Elements" hidden="1"/>
          <p:cNvGrpSpPr>
            <a:grpSpLocks/>
          </p:cNvGrpSpPr>
          <p:nvPr/>
        </p:nvGrpSpPr>
        <p:grpSpPr bwMode="auto">
          <a:xfrm>
            <a:off x="161985" y="6174466"/>
            <a:ext cx="11630454" cy="562051"/>
            <a:chOff x="75" y="3812"/>
            <a:chExt cx="5385" cy="347"/>
          </a:xfrm>
        </p:grpSpPr>
        <p:sp>
          <p:nvSpPr>
            <p:cNvPr id="14" name="4. Footnote"/>
            <p:cNvSpPr txBox="1">
              <a:spLocks noChangeArrowheads="1"/>
            </p:cNvSpPr>
            <p:nvPr/>
          </p:nvSpPr>
          <p:spPr bwMode="auto">
            <a:xfrm>
              <a:off x="75" y="3812"/>
              <a:ext cx="5385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s-CO" sz="1200" dirty="0" smtClean="0">
                  <a:solidFill>
                    <a:srgbClr val="000000"/>
                  </a:solidFill>
                  <a:latin typeface="Arial"/>
                </a:rPr>
                <a:t>1 Nota al pie</a:t>
              </a:r>
            </a:p>
          </p:txBody>
        </p:sp>
        <p:sp>
          <p:nvSpPr>
            <p:cNvPr id="15" name="5. Source"/>
            <p:cNvSpPr>
              <a:spLocks noChangeArrowheads="1"/>
            </p:cNvSpPr>
            <p:nvPr/>
          </p:nvSpPr>
          <p:spPr bwMode="auto">
            <a:xfrm>
              <a:off x="75" y="4045"/>
              <a:ext cx="4323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740420" indent="-740420" defTabSz="1087492">
                <a:tabLst>
                  <a:tab pos="744277" algn="l"/>
                </a:tabLst>
              </a:pPr>
              <a:r>
                <a:rPr lang="es-CO" sz="1200" dirty="0" smtClean="0">
                  <a:solidFill>
                    <a:srgbClr val="000000"/>
                  </a:solidFill>
                  <a:latin typeface="Arial"/>
                </a:rPr>
                <a:t>FUENTE: Fuente</a:t>
              </a:r>
              <a:endParaRPr lang="es-CO" sz="1200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16" name="ACET" hidden="1"/>
          <p:cNvGrpSpPr>
            <a:grpSpLocks/>
          </p:cNvGrpSpPr>
          <p:nvPr/>
        </p:nvGrpSpPr>
        <p:grpSpPr bwMode="auto">
          <a:xfrm>
            <a:off x="1976207" y="1065793"/>
            <a:ext cx="5801189" cy="602545"/>
            <a:chOff x="915" y="658"/>
            <a:chExt cx="2686" cy="372"/>
          </a:xfrm>
        </p:grpSpPr>
        <p:cxnSp>
          <p:nvCxnSpPr>
            <p:cNvPr id="1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658"/>
              <a:ext cx="2686" cy="37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s-CO" sz="1900" b="1" dirty="0" err="1" smtClean="0">
                  <a:solidFill>
                    <a:srgbClr val="000000"/>
                  </a:solidFill>
                </a:rPr>
                <a:t>Title</a:t>
              </a:r>
              <a:endParaRPr lang="es-CO" sz="1900" b="1" dirty="0" smtClean="0">
                <a:solidFill>
                  <a:srgbClr val="000000"/>
                </a:solidFill>
              </a:endParaRPr>
            </a:p>
            <a:p>
              <a:r>
                <a:rPr lang="es-CO" sz="1900" dirty="0" err="1" smtClean="0">
                  <a:solidFill>
                    <a:srgbClr val="808080"/>
                  </a:solidFill>
                </a:rPr>
                <a:t>Unit</a:t>
              </a:r>
              <a:r>
                <a:rPr lang="es-CO" sz="1900" dirty="0" smtClean="0">
                  <a:solidFill>
                    <a:srgbClr val="808080"/>
                  </a:solidFill>
                </a:rPr>
                <a:t> of </a:t>
              </a:r>
              <a:r>
                <a:rPr lang="es-CO" sz="1900" dirty="0" err="1" smtClean="0">
                  <a:solidFill>
                    <a:srgbClr val="808080"/>
                  </a:solidFill>
                </a:rPr>
                <a:t>measure</a:t>
              </a:r>
              <a:endParaRPr lang="es-CO" sz="1900" dirty="0">
                <a:solidFill>
                  <a:srgbClr val="808080"/>
                </a:solidFill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976208" y="1990668"/>
            <a:ext cx="5853024" cy="29238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s-CO" noProof="0" dirty="0" smtClean="0"/>
              <a:t>Text</a:t>
            </a:r>
            <a:endParaRPr lang="es-CO" noProof="0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0779653" y="6297567"/>
            <a:ext cx="774759" cy="573390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1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7939" y="6317005"/>
            <a:ext cx="455344" cy="515079"/>
          </a:xfrm>
          <a:prstGeom prst="rect">
            <a:avLst/>
          </a:prstGeom>
        </p:spPr>
      </p:pic>
      <p:sp>
        <p:nvSpPr>
          <p:cNvPr id="25" name="Slide Number"/>
          <p:cNvSpPr txBox="1">
            <a:spLocks/>
          </p:cNvSpPr>
          <p:nvPr/>
        </p:nvSpPr>
        <p:spPr>
          <a:xfrm>
            <a:off x="11055952" y="6566446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s-CO" smtClean="0">
                <a:solidFill>
                  <a:srgbClr val="FFFFFF"/>
                </a:solidFill>
              </a:rPr>
              <a:pPr algn="ctr"/>
              <a:t>‹Nº›</a:t>
            </a:fld>
            <a:endParaRPr lang="es-CO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607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1087492" rtl="0" eaLnBrk="1" fontAlgn="base" hangingPunct="1">
        <a:spcBef>
          <a:spcPct val="0"/>
        </a:spcBef>
        <a:spcAft>
          <a:spcPct val="0"/>
        </a:spcAft>
        <a:tabLst>
          <a:tab pos="433841" algn="l"/>
        </a:tabLst>
        <a:defRPr sz="23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1087492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2pPr>
      <a:lvl3pPr algn="l" defTabSz="1087492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3pPr>
      <a:lvl4pPr algn="l" defTabSz="1087492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4pPr>
      <a:lvl5pPr algn="l" defTabSz="1087492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5pPr>
      <a:lvl6pPr marL="555315" algn="l" defTabSz="1087492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6pPr>
      <a:lvl7pPr marL="1110630" algn="l" defTabSz="1087492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7pPr>
      <a:lvl8pPr marL="1665945" algn="l" defTabSz="1087492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8pPr>
      <a:lvl9pPr marL="2221260" algn="l" defTabSz="1087492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108749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900">
          <a:solidFill>
            <a:schemeClr val="tx1"/>
          </a:solidFill>
          <a:latin typeface="+mn-lt"/>
          <a:ea typeface="+mn-ea"/>
          <a:cs typeface="+mn-cs"/>
        </a:defRPr>
      </a:lvl1pPr>
      <a:lvl2pPr marL="235238" indent="-233310" algn="l" defTabSz="10874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900">
          <a:solidFill>
            <a:schemeClr val="tx1"/>
          </a:solidFill>
          <a:latin typeface="+mn-lt"/>
        </a:defRPr>
      </a:lvl2pPr>
      <a:lvl3pPr marL="555315" indent="-318150" algn="l" defTabSz="10874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900">
          <a:solidFill>
            <a:schemeClr val="tx1"/>
          </a:solidFill>
          <a:latin typeface="+mn-lt"/>
        </a:defRPr>
      </a:lvl3pPr>
      <a:lvl4pPr marL="746205" indent="-188961" algn="l" defTabSz="10874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900">
          <a:solidFill>
            <a:schemeClr val="tx1"/>
          </a:solidFill>
          <a:latin typeface="+mn-lt"/>
        </a:defRPr>
      </a:lvl4pPr>
      <a:lvl5pPr marL="910717" indent="-158111" algn="l" defTabSz="10874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>
          <a:solidFill>
            <a:schemeClr val="tx1"/>
          </a:solidFill>
          <a:latin typeface="+mn-lt"/>
        </a:defRPr>
      </a:lvl5pPr>
      <a:lvl6pPr marL="910717" indent="-158111" algn="l" defTabSz="10874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>
          <a:solidFill>
            <a:schemeClr val="tx1"/>
          </a:solidFill>
          <a:latin typeface="+mn-lt"/>
        </a:defRPr>
      </a:lvl6pPr>
      <a:lvl7pPr marL="910717" indent="-158111" algn="l" defTabSz="10874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>
          <a:solidFill>
            <a:schemeClr val="tx1"/>
          </a:solidFill>
          <a:latin typeface="+mn-lt"/>
        </a:defRPr>
      </a:lvl7pPr>
      <a:lvl8pPr marL="910717" indent="-158111" algn="l" defTabSz="10874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>
          <a:solidFill>
            <a:schemeClr val="tx1"/>
          </a:solidFill>
          <a:latin typeface="+mn-lt"/>
        </a:defRPr>
      </a:lvl8pPr>
      <a:lvl9pPr marL="910717" indent="-158111" algn="l" defTabSz="10874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110630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55315" algn="l" defTabSz="1110630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110630" algn="l" defTabSz="1110630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65945" algn="l" defTabSz="1110630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221260" algn="l" defTabSz="1110630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76576" algn="l" defTabSz="1110630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331891" algn="l" defTabSz="1110630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87206" algn="l" defTabSz="1110630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442521" algn="l" defTabSz="1110630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blipFill dpi="0" rotWithShape="1">
          <a:blip r:embed="rId23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1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74" name="Diapositiva de think-cell" r:id="rId24" imgW="270" imgH="270" progId="TCLayout.ActiveDocument.1">
                  <p:embed/>
                </p:oleObj>
              </mc:Choice>
              <mc:Fallback>
                <p:oleObj name="Diapositiva de think-cell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1"/>
            <a:ext cx="215979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2176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832100" y="705549"/>
            <a:ext cx="905537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x-none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317687" y="77303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317687" y="1190350"/>
            <a:ext cx="1056978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 userDrawn="1"/>
        </p:nvGrpSpPr>
        <p:grpSpPr bwMode="gray">
          <a:xfrm>
            <a:off x="1317687" y="6437248"/>
            <a:ext cx="10569784" cy="328807"/>
            <a:chOff x="75" y="3938"/>
            <a:chExt cx="5385" cy="203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38"/>
              <a:ext cx="5385" cy="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4138" indent="-84138">
                <a:defRPr lang="x-none"/>
              </a:pPr>
              <a:r>
                <a:rPr sz="800" dirty="0">
                  <a:solidFill>
                    <a:srgbClr val="80808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65"/>
              <a:ext cx="5152" cy="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519113" indent="-519113" defTabSz="1218026"/>
              <a:r>
                <a:rPr lang="x-none" sz="800" dirty="0">
                  <a:solidFill>
                    <a:srgbClr val="808080"/>
                  </a:solidFill>
                  <a:latin typeface="Arial"/>
                </a:rPr>
                <a:t>SOURCE : Source</a:t>
              </a:r>
              <a:endParaRPr lang="en-US" sz="800" dirty="0">
                <a:solidFill>
                  <a:srgbClr val="808080"/>
                </a:solidFill>
                <a:latin typeface="Arial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371626" y="2615195"/>
            <a:ext cx="5801188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2371623" y="1915581"/>
            <a:ext cx="5801188" cy="510221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x-none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61" name="Slide Number"/>
          <p:cNvSpPr txBox="1">
            <a:spLocks/>
          </p:cNvSpPr>
          <p:nvPr userDrawn="1"/>
        </p:nvSpPr>
        <p:spPr bwMode="gray">
          <a:xfrm>
            <a:off x="11762437" y="664171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sz="800" smtClean="0">
                <a:solidFill>
                  <a:srgbClr val="808080"/>
                </a:solidFill>
              </a:rPr>
              <a:pPr algn="r"/>
              <a:t>‹Nº›</a:t>
            </a:fld>
            <a:endParaRPr sz="800" dirty="0">
              <a:solidFill>
                <a:srgbClr val="808080"/>
              </a:solidFill>
            </a:endParaRPr>
          </a:p>
        </p:txBody>
      </p:sp>
      <p:grpSp>
        <p:nvGrpSpPr>
          <p:cNvPr id="59" name="LegendBoxes" hidden="1"/>
          <p:cNvGrpSpPr>
            <a:grpSpLocks/>
          </p:cNvGrpSpPr>
          <p:nvPr userDrawn="1"/>
        </p:nvGrpSpPr>
        <p:grpSpPr bwMode="auto">
          <a:xfrm>
            <a:off x="11123882" y="1297028"/>
            <a:ext cx="763588" cy="996951"/>
            <a:chOff x="4936" y="176"/>
            <a:chExt cx="481" cy="628"/>
          </a:xfrm>
        </p:grpSpPr>
        <p:sp>
          <p:nvSpPr>
            <p:cNvPr id="102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03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4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05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6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07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8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09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110" name="LegendLines" hidden="1"/>
          <p:cNvGrpSpPr>
            <a:grpSpLocks/>
          </p:cNvGrpSpPr>
          <p:nvPr userDrawn="1"/>
        </p:nvGrpSpPr>
        <p:grpSpPr bwMode="auto">
          <a:xfrm>
            <a:off x="10815907" y="1297028"/>
            <a:ext cx="1071563" cy="730251"/>
            <a:chOff x="4750" y="176"/>
            <a:chExt cx="675" cy="460"/>
          </a:xfrm>
        </p:grpSpPr>
        <p:sp>
          <p:nvSpPr>
            <p:cNvPr id="111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2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3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4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15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16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117" name="McKSticker" hidden="1"/>
          <p:cNvGrpSpPr/>
          <p:nvPr userDrawn="1"/>
        </p:nvGrpSpPr>
        <p:grpSpPr bwMode="auto">
          <a:xfrm>
            <a:off x="11162464" y="1297028"/>
            <a:ext cx="725006" cy="150811"/>
            <a:chOff x="8015769" y="285750"/>
            <a:chExt cx="725006" cy="150811"/>
          </a:xfrm>
        </p:grpSpPr>
        <p:sp>
          <p:nvSpPr>
            <p:cNvPr id="118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9A46"/>
                </a:buClr>
              </a:pPr>
              <a:r>
                <a:rPr lang="en-US" sz="800" dirty="0">
                  <a:solidFill>
                    <a:srgbClr val="80808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119" name="AutoShape 31"/>
            <p:cNvCxnSpPr>
              <a:cxnSpLocks noChangeShapeType="1"/>
              <a:stCxn id="118" idx="2"/>
              <a:endCxn id="118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0" name="AutoShape 32"/>
            <p:cNvCxnSpPr>
              <a:cxnSpLocks noChangeShapeType="1"/>
              <a:stCxn id="118" idx="4"/>
              <a:endCxn id="118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21" name="LegendMoons" hidden="1"/>
          <p:cNvGrpSpPr/>
          <p:nvPr userDrawn="1"/>
        </p:nvGrpSpPr>
        <p:grpSpPr bwMode="auto">
          <a:xfrm>
            <a:off x="11057040" y="1297028"/>
            <a:ext cx="830430" cy="1306516"/>
            <a:chOff x="6655594" y="273840"/>
            <a:chExt cx="830430" cy="1306516"/>
          </a:xfrm>
        </p:grpSpPr>
        <p:grpSp>
          <p:nvGrpSpPr>
            <p:cNvPr id="122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40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41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123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38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9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124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36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7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125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34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5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126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27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28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29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30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131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132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3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069735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7" r:id="rId3"/>
  </p:sldLayoutIdLst>
  <p:hf hdr="0" ftr="0" dt="0"/>
  <p:txStyles>
    <p:titleStyle>
      <a:lvl1pPr algn="l" defTabSz="1218026" rtl="0" eaLnBrk="1" fontAlgn="base" hangingPunct="1">
        <a:spcBef>
          <a:spcPct val="0"/>
        </a:spcBef>
        <a:spcAft>
          <a:spcPct val="0"/>
        </a:spcAft>
        <a:tabLst>
          <a:tab pos="367135" algn="l"/>
        </a:tabLst>
        <a:defRPr lang="x-none" sz="2000" b="1" baseline="0">
          <a:solidFill>
            <a:schemeClr val="accent3"/>
          </a:solidFill>
          <a:latin typeface="+mj-lt"/>
          <a:ea typeface="+mj-ea"/>
          <a:cs typeface="+mj-cs"/>
        </a:defRPr>
      </a:lvl1pPr>
      <a:lvl2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2pPr>
      <a:lvl3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3pPr>
      <a:lvl4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4pPr>
      <a:lvl5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5pPr>
      <a:lvl6pPr marL="62197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6pPr>
      <a:lvl7pPr marL="1243941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7pPr>
      <a:lvl8pPr marL="1865909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8pPr>
      <a:lvl9pPr marL="248788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2024" indent="-192024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00" baseline="0">
          <a:solidFill>
            <a:schemeClr val="tx1"/>
          </a:solidFill>
          <a:latin typeface="+mn-lt"/>
        </a:defRPr>
      </a:lvl2pPr>
      <a:lvl3pPr marL="457200" indent="-265176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612648" indent="-155448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00" baseline="0">
          <a:solidFill>
            <a:schemeClr val="tx1"/>
          </a:solidFill>
          <a:latin typeface="+mn-lt"/>
        </a:defRPr>
      </a:lvl4pPr>
      <a:lvl5pPr marL="749808" indent="-128016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6pPr>
      <a:lvl7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7pPr>
      <a:lvl8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8pPr>
      <a:lvl9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1pPr>
      <a:lvl2pPr marL="62197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2pPr>
      <a:lvl3pPr marL="124394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3pPr>
      <a:lvl4pPr marL="1865909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4pPr>
      <a:lvl5pPr marL="248788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5pPr>
      <a:lvl6pPr marL="310985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6pPr>
      <a:lvl7pPr marL="373182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7pPr>
      <a:lvl8pPr marL="435379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8pPr>
      <a:lvl9pPr marL="497576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blipFill dpi="0" rotWithShape="1">
          <a:blip r:embed="rId2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0" y="1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846" name="Diapositiva de think-cell" r:id="rId23" imgW="270" imgH="270" progId="TCLayout.ActiveDocument.1">
                  <p:embed/>
                </p:oleObj>
              </mc:Choice>
              <mc:Fallback>
                <p:oleObj name="Diapositiva de think-cell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6"/>
            </p:custDataLst>
          </p:nvPr>
        </p:nvSpPr>
        <p:spPr bwMode="auto">
          <a:xfrm>
            <a:off x="0" y="1"/>
            <a:ext cx="215979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2176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832100" y="705549"/>
            <a:ext cx="905537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x-none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317687" y="77303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317687" y="1190350"/>
            <a:ext cx="1056978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 userDrawn="1"/>
        </p:nvGrpSpPr>
        <p:grpSpPr bwMode="gray">
          <a:xfrm>
            <a:off x="1317687" y="6437248"/>
            <a:ext cx="10569784" cy="328807"/>
            <a:chOff x="75" y="3938"/>
            <a:chExt cx="5385" cy="203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38"/>
              <a:ext cx="5385" cy="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4138" indent="-84138">
                <a:defRPr lang="x-none"/>
              </a:pPr>
              <a:r>
                <a:rPr sz="800" dirty="0">
                  <a:solidFill>
                    <a:srgbClr val="80808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65"/>
              <a:ext cx="5152" cy="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519113" indent="-519113" defTabSz="1218026"/>
              <a:r>
                <a:rPr lang="x-none" sz="800" dirty="0">
                  <a:solidFill>
                    <a:srgbClr val="808080"/>
                  </a:solidFill>
                  <a:latin typeface="Arial"/>
                </a:rPr>
                <a:t>SOURCE : Source</a:t>
              </a:r>
              <a:endParaRPr lang="en-US" sz="800" dirty="0">
                <a:solidFill>
                  <a:srgbClr val="808080"/>
                </a:solidFill>
                <a:latin typeface="Arial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371626" y="2615195"/>
            <a:ext cx="5801188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2371623" y="1915581"/>
            <a:ext cx="5801188" cy="510221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x-none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61" name="Slide Number"/>
          <p:cNvSpPr txBox="1">
            <a:spLocks/>
          </p:cNvSpPr>
          <p:nvPr userDrawn="1"/>
        </p:nvSpPr>
        <p:spPr bwMode="gray">
          <a:xfrm>
            <a:off x="11762437" y="664171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sz="800" smtClean="0">
                <a:solidFill>
                  <a:srgbClr val="808080"/>
                </a:solidFill>
              </a:rPr>
              <a:pPr algn="r"/>
              <a:t>‹Nº›</a:t>
            </a:fld>
            <a:endParaRPr sz="800" dirty="0">
              <a:solidFill>
                <a:srgbClr val="808080"/>
              </a:solidFill>
            </a:endParaRPr>
          </a:p>
        </p:txBody>
      </p:sp>
      <p:grpSp>
        <p:nvGrpSpPr>
          <p:cNvPr id="59" name="LegendBoxes" hidden="1"/>
          <p:cNvGrpSpPr>
            <a:grpSpLocks/>
          </p:cNvGrpSpPr>
          <p:nvPr userDrawn="1"/>
        </p:nvGrpSpPr>
        <p:grpSpPr bwMode="auto">
          <a:xfrm>
            <a:off x="11123882" y="1297028"/>
            <a:ext cx="763588" cy="996951"/>
            <a:chOff x="4936" y="176"/>
            <a:chExt cx="481" cy="628"/>
          </a:xfrm>
        </p:grpSpPr>
        <p:sp>
          <p:nvSpPr>
            <p:cNvPr id="102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03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4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05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6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07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8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09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110" name="LegendLines" hidden="1"/>
          <p:cNvGrpSpPr>
            <a:grpSpLocks/>
          </p:cNvGrpSpPr>
          <p:nvPr userDrawn="1"/>
        </p:nvGrpSpPr>
        <p:grpSpPr bwMode="auto">
          <a:xfrm>
            <a:off x="10815907" y="1297028"/>
            <a:ext cx="1071563" cy="730251"/>
            <a:chOff x="4750" y="176"/>
            <a:chExt cx="675" cy="460"/>
          </a:xfrm>
        </p:grpSpPr>
        <p:sp>
          <p:nvSpPr>
            <p:cNvPr id="111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2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3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4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15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16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117" name="McKSticker" hidden="1"/>
          <p:cNvGrpSpPr/>
          <p:nvPr userDrawn="1"/>
        </p:nvGrpSpPr>
        <p:grpSpPr bwMode="auto">
          <a:xfrm>
            <a:off x="11162464" y="1297028"/>
            <a:ext cx="725006" cy="150811"/>
            <a:chOff x="8015769" y="285750"/>
            <a:chExt cx="725006" cy="150811"/>
          </a:xfrm>
        </p:grpSpPr>
        <p:sp>
          <p:nvSpPr>
            <p:cNvPr id="118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9A46"/>
                </a:buClr>
              </a:pPr>
              <a:r>
                <a:rPr lang="en-US" sz="800" dirty="0">
                  <a:solidFill>
                    <a:srgbClr val="80808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119" name="AutoShape 31"/>
            <p:cNvCxnSpPr>
              <a:cxnSpLocks noChangeShapeType="1"/>
              <a:stCxn id="118" idx="2"/>
              <a:endCxn id="118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0" name="AutoShape 32"/>
            <p:cNvCxnSpPr>
              <a:cxnSpLocks noChangeShapeType="1"/>
              <a:stCxn id="118" idx="4"/>
              <a:endCxn id="118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21" name="LegendMoons" hidden="1"/>
          <p:cNvGrpSpPr/>
          <p:nvPr userDrawn="1"/>
        </p:nvGrpSpPr>
        <p:grpSpPr bwMode="auto">
          <a:xfrm>
            <a:off x="11057040" y="1297028"/>
            <a:ext cx="830430" cy="1306516"/>
            <a:chOff x="6655594" y="273840"/>
            <a:chExt cx="830430" cy="1306516"/>
          </a:xfrm>
        </p:grpSpPr>
        <p:grpSp>
          <p:nvGrpSpPr>
            <p:cNvPr id="122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40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41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123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38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9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124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36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7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125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34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5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126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27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28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29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30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131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132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3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085638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</p:sldLayoutIdLst>
  <p:hf hdr="0" ftr="0" dt="0"/>
  <p:txStyles>
    <p:titleStyle>
      <a:lvl1pPr algn="l" defTabSz="1218026" rtl="0" eaLnBrk="1" fontAlgn="base" hangingPunct="1">
        <a:spcBef>
          <a:spcPct val="0"/>
        </a:spcBef>
        <a:spcAft>
          <a:spcPct val="0"/>
        </a:spcAft>
        <a:tabLst>
          <a:tab pos="367135" algn="l"/>
        </a:tabLst>
        <a:defRPr lang="x-none" sz="2000" b="1" baseline="0">
          <a:solidFill>
            <a:schemeClr val="accent3"/>
          </a:solidFill>
          <a:latin typeface="+mj-lt"/>
          <a:ea typeface="+mj-ea"/>
          <a:cs typeface="+mj-cs"/>
        </a:defRPr>
      </a:lvl1pPr>
      <a:lvl2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2pPr>
      <a:lvl3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3pPr>
      <a:lvl4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4pPr>
      <a:lvl5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5pPr>
      <a:lvl6pPr marL="62197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6pPr>
      <a:lvl7pPr marL="1243941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7pPr>
      <a:lvl8pPr marL="1865909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8pPr>
      <a:lvl9pPr marL="248788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2024" indent="-192024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00" baseline="0">
          <a:solidFill>
            <a:schemeClr val="tx1"/>
          </a:solidFill>
          <a:latin typeface="+mn-lt"/>
        </a:defRPr>
      </a:lvl2pPr>
      <a:lvl3pPr marL="457200" indent="-265176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612648" indent="-155448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00" baseline="0">
          <a:solidFill>
            <a:schemeClr val="tx1"/>
          </a:solidFill>
          <a:latin typeface="+mn-lt"/>
        </a:defRPr>
      </a:lvl4pPr>
      <a:lvl5pPr marL="749808" indent="-128016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6pPr>
      <a:lvl7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7pPr>
      <a:lvl8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8pPr>
      <a:lvl9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1pPr>
      <a:lvl2pPr marL="62197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2pPr>
      <a:lvl3pPr marL="124394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3pPr>
      <a:lvl4pPr marL="1865909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4pPr>
      <a:lvl5pPr marL="248788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5pPr>
      <a:lvl6pPr marL="310985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6pPr>
      <a:lvl7pPr marL="373182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7pPr>
      <a:lvl8pPr marL="435379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8pPr>
      <a:lvl9pPr marL="497576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blipFill dpi="0" rotWithShape="1">
          <a:blip r:embed="rId2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0" y="1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918" name="Diapositiva de think-cell" r:id="rId23" imgW="270" imgH="270" progId="TCLayout.ActiveDocument.1">
                  <p:embed/>
                </p:oleObj>
              </mc:Choice>
              <mc:Fallback>
                <p:oleObj name="Diapositiva de think-cell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6"/>
            </p:custDataLst>
          </p:nvPr>
        </p:nvSpPr>
        <p:spPr bwMode="auto">
          <a:xfrm>
            <a:off x="0" y="1"/>
            <a:ext cx="215979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2176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832100" y="705549"/>
            <a:ext cx="905537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x-none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317687" y="77303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317687" y="1190350"/>
            <a:ext cx="1056978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 userDrawn="1"/>
        </p:nvGrpSpPr>
        <p:grpSpPr bwMode="gray">
          <a:xfrm>
            <a:off x="1317687" y="6437248"/>
            <a:ext cx="10569784" cy="328807"/>
            <a:chOff x="75" y="3938"/>
            <a:chExt cx="5385" cy="203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38"/>
              <a:ext cx="5385" cy="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4138" indent="-84138">
                <a:defRPr lang="x-none"/>
              </a:pPr>
              <a:r>
                <a:rPr sz="800" dirty="0">
                  <a:solidFill>
                    <a:srgbClr val="80808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65"/>
              <a:ext cx="5152" cy="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519113" indent="-519113" defTabSz="1218026"/>
              <a:r>
                <a:rPr lang="x-none" sz="800" dirty="0">
                  <a:solidFill>
                    <a:srgbClr val="808080"/>
                  </a:solidFill>
                  <a:latin typeface="Arial"/>
                </a:rPr>
                <a:t>SOURCE : Source</a:t>
              </a:r>
              <a:endParaRPr lang="en-US" sz="800" dirty="0">
                <a:solidFill>
                  <a:srgbClr val="808080"/>
                </a:solidFill>
                <a:latin typeface="Arial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371626" y="2615195"/>
            <a:ext cx="5801188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2371623" y="1915581"/>
            <a:ext cx="5801188" cy="510221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x-none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61" name="Slide Number"/>
          <p:cNvSpPr txBox="1">
            <a:spLocks/>
          </p:cNvSpPr>
          <p:nvPr userDrawn="1"/>
        </p:nvSpPr>
        <p:spPr bwMode="gray">
          <a:xfrm>
            <a:off x="11762437" y="664171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sz="800" smtClean="0">
                <a:solidFill>
                  <a:srgbClr val="808080"/>
                </a:solidFill>
              </a:rPr>
              <a:pPr algn="r"/>
              <a:t>‹Nº›</a:t>
            </a:fld>
            <a:endParaRPr sz="800" dirty="0">
              <a:solidFill>
                <a:srgbClr val="808080"/>
              </a:solidFill>
            </a:endParaRPr>
          </a:p>
        </p:txBody>
      </p:sp>
      <p:grpSp>
        <p:nvGrpSpPr>
          <p:cNvPr id="59" name="LegendBoxes" hidden="1"/>
          <p:cNvGrpSpPr>
            <a:grpSpLocks/>
          </p:cNvGrpSpPr>
          <p:nvPr userDrawn="1"/>
        </p:nvGrpSpPr>
        <p:grpSpPr bwMode="auto">
          <a:xfrm>
            <a:off x="11123882" y="1297028"/>
            <a:ext cx="763588" cy="996951"/>
            <a:chOff x="4936" y="176"/>
            <a:chExt cx="481" cy="628"/>
          </a:xfrm>
        </p:grpSpPr>
        <p:sp>
          <p:nvSpPr>
            <p:cNvPr id="102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03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4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05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6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07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8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09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110" name="LegendLines" hidden="1"/>
          <p:cNvGrpSpPr>
            <a:grpSpLocks/>
          </p:cNvGrpSpPr>
          <p:nvPr userDrawn="1"/>
        </p:nvGrpSpPr>
        <p:grpSpPr bwMode="auto">
          <a:xfrm>
            <a:off x="10815907" y="1297028"/>
            <a:ext cx="1071563" cy="730251"/>
            <a:chOff x="4750" y="176"/>
            <a:chExt cx="675" cy="460"/>
          </a:xfrm>
        </p:grpSpPr>
        <p:sp>
          <p:nvSpPr>
            <p:cNvPr id="111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2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3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4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15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16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117" name="McKSticker" hidden="1"/>
          <p:cNvGrpSpPr/>
          <p:nvPr userDrawn="1"/>
        </p:nvGrpSpPr>
        <p:grpSpPr bwMode="auto">
          <a:xfrm>
            <a:off x="11162464" y="1297028"/>
            <a:ext cx="725006" cy="150811"/>
            <a:chOff x="8015769" y="285750"/>
            <a:chExt cx="725006" cy="150811"/>
          </a:xfrm>
        </p:grpSpPr>
        <p:sp>
          <p:nvSpPr>
            <p:cNvPr id="118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9A46"/>
                </a:buClr>
              </a:pPr>
              <a:r>
                <a:rPr lang="en-US" sz="800" dirty="0">
                  <a:solidFill>
                    <a:srgbClr val="80808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119" name="AutoShape 31"/>
            <p:cNvCxnSpPr>
              <a:cxnSpLocks noChangeShapeType="1"/>
              <a:stCxn id="118" idx="2"/>
              <a:endCxn id="118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0" name="AutoShape 32"/>
            <p:cNvCxnSpPr>
              <a:cxnSpLocks noChangeShapeType="1"/>
              <a:stCxn id="118" idx="4"/>
              <a:endCxn id="118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21" name="LegendMoons" hidden="1"/>
          <p:cNvGrpSpPr/>
          <p:nvPr userDrawn="1"/>
        </p:nvGrpSpPr>
        <p:grpSpPr bwMode="auto">
          <a:xfrm>
            <a:off x="11057040" y="1297028"/>
            <a:ext cx="830430" cy="1306516"/>
            <a:chOff x="6655594" y="273840"/>
            <a:chExt cx="830430" cy="1306516"/>
          </a:xfrm>
        </p:grpSpPr>
        <p:grpSp>
          <p:nvGrpSpPr>
            <p:cNvPr id="122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40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41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123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38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9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124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36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7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125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34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5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126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27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28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29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30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131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132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3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474956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</p:sldLayoutIdLst>
  <p:hf hdr="0" ftr="0" dt="0"/>
  <p:txStyles>
    <p:titleStyle>
      <a:lvl1pPr algn="l" defTabSz="1218026" rtl="0" eaLnBrk="1" fontAlgn="base" hangingPunct="1">
        <a:spcBef>
          <a:spcPct val="0"/>
        </a:spcBef>
        <a:spcAft>
          <a:spcPct val="0"/>
        </a:spcAft>
        <a:tabLst>
          <a:tab pos="367135" algn="l"/>
        </a:tabLst>
        <a:defRPr lang="x-none" sz="2000" b="1" baseline="0">
          <a:solidFill>
            <a:schemeClr val="accent3"/>
          </a:solidFill>
          <a:latin typeface="+mj-lt"/>
          <a:ea typeface="+mj-ea"/>
          <a:cs typeface="+mj-cs"/>
        </a:defRPr>
      </a:lvl1pPr>
      <a:lvl2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2pPr>
      <a:lvl3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3pPr>
      <a:lvl4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4pPr>
      <a:lvl5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5pPr>
      <a:lvl6pPr marL="62197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6pPr>
      <a:lvl7pPr marL="1243941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7pPr>
      <a:lvl8pPr marL="1865909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8pPr>
      <a:lvl9pPr marL="248788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2024" indent="-192024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00" baseline="0">
          <a:solidFill>
            <a:schemeClr val="tx1"/>
          </a:solidFill>
          <a:latin typeface="+mn-lt"/>
        </a:defRPr>
      </a:lvl2pPr>
      <a:lvl3pPr marL="457200" indent="-265176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612648" indent="-155448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00" baseline="0">
          <a:solidFill>
            <a:schemeClr val="tx1"/>
          </a:solidFill>
          <a:latin typeface="+mn-lt"/>
        </a:defRPr>
      </a:lvl4pPr>
      <a:lvl5pPr marL="749808" indent="-128016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6pPr>
      <a:lvl7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7pPr>
      <a:lvl8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8pPr>
      <a:lvl9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1pPr>
      <a:lvl2pPr marL="62197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2pPr>
      <a:lvl3pPr marL="124394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3pPr>
      <a:lvl4pPr marL="1865909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4pPr>
      <a:lvl5pPr marL="248788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5pPr>
      <a:lvl6pPr marL="310985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6pPr>
      <a:lvl7pPr marL="373182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7pPr>
      <a:lvl8pPr marL="435379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8pPr>
      <a:lvl9pPr marL="497576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blipFill dpi="0" rotWithShape="1">
          <a:blip r:embed="rId23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2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268" name="Diapositiva de think-cell" r:id="rId24" imgW="270" imgH="270" progId="TCLayout.ActiveDocument.1">
                  <p:embed/>
                </p:oleObj>
              </mc:Choice>
              <mc:Fallback>
                <p:oleObj name="Diapositiva de think-cell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2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2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22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832101" y="720939"/>
            <a:ext cx="9055371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x-none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317688" y="77304"/>
            <a:ext cx="5514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900" cap="all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317689" y="1190358"/>
            <a:ext cx="1056978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/>
        </p:nvGrpSpPr>
        <p:grpSpPr bwMode="gray">
          <a:xfrm>
            <a:off x="1317687" y="6421021"/>
            <a:ext cx="10569784" cy="345004"/>
            <a:chOff x="75" y="3928"/>
            <a:chExt cx="5385" cy="213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28"/>
              <a:ext cx="5385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4092" indent="-84092">
                <a:defRPr lang="x-none"/>
              </a:pPr>
              <a:r>
                <a:rPr sz="900" dirty="0">
                  <a:solidFill>
                    <a:srgbClr val="80808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55"/>
              <a:ext cx="5152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518821" indent="-518821" defTabSz="1217336"/>
              <a:r>
                <a:rPr lang="x-none" sz="900" dirty="0">
                  <a:solidFill>
                    <a:srgbClr val="808080"/>
                  </a:solidFill>
                  <a:latin typeface="Arial"/>
                </a:rPr>
                <a:t>SOURCE : Source</a:t>
              </a:r>
              <a:endParaRPr lang="en-US" sz="900" dirty="0">
                <a:solidFill>
                  <a:srgbClr val="808080"/>
                </a:solidFill>
                <a:latin typeface="Arial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371626" y="2615195"/>
            <a:ext cx="5801187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2371623" y="1915577"/>
            <a:ext cx="5801187" cy="510221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x-none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61" name="Slide Number"/>
          <p:cNvSpPr txBox="1">
            <a:spLocks/>
          </p:cNvSpPr>
          <p:nvPr/>
        </p:nvSpPr>
        <p:spPr bwMode="gray">
          <a:xfrm>
            <a:off x="11685493" y="6634028"/>
            <a:ext cx="201978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sz="900" smtClean="0">
                <a:solidFill>
                  <a:srgbClr val="808080"/>
                </a:solidFill>
              </a:rPr>
              <a:pPr algn="r"/>
              <a:t>‹Nº›</a:t>
            </a:fld>
            <a:endParaRPr sz="900" dirty="0">
              <a:solidFill>
                <a:srgbClr val="808080"/>
              </a:solidFill>
            </a:endParaRPr>
          </a:p>
        </p:txBody>
      </p:sp>
      <p:grpSp>
        <p:nvGrpSpPr>
          <p:cNvPr id="59" name="LegendBoxes" hidden="1"/>
          <p:cNvGrpSpPr>
            <a:grpSpLocks/>
          </p:cNvGrpSpPr>
          <p:nvPr/>
        </p:nvGrpSpPr>
        <p:grpSpPr bwMode="auto">
          <a:xfrm>
            <a:off x="11123890" y="1297032"/>
            <a:ext cx="763588" cy="996951"/>
            <a:chOff x="4936" y="176"/>
            <a:chExt cx="481" cy="628"/>
          </a:xfrm>
        </p:grpSpPr>
        <p:sp>
          <p:nvSpPr>
            <p:cNvPr id="102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844">
                <a:buClr>
                  <a:srgbClr val="009A46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03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4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844">
                <a:buClr>
                  <a:srgbClr val="009A46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05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6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844">
                <a:buClr>
                  <a:srgbClr val="009A46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07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8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844">
                <a:buClr>
                  <a:srgbClr val="009A46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09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110" name="LegendLines" hidden="1"/>
          <p:cNvGrpSpPr>
            <a:grpSpLocks/>
          </p:cNvGrpSpPr>
          <p:nvPr/>
        </p:nvGrpSpPr>
        <p:grpSpPr bwMode="auto">
          <a:xfrm>
            <a:off x="10815920" y="1297030"/>
            <a:ext cx="1071564" cy="730255"/>
            <a:chOff x="4750" y="176"/>
            <a:chExt cx="675" cy="460"/>
          </a:xfrm>
        </p:grpSpPr>
        <p:sp>
          <p:nvSpPr>
            <p:cNvPr id="111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2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3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4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844">
                <a:buClr>
                  <a:srgbClr val="009A46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15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844">
                <a:buClr>
                  <a:srgbClr val="009A46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16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844">
                <a:buClr>
                  <a:srgbClr val="009A46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117" name="McKSticker" hidden="1"/>
          <p:cNvGrpSpPr/>
          <p:nvPr/>
        </p:nvGrpSpPr>
        <p:grpSpPr bwMode="auto">
          <a:xfrm>
            <a:off x="11077525" y="1297029"/>
            <a:ext cx="809965" cy="166199"/>
            <a:chOff x="7930810" y="285750"/>
            <a:chExt cx="809965" cy="166198"/>
          </a:xfrm>
        </p:grpSpPr>
        <p:sp>
          <p:nvSpPr>
            <p:cNvPr id="118" name="StickerRectangle"/>
            <p:cNvSpPr>
              <a:spLocks noChangeArrowheads="1"/>
            </p:cNvSpPr>
            <p:nvPr/>
          </p:nvSpPr>
          <p:spPr bwMode="auto">
            <a:xfrm>
              <a:off x="7930810" y="285750"/>
              <a:ext cx="809965" cy="16619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4844">
                <a:buClr>
                  <a:srgbClr val="009A46"/>
                </a:buClr>
              </a:pPr>
              <a:r>
                <a:rPr lang="en-US" sz="900" dirty="0">
                  <a:solidFill>
                    <a:srgbClr val="80808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119" name="AutoShape 31"/>
            <p:cNvCxnSpPr>
              <a:cxnSpLocks noChangeShapeType="1"/>
              <a:stCxn id="118" idx="2"/>
              <a:endCxn id="118" idx="4"/>
            </p:cNvCxnSpPr>
            <p:nvPr/>
          </p:nvCxnSpPr>
          <p:spPr bwMode="auto">
            <a:xfrm>
              <a:off x="7930810" y="285750"/>
              <a:ext cx="0" cy="16619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0" name="AutoShape 32"/>
            <p:cNvCxnSpPr>
              <a:cxnSpLocks noChangeShapeType="1"/>
              <a:stCxn id="118" idx="4"/>
              <a:endCxn id="118" idx="6"/>
            </p:cNvCxnSpPr>
            <p:nvPr/>
          </p:nvCxnSpPr>
          <p:spPr bwMode="auto">
            <a:xfrm>
              <a:off x="7930810" y="451948"/>
              <a:ext cx="80996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21" name="LegendMoons" hidden="1"/>
          <p:cNvGrpSpPr/>
          <p:nvPr/>
        </p:nvGrpSpPr>
        <p:grpSpPr bwMode="auto">
          <a:xfrm>
            <a:off x="11057025" y="1297028"/>
            <a:ext cx="830430" cy="1306516"/>
            <a:chOff x="6655594" y="273840"/>
            <a:chExt cx="830434" cy="1306516"/>
          </a:xfrm>
        </p:grpSpPr>
        <p:grpSp>
          <p:nvGrpSpPr>
            <p:cNvPr id="122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40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41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123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38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9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124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36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7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125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34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5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126" name="Legend1"/>
            <p:cNvSpPr>
              <a:spLocks noChangeArrowheads="1"/>
            </p:cNvSpPr>
            <p:nvPr/>
          </p:nvSpPr>
          <p:spPr bwMode="auto">
            <a:xfrm>
              <a:off x="6976270" y="286540"/>
              <a:ext cx="50975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844">
                <a:buClr>
                  <a:srgbClr val="009A4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27" name="Legend2"/>
            <p:cNvSpPr>
              <a:spLocks noChangeArrowheads="1"/>
            </p:cNvSpPr>
            <p:nvPr/>
          </p:nvSpPr>
          <p:spPr bwMode="auto">
            <a:xfrm>
              <a:off x="6976271" y="561178"/>
              <a:ext cx="50975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844">
                <a:buClr>
                  <a:srgbClr val="009A4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28" name="Legend3"/>
            <p:cNvSpPr>
              <a:spLocks noChangeArrowheads="1"/>
            </p:cNvSpPr>
            <p:nvPr/>
          </p:nvSpPr>
          <p:spPr bwMode="auto">
            <a:xfrm>
              <a:off x="6976268" y="835817"/>
              <a:ext cx="50975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844">
                <a:buClr>
                  <a:srgbClr val="009A4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29" name="Legend4"/>
            <p:cNvSpPr>
              <a:spLocks noChangeArrowheads="1"/>
            </p:cNvSpPr>
            <p:nvPr/>
          </p:nvSpPr>
          <p:spPr bwMode="auto">
            <a:xfrm>
              <a:off x="6976268" y="1107280"/>
              <a:ext cx="50975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844">
                <a:buClr>
                  <a:srgbClr val="009A46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30" name="Legend5"/>
            <p:cNvSpPr>
              <a:spLocks noChangeArrowheads="1"/>
            </p:cNvSpPr>
            <p:nvPr/>
          </p:nvSpPr>
          <p:spPr bwMode="auto">
            <a:xfrm>
              <a:off x="6976268" y="1383505"/>
              <a:ext cx="50975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844">
                <a:buClr>
                  <a:srgbClr val="009A4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131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132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3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407716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</p:sldLayoutIdLst>
  <p:hf hdr="0" ftr="0" dt="0"/>
  <p:txStyles>
    <p:titleStyle>
      <a:lvl1pPr algn="l" defTabSz="1217336" rtl="0" eaLnBrk="1" fontAlgn="base" hangingPunct="1">
        <a:spcBef>
          <a:spcPct val="0"/>
        </a:spcBef>
        <a:spcAft>
          <a:spcPct val="0"/>
        </a:spcAft>
        <a:tabLst>
          <a:tab pos="366931" algn="l"/>
        </a:tabLst>
        <a:defRPr lang="x-none" sz="1900" b="1" baseline="0">
          <a:solidFill>
            <a:schemeClr val="accent3"/>
          </a:solidFill>
          <a:latin typeface="+mj-lt"/>
          <a:ea typeface="+mj-ea"/>
          <a:cs typeface="+mj-cs"/>
        </a:defRPr>
      </a:lvl1pPr>
      <a:lvl2pPr algn="l" defTabSz="1217336" rtl="0" eaLnBrk="1" fontAlgn="base" hangingPunct="1">
        <a:spcBef>
          <a:spcPct val="0"/>
        </a:spcBef>
        <a:spcAft>
          <a:spcPct val="0"/>
        </a:spcAft>
        <a:defRPr lang="x-none" sz="2600" b="1">
          <a:solidFill>
            <a:schemeClr val="tx2"/>
          </a:solidFill>
          <a:latin typeface="Arial" charset="0"/>
        </a:defRPr>
      </a:lvl2pPr>
      <a:lvl3pPr algn="l" defTabSz="1217336" rtl="0" eaLnBrk="1" fontAlgn="base" hangingPunct="1">
        <a:spcBef>
          <a:spcPct val="0"/>
        </a:spcBef>
        <a:spcAft>
          <a:spcPct val="0"/>
        </a:spcAft>
        <a:defRPr lang="x-none" sz="2600" b="1">
          <a:solidFill>
            <a:schemeClr val="tx2"/>
          </a:solidFill>
          <a:latin typeface="Arial" charset="0"/>
        </a:defRPr>
      </a:lvl3pPr>
      <a:lvl4pPr algn="l" defTabSz="1217336" rtl="0" eaLnBrk="1" fontAlgn="base" hangingPunct="1">
        <a:spcBef>
          <a:spcPct val="0"/>
        </a:spcBef>
        <a:spcAft>
          <a:spcPct val="0"/>
        </a:spcAft>
        <a:defRPr lang="x-none" sz="2600" b="1">
          <a:solidFill>
            <a:schemeClr val="tx2"/>
          </a:solidFill>
          <a:latin typeface="Arial" charset="0"/>
        </a:defRPr>
      </a:lvl4pPr>
      <a:lvl5pPr algn="l" defTabSz="1217336" rtl="0" eaLnBrk="1" fontAlgn="base" hangingPunct="1">
        <a:spcBef>
          <a:spcPct val="0"/>
        </a:spcBef>
        <a:spcAft>
          <a:spcPct val="0"/>
        </a:spcAft>
        <a:defRPr lang="x-none" sz="2600" b="1">
          <a:solidFill>
            <a:schemeClr val="tx2"/>
          </a:solidFill>
          <a:latin typeface="Arial" charset="0"/>
        </a:defRPr>
      </a:lvl5pPr>
      <a:lvl6pPr marL="621618" algn="l" defTabSz="1217336" rtl="0" eaLnBrk="1" fontAlgn="base" hangingPunct="1">
        <a:spcBef>
          <a:spcPct val="0"/>
        </a:spcBef>
        <a:spcAft>
          <a:spcPct val="0"/>
        </a:spcAft>
        <a:defRPr lang="x-none" sz="2600" b="1">
          <a:solidFill>
            <a:schemeClr val="tx2"/>
          </a:solidFill>
          <a:latin typeface="Arial" charset="0"/>
        </a:defRPr>
      </a:lvl6pPr>
      <a:lvl7pPr marL="1243238" algn="l" defTabSz="1217336" rtl="0" eaLnBrk="1" fontAlgn="base" hangingPunct="1">
        <a:spcBef>
          <a:spcPct val="0"/>
        </a:spcBef>
        <a:spcAft>
          <a:spcPct val="0"/>
        </a:spcAft>
        <a:defRPr lang="x-none" sz="2600" b="1">
          <a:solidFill>
            <a:schemeClr val="tx2"/>
          </a:solidFill>
          <a:latin typeface="Arial" charset="0"/>
        </a:defRPr>
      </a:lvl7pPr>
      <a:lvl8pPr marL="1864854" algn="l" defTabSz="1217336" rtl="0" eaLnBrk="1" fontAlgn="base" hangingPunct="1">
        <a:spcBef>
          <a:spcPct val="0"/>
        </a:spcBef>
        <a:spcAft>
          <a:spcPct val="0"/>
        </a:spcAft>
        <a:defRPr lang="x-none" sz="2600" b="1">
          <a:solidFill>
            <a:schemeClr val="tx2"/>
          </a:solidFill>
          <a:latin typeface="Arial" charset="0"/>
        </a:defRPr>
      </a:lvl8pPr>
      <a:lvl9pPr marL="2486476" algn="l" defTabSz="1217336" rtl="0" eaLnBrk="1" fontAlgn="base" hangingPunct="1">
        <a:spcBef>
          <a:spcPct val="0"/>
        </a:spcBef>
        <a:spcAft>
          <a:spcPct val="0"/>
        </a:spcAft>
        <a:defRPr lang="x-none" sz="26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1733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1915" indent="-191915" algn="l" defTabSz="121733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00" baseline="0">
          <a:solidFill>
            <a:schemeClr val="tx1"/>
          </a:solidFill>
          <a:latin typeface="+mn-lt"/>
        </a:defRPr>
      </a:lvl2pPr>
      <a:lvl3pPr marL="456942" indent="-265026" algn="l" defTabSz="121733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612302" indent="-155361" algn="l" defTabSz="121733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00" baseline="0">
          <a:solidFill>
            <a:schemeClr val="tx1"/>
          </a:solidFill>
          <a:latin typeface="+mn-lt"/>
        </a:defRPr>
      </a:lvl4pPr>
      <a:lvl5pPr marL="749384" indent="-127944" algn="l" defTabSz="121733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1019454" indent="-176990" algn="l" defTabSz="121733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200" baseline="0">
          <a:solidFill>
            <a:schemeClr val="tx1"/>
          </a:solidFill>
          <a:latin typeface="+mn-lt"/>
        </a:defRPr>
      </a:lvl6pPr>
      <a:lvl7pPr marL="1019454" indent="-176990" algn="l" defTabSz="121733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200" baseline="0">
          <a:solidFill>
            <a:schemeClr val="tx1"/>
          </a:solidFill>
          <a:latin typeface="+mn-lt"/>
        </a:defRPr>
      </a:lvl7pPr>
      <a:lvl8pPr marL="1019454" indent="-176990" algn="l" defTabSz="121733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200" baseline="0">
          <a:solidFill>
            <a:schemeClr val="tx1"/>
          </a:solidFill>
          <a:latin typeface="+mn-lt"/>
        </a:defRPr>
      </a:lvl8pPr>
      <a:lvl9pPr marL="1019454" indent="-176990" algn="l" defTabSz="121733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2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43238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21618" algn="l" defTabSz="1243238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43238" algn="l" defTabSz="1243238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64854" algn="l" defTabSz="1243238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86476" algn="l" defTabSz="1243238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108093" algn="l" defTabSz="1243238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729712" algn="l" defTabSz="1243238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351330" algn="l" defTabSz="1243238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972949" algn="l" defTabSz="1243238" rtl="0" eaLnBrk="1" latinLnBrk="0" hangingPunct="1">
        <a:defRPr lang="x-none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blipFill dpi="0" rotWithShape="1">
          <a:blip r:embed="rId2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0" y="1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386" name="Diapositiva de think-cell" r:id="rId23" imgW="270" imgH="270" progId="TCLayout.ActiveDocument.1">
                  <p:embed/>
                </p:oleObj>
              </mc:Choice>
              <mc:Fallback>
                <p:oleObj name="Diapositiva de think-cell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6"/>
            </p:custDataLst>
          </p:nvPr>
        </p:nvSpPr>
        <p:spPr bwMode="auto">
          <a:xfrm>
            <a:off x="0" y="1"/>
            <a:ext cx="215979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2176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832100" y="705549"/>
            <a:ext cx="905537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x-none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317687" y="77303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317687" y="1190350"/>
            <a:ext cx="1056978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 userDrawn="1"/>
        </p:nvGrpSpPr>
        <p:grpSpPr bwMode="gray">
          <a:xfrm>
            <a:off x="1317687" y="6437248"/>
            <a:ext cx="10569784" cy="328807"/>
            <a:chOff x="75" y="3938"/>
            <a:chExt cx="5385" cy="203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38"/>
              <a:ext cx="5385" cy="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4138" indent="-84138">
                <a:defRPr lang="x-none"/>
              </a:pPr>
              <a:r>
                <a:rPr sz="800" dirty="0">
                  <a:solidFill>
                    <a:srgbClr val="80808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65"/>
              <a:ext cx="5152" cy="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519113" indent="-519113" defTabSz="1218026"/>
              <a:r>
                <a:rPr lang="x-none" sz="800" dirty="0">
                  <a:solidFill>
                    <a:srgbClr val="808080"/>
                  </a:solidFill>
                  <a:latin typeface="Arial"/>
                </a:rPr>
                <a:t>SOURCE : Source</a:t>
              </a:r>
              <a:endParaRPr lang="en-US" sz="800" dirty="0">
                <a:solidFill>
                  <a:srgbClr val="808080"/>
                </a:solidFill>
                <a:latin typeface="Arial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371626" y="2615195"/>
            <a:ext cx="5801188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s-ES" smtClean="0"/>
              <a:t>Haga clic para modificar el estilo de texto del patrón</a:t>
            </a:r>
          </a:p>
          <a:p>
            <a:pPr lvl="1" latinLnBrk="0"/>
            <a:r>
              <a:rPr lang="es-ES" smtClean="0"/>
              <a:t>Segundo nivel</a:t>
            </a:r>
          </a:p>
          <a:p>
            <a:pPr lvl="2" latinLnBrk="0"/>
            <a:r>
              <a:rPr lang="es-ES" smtClean="0"/>
              <a:t>Tercer nivel</a:t>
            </a:r>
          </a:p>
          <a:p>
            <a:pPr lvl="3" latinLnBrk="0"/>
            <a:r>
              <a:rPr lang="es-ES" smtClean="0"/>
              <a:t>Cuarto nivel</a:t>
            </a:r>
          </a:p>
          <a:p>
            <a:pPr lvl="4" latinLnBrk="0"/>
            <a:r>
              <a:rPr lang="es-ES" smtClean="0"/>
              <a:t>Quinto ni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2371623" y="1915581"/>
            <a:ext cx="5801188" cy="510221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x-none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61" name="Slide Number"/>
          <p:cNvSpPr txBox="1">
            <a:spLocks/>
          </p:cNvSpPr>
          <p:nvPr userDrawn="1"/>
        </p:nvSpPr>
        <p:spPr bwMode="gray">
          <a:xfrm>
            <a:off x="11762437" y="664171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sz="800" smtClean="0">
                <a:solidFill>
                  <a:srgbClr val="808080"/>
                </a:solidFill>
              </a:rPr>
              <a:pPr algn="r"/>
              <a:t>‹Nº›</a:t>
            </a:fld>
            <a:endParaRPr sz="800" dirty="0">
              <a:solidFill>
                <a:srgbClr val="808080"/>
              </a:solidFill>
            </a:endParaRPr>
          </a:p>
        </p:txBody>
      </p:sp>
      <p:grpSp>
        <p:nvGrpSpPr>
          <p:cNvPr id="59" name="LegendBoxes" hidden="1"/>
          <p:cNvGrpSpPr>
            <a:grpSpLocks/>
          </p:cNvGrpSpPr>
          <p:nvPr userDrawn="1"/>
        </p:nvGrpSpPr>
        <p:grpSpPr bwMode="auto">
          <a:xfrm>
            <a:off x="11123882" y="1297028"/>
            <a:ext cx="763588" cy="996951"/>
            <a:chOff x="4936" y="176"/>
            <a:chExt cx="481" cy="628"/>
          </a:xfrm>
        </p:grpSpPr>
        <p:sp>
          <p:nvSpPr>
            <p:cNvPr id="102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03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4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05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6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07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8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09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110" name="LegendLines" hidden="1"/>
          <p:cNvGrpSpPr>
            <a:grpSpLocks/>
          </p:cNvGrpSpPr>
          <p:nvPr userDrawn="1"/>
        </p:nvGrpSpPr>
        <p:grpSpPr bwMode="auto">
          <a:xfrm>
            <a:off x="10815907" y="1297028"/>
            <a:ext cx="1071563" cy="730251"/>
            <a:chOff x="4750" y="176"/>
            <a:chExt cx="675" cy="460"/>
          </a:xfrm>
        </p:grpSpPr>
        <p:sp>
          <p:nvSpPr>
            <p:cNvPr id="111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2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3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4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15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16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117" name="McKSticker" hidden="1"/>
          <p:cNvGrpSpPr/>
          <p:nvPr userDrawn="1"/>
        </p:nvGrpSpPr>
        <p:grpSpPr bwMode="auto">
          <a:xfrm>
            <a:off x="11162464" y="1297028"/>
            <a:ext cx="725006" cy="150811"/>
            <a:chOff x="8015769" y="285750"/>
            <a:chExt cx="725006" cy="150811"/>
          </a:xfrm>
        </p:grpSpPr>
        <p:sp>
          <p:nvSpPr>
            <p:cNvPr id="118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9A46"/>
                </a:buClr>
              </a:pPr>
              <a:r>
                <a:rPr lang="en-US" sz="800" dirty="0">
                  <a:solidFill>
                    <a:srgbClr val="80808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119" name="AutoShape 31"/>
            <p:cNvCxnSpPr>
              <a:cxnSpLocks noChangeShapeType="1"/>
              <a:stCxn id="118" idx="2"/>
              <a:endCxn id="118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0" name="AutoShape 32"/>
            <p:cNvCxnSpPr>
              <a:cxnSpLocks noChangeShapeType="1"/>
              <a:stCxn id="118" idx="4"/>
              <a:endCxn id="118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21" name="LegendMoons" hidden="1"/>
          <p:cNvGrpSpPr/>
          <p:nvPr userDrawn="1"/>
        </p:nvGrpSpPr>
        <p:grpSpPr bwMode="auto">
          <a:xfrm>
            <a:off x="11057040" y="1297028"/>
            <a:ext cx="830430" cy="1306516"/>
            <a:chOff x="6655594" y="273840"/>
            <a:chExt cx="830430" cy="1306516"/>
          </a:xfrm>
        </p:grpSpPr>
        <p:grpSp>
          <p:nvGrpSpPr>
            <p:cNvPr id="122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40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41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123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38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9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124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36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7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125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34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5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126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27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28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29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30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131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132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3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387326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</p:sldLayoutIdLst>
  <p:hf hdr="0" ftr="0" dt="0"/>
  <p:txStyles>
    <p:titleStyle>
      <a:lvl1pPr algn="l" defTabSz="1218026" rtl="0" eaLnBrk="1" fontAlgn="base" hangingPunct="1">
        <a:spcBef>
          <a:spcPct val="0"/>
        </a:spcBef>
        <a:spcAft>
          <a:spcPct val="0"/>
        </a:spcAft>
        <a:tabLst>
          <a:tab pos="367135" algn="l"/>
        </a:tabLst>
        <a:defRPr lang="x-none" sz="2000" b="1" baseline="0">
          <a:solidFill>
            <a:schemeClr val="accent3"/>
          </a:solidFill>
          <a:latin typeface="+mj-lt"/>
          <a:ea typeface="+mj-ea"/>
          <a:cs typeface="+mj-cs"/>
        </a:defRPr>
      </a:lvl1pPr>
      <a:lvl2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2pPr>
      <a:lvl3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3pPr>
      <a:lvl4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4pPr>
      <a:lvl5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5pPr>
      <a:lvl6pPr marL="62197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6pPr>
      <a:lvl7pPr marL="1243941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7pPr>
      <a:lvl8pPr marL="1865909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8pPr>
      <a:lvl9pPr marL="248788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2024" indent="-192024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00" baseline="0">
          <a:solidFill>
            <a:schemeClr val="tx1"/>
          </a:solidFill>
          <a:latin typeface="+mn-lt"/>
        </a:defRPr>
      </a:lvl2pPr>
      <a:lvl3pPr marL="457200" indent="-265176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612648" indent="-155448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00" baseline="0">
          <a:solidFill>
            <a:schemeClr val="tx1"/>
          </a:solidFill>
          <a:latin typeface="+mn-lt"/>
        </a:defRPr>
      </a:lvl4pPr>
      <a:lvl5pPr marL="749808" indent="-128016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6pPr>
      <a:lvl7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7pPr>
      <a:lvl8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8pPr>
      <a:lvl9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1pPr>
      <a:lvl2pPr marL="62197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2pPr>
      <a:lvl3pPr marL="124394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3pPr>
      <a:lvl4pPr marL="1865909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4pPr>
      <a:lvl5pPr marL="248788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5pPr>
      <a:lvl6pPr marL="310985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6pPr>
      <a:lvl7pPr marL="373182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7pPr>
      <a:lvl8pPr marL="435379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8pPr>
      <a:lvl9pPr marL="497576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135.xml"/><Relationship Id="rId7" Type="http://schemas.openxmlformats.org/officeDocument/2006/relationships/image" Target="../media/image22.emf"/><Relationship Id="rId2" Type="http://schemas.openxmlformats.org/officeDocument/2006/relationships/tags" Target="../tags/tag134.xml"/><Relationship Id="rId1" Type="http://schemas.openxmlformats.org/officeDocument/2006/relationships/vmlDrawing" Target="../drawings/vmlDrawing33.vml"/><Relationship Id="rId6" Type="http://schemas.openxmlformats.org/officeDocument/2006/relationships/oleObject" Target="../embeddings/oleObject3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25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215.xml"/><Relationship Id="rId7" Type="http://schemas.openxmlformats.org/officeDocument/2006/relationships/image" Target="../media/image22.emf"/><Relationship Id="rId2" Type="http://schemas.openxmlformats.org/officeDocument/2006/relationships/tags" Target="../tags/tag214.xml"/><Relationship Id="rId1" Type="http://schemas.openxmlformats.org/officeDocument/2006/relationships/vmlDrawing" Target="../drawings/vmlDrawing42.vml"/><Relationship Id="rId6" Type="http://schemas.openxmlformats.org/officeDocument/2006/relationships/oleObject" Target="../embeddings/oleObject42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42.xml"/><Relationship Id="rId13" Type="http://schemas.openxmlformats.org/officeDocument/2006/relationships/tags" Target="../tags/tag147.xml"/><Relationship Id="rId18" Type="http://schemas.openxmlformats.org/officeDocument/2006/relationships/image" Target="../media/image25.png"/><Relationship Id="rId3" Type="http://schemas.openxmlformats.org/officeDocument/2006/relationships/tags" Target="../tags/tag137.xml"/><Relationship Id="rId7" Type="http://schemas.openxmlformats.org/officeDocument/2006/relationships/tags" Target="../tags/tag141.xml"/><Relationship Id="rId12" Type="http://schemas.openxmlformats.org/officeDocument/2006/relationships/tags" Target="../tags/tag146.xml"/><Relationship Id="rId17" Type="http://schemas.openxmlformats.org/officeDocument/2006/relationships/image" Target="../media/image24.emf"/><Relationship Id="rId2" Type="http://schemas.openxmlformats.org/officeDocument/2006/relationships/tags" Target="../tags/tag136.xml"/><Relationship Id="rId16" Type="http://schemas.openxmlformats.org/officeDocument/2006/relationships/oleObject" Target="../embeddings/oleObject34.bin"/><Relationship Id="rId20" Type="http://schemas.openxmlformats.org/officeDocument/2006/relationships/image" Target="../media/image27.png"/><Relationship Id="rId1" Type="http://schemas.openxmlformats.org/officeDocument/2006/relationships/vmlDrawing" Target="../drawings/vmlDrawing34.vml"/><Relationship Id="rId6" Type="http://schemas.openxmlformats.org/officeDocument/2006/relationships/tags" Target="../tags/tag140.xml"/><Relationship Id="rId11" Type="http://schemas.openxmlformats.org/officeDocument/2006/relationships/tags" Target="../tags/tag145.xml"/><Relationship Id="rId5" Type="http://schemas.openxmlformats.org/officeDocument/2006/relationships/tags" Target="../tags/tag139.xml"/><Relationship Id="rId15" Type="http://schemas.openxmlformats.org/officeDocument/2006/relationships/slideLayout" Target="../slideLayouts/slideLayout32.xml"/><Relationship Id="rId10" Type="http://schemas.openxmlformats.org/officeDocument/2006/relationships/tags" Target="../tags/tag144.xml"/><Relationship Id="rId19" Type="http://schemas.openxmlformats.org/officeDocument/2006/relationships/image" Target="../media/image26.png"/><Relationship Id="rId4" Type="http://schemas.openxmlformats.org/officeDocument/2006/relationships/tags" Target="../tags/tag138.xml"/><Relationship Id="rId9" Type="http://schemas.openxmlformats.org/officeDocument/2006/relationships/tags" Target="../tags/tag143.xml"/><Relationship Id="rId14" Type="http://schemas.openxmlformats.org/officeDocument/2006/relationships/tags" Target="../tags/tag14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55.xml"/><Relationship Id="rId13" Type="http://schemas.openxmlformats.org/officeDocument/2006/relationships/tags" Target="../tags/tag160.xml"/><Relationship Id="rId18" Type="http://schemas.openxmlformats.org/officeDocument/2006/relationships/oleObject" Target="../embeddings/oleObject35.bin"/><Relationship Id="rId3" Type="http://schemas.openxmlformats.org/officeDocument/2006/relationships/tags" Target="../tags/tag150.xml"/><Relationship Id="rId7" Type="http://schemas.openxmlformats.org/officeDocument/2006/relationships/tags" Target="../tags/tag154.xml"/><Relationship Id="rId12" Type="http://schemas.openxmlformats.org/officeDocument/2006/relationships/tags" Target="../tags/tag159.xml"/><Relationship Id="rId17" Type="http://schemas.openxmlformats.org/officeDocument/2006/relationships/notesSlide" Target="../notesSlides/notesSlide2.xml"/><Relationship Id="rId2" Type="http://schemas.openxmlformats.org/officeDocument/2006/relationships/tags" Target="../tags/tag149.xml"/><Relationship Id="rId16" Type="http://schemas.openxmlformats.org/officeDocument/2006/relationships/slideLayout" Target="../slideLayouts/slideLayout2.xml"/><Relationship Id="rId1" Type="http://schemas.openxmlformats.org/officeDocument/2006/relationships/vmlDrawing" Target="../drawings/vmlDrawing35.vml"/><Relationship Id="rId6" Type="http://schemas.openxmlformats.org/officeDocument/2006/relationships/tags" Target="../tags/tag153.xml"/><Relationship Id="rId11" Type="http://schemas.openxmlformats.org/officeDocument/2006/relationships/tags" Target="../tags/tag158.xml"/><Relationship Id="rId5" Type="http://schemas.openxmlformats.org/officeDocument/2006/relationships/tags" Target="../tags/tag152.xml"/><Relationship Id="rId15" Type="http://schemas.openxmlformats.org/officeDocument/2006/relationships/tags" Target="../tags/tag162.xml"/><Relationship Id="rId10" Type="http://schemas.openxmlformats.org/officeDocument/2006/relationships/tags" Target="../tags/tag157.xml"/><Relationship Id="rId19" Type="http://schemas.openxmlformats.org/officeDocument/2006/relationships/image" Target="../media/image3.emf"/><Relationship Id="rId4" Type="http://schemas.openxmlformats.org/officeDocument/2006/relationships/tags" Target="../tags/tag151.xml"/><Relationship Id="rId9" Type="http://schemas.openxmlformats.org/officeDocument/2006/relationships/tags" Target="../tags/tag156.xml"/><Relationship Id="rId14" Type="http://schemas.openxmlformats.org/officeDocument/2006/relationships/tags" Target="../tags/tag16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69.xml"/><Relationship Id="rId13" Type="http://schemas.openxmlformats.org/officeDocument/2006/relationships/tags" Target="../tags/tag174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164.xml"/><Relationship Id="rId7" Type="http://schemas.openxmlformats.org/officeDocument/2006/relationships/tags" Target="../tags/tag168.xml"/><Relationship Id="rId12" Type="http://schemas.openxmlformats.org/officeDocument/2006/relationships/tags" Target="../tags/tag173.xml"/><Relationship Id="rId17" Type="http://schemas.openxmlformats.org/officeDocument/2006/relationships/tags" Target="../tags/tag178.xml"/><Relationship Id="rId2" Type="http://schemas.openxmlformats.org/officeDocument/2006/relationships/tags" Target="../tags/tag163.xml"/><Relationship Id="rId16" Type="http://schemas.openxmlformats.org/officeDocument/2006/relationships/tags" Target="../tags/tag177.xml"/><Relationship Id="rId20" Type="http://schemas.openxmlformats.org/officeDocument/2006/relationships/oleObject" Target="../embeddings/oleObject36.bin"/><Relationship Id="rId1" Type="http://schemas.openxmlformats.org/officeDocument/2006/relationships/vmlDrawing" Target="../drawings/vmlDrawing36.vml"/><Relationship Id="rId6" Type="http://schemas.openxmlformats.org/officeDocument/2006/relationships/tags" Target="../tags/tag167.xml"/><Relationship Id="rId11" Type="http://schemas.openxmlformats.org/officeDocument/2006/relationships/tags" Target="../tags/tag172.xml"/><Relationship Id="rId5" Type="http://schemas.openxmlformats.org/officeDocument/2006/relationships/tags" Target="../tags/tag166.xml"/><Relationship Id="rId15" Type="http://schemas.openxmlformats.org/officeDocument/2006/relationships/tags" Target="../tags/tag176.xml"/><Relationship Id="rId10" Type="http://schemas.openxmlformats.org/officeDocument/2006/relationships/tags" Target="../tags/tag171.xml"/><Relationship Id="rId19" Type="http://schemas.openxmlformats.org/officeDocument/2006/relationships/notesSlide" Target="../notesSlides/notesSlide3.xml"/><Relationship Id="rId4" Type="http://schemas.openxmlformats.org/officeDocument/2006/relationships/tags" Target="../tags/tag165.xml"/><Relationship Id="rId9" Type="http://schemas.openxmlformats.org/officeDocument/2006/relationships/tags" Target="../tags/tag170.xml"/><Relationship Id="rId14" Type="http://schemas.openxmlformats.org/officeDocument/2006/relationships/tags" Target="../tags/tag17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85.xml"/><Relationship Id="rId13" Type="http://schemas.openxmlformats.org/officeDocument/2006/relationships/oleObject" Target="../embeddings/oleObject37.bin"/><Relationship Id="rId18" Type="http://schemas.openxmlformats.org/officeDocument/2006/relationships/image" Target="../media/image32.png"/><Relationship Id="rId3" Type="http://schemas.openxmlformats.org/officeDocument/2006/relationships/tags" Target="../tags/tag180.xml"/><Relationship Id="rId7" Type="http://schemas.openxmlformats.org/officeDocument/2006/relationships/tags" Target="../tags/tag184.xml"/><Relationship Id="rId12" Type="http://schemas.openxmlformats.org/officeDocument/2006/relationships/notesSlide" Target="../notesSlides/notesSlide4.xml"/><Relationship Id="rId17" Type="http://schemas.openxmlformats.org/officeDocument/2006/relationships/image" Target="../media/image31.png"/><Relationship Id="rId2" Type="http://schemas.openxmlformats.org/officeDocument/2006/relationships/tags" Target="../tags/tag179.xml"/><Relationship Id="rId16" Type="http://schemas.openxmlformats.org/officeDocument/2006/relationships/image" Target="../media/image30.png"/><Relationship Id="rId1" Type="http://schemas.openxmlformats.org/officeDocument/2006/relationships/vmlDrawing" Target="../drawings/vmlDrawing37.vml"/><Relationship Id="rId6" Type="http://schemas.openxmlformats.org/officeDocument/2006/relationships/tags" Target="../tags/tag183.xml"/><Relationship Id="rId11" Type="http://schemas.openxmlformats.org/officeDocument/2006/relationships/slideLayout" Target="../slideLayouts/slideLayout22.xml"/><Relationship Id="rId5" Type="http://schemas.openxmlformats.org/officeDocument/2006/relationships/tags" Target="../tags/tag182.xml"/><Relationship Id="rId15" Type="http://schemas.openxmlformats.org/officeDocument/2006/relationships/image" Target="../media/image29.png"/><Relationship Id="rId10" Type="http://schemas.openxmlformats.org/officeDocument/2006/relationships/tags" Target="../tags/tag187.xml"/><Relationship Id="rId19" Type="http://schemas.openxmlformats.org/officeDocument/2006/relationships/image" Target="../media/image33.png"/><Relationship Id="rId4" Type="http://schemas.openxmlformats.org/officeDocument/2006/relationships/tags" Target="../tags/tag181.xml"/><Relationship Id="rId9" Type="http://schemas.openxmlformats.org/officeDocument/2006/relationships/tags" Target="../tags/tag186.xml"/><Relationship Id="rId14" Type="http://schemas.openxmlformats.org/officeDocument/2006/relationships/image" Target="../media/image28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89.xml"/><Relationship Id="rId7" Type="http://schemas.openxmlformats.org/officeDocument/2006/relationships/image" Target="../media/image34.emf"/><Relationship Id="rId2" Type="http://schemas.openxmlformats.org/officeDocument/2006/relationships/tags" Target="../tags/tag188.xml"/><Relationship Id="rId1" Type="http://schemas.openxmlformats.org/officeDocument/2006/relationships/vmlDrawing" Target="../drawings/vmlDrawing38.vml"/><Relationship Id="rId6" Type="http://schemas.openxmlformats.org/officeDocument/2006/relationships/oleObject" Target="../embeddings/oleObject38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96.xml"/><Relationship Id="rId13" Type="http://schemas.openxmlformats.org/officeDocument/2006/relationships/image" Target="../media/image35.png"/><Relationship Id="rId3" Type="http://schemas.openxmlformats.org/officeDocument/2006/relationships/tags" Target="../tags/tag191.xml"/><Relationship Id="rId7" Type="http://schemas.openxmlformats.org/officeDocument/2006/relationships/tags" Target="../tags/tag195.xml"/><Relationship Id="rId12" Type="http://schemas.openxmlformats.org/officeDocument/2006/relationships/image" Target="../media/image28.emf"/><Relationship Id="rId17" Type="http://schemas.openxmlformats.org/officeDocument/2006/relationships/image" Target="../media/image39.png"/><Relationship Id="rId2" Type="http://schemas.openxmlformats.org/officeDocument/2006/relationships/tags" Target="../tags/tag190.xml"/><Relationship Id="rId16" Type="http://schemas.openxmlformats.org/officeDocument/2006/relationships/image" Target="../media/image38.jpeg"/><Relationship Id="rId1" Type="http://schemas.openxmlformats.org/officeDocument/2006/relationships/vmlDrawing" Target="../drawings/vmlDrawing39.vml"/><Relationship Id="rId6" Type="http://schemas.openxmlformats.org/officeDocument/2006/relationships/tags" Target="../tags/tag194.xml"/><Relationship Id="rId11" Type="http://schemas.openxmlformats.org/officeDocument/2006/relationships/oleObject" Target="../embeddings/oleObject39.bin"/><Relationship Id="rId5" Type="http://schemas.openxmlformats.org/officeDocument/2006/relationships/tags" Target="../tags/tag193.xml"/><Relationship Id="rId15" Type="http://schemas.openxmlformats.org/officeDocument/2006/relationships/image" Target="../media/image37.emf"/><Relationship Id="rId10" Type="http://schemas.openxmlformats.org/officeDocument/2006/relationships/notesSlide" Target="../notesSlides/notesSlide6.xml"/><Relationship Id="rId4" Type="http://schemas.openxmlformats.org/officeDocument/2006/relationships/tags" Target="../tags/tag192.xml"/><Relationship Id="rId9" Type="http://schemas.openxmlformats.org/officeDocument/2006/relationships/slideLayout" Target="../slideLayouts/slideLayout22.xml"/><Relationship Id="rId14" Type="http://schemas.openxmlformats.org/officeDocument/2006/relationships/image" Target="../media/image36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98.xml"/><Relationship Id="rId7" Type="http://schemas.openxmlformats.org/officeDocument/2006/relationships/image" Target="../media/image24.emf"/><Relationship Id="rId2" Type="http://schemas.openxmlformats.org/officeDocument/2006/relationships/tags" Target="../tags/tag197.xml"/><Relationship Id="rId1" Type="http://schemas.openxmlformats.org/officeDocument/2006/relationships/vmlDrawing" Target="../drawings/vmlDrawing40.vml"/><Relationship Id="rId6" Type="http://schemas.openxmlformats.org/officeDocument/2006/relationships/oleObject" Target="../embeddings/oleObject40.bin"/><Relationship Id="rId5" Type="http://schemas.openxmlformats.org/officeDocument/2006/relationships/slideLayout" Target="../slideLayouts/slideLayout23.xml"/><Relationship Id="rId4" Type="http://schemas.openxmlformats.org/officeDocument/2006/relationships/tags" Target="../tags/tag199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206.xml"/><Relationship Id="rId13" Type="http://schemas.openxmlformats.org/officeDocument/2006/relationships/tags" Target="../tags/tag211.xml"/><Relationship Id="rId18" Type="http://schemas.openxmlformats.org/officeDocument/2006/relationships/oleObject" Target="../embeddings/oleObject41.bin"/><Relationship Id="rId3" Type="http://schemas.openxmlformats.org/officeDocument/2006/relationships/tags" Target="../tags/tag201.xml"/><Relationship Id="rId21" Type="http://schemas.openxmlformats.org/officeDocument/2006/relationships/image" Target="../media/image41.png"/><Relationship Id="rId7" Type="http://schemas.openxmlformats.org/officeDocument/2006/relationships/tags" Target="../tags/tag205.xml"/><Relationship Id="rId12" Type="http://schemas.openxmlformats.org/officeDocument/2006/relationships/tags" Target="../tags/tag210.xml"/><Relationship Id="rId17" Type="http://schemas.openxmlformats.org/officeDocument/2006/relationships/notesSlide" Target="../notesSlides/notesSlide7.xml"/><Relationship Id="rId2" Type="http://schemas.openxmlformats.org/officeDocument/2006/relationships/tags" Target="../tags/tag200.xml"/><Relationship Id="rId16" Type="http://schemas.openxmlformats.org/officeDocument/2006/relationships/slideLayout" Target="../slideLayouts/slideLayout25.xml"/><Relationship Id="rId20" Type="http://schemas.openxmlformats.org/officeDocument/2006/relationships/image" Target="../media/image35.png"/><Relationship Id="rId1" Type="http://schemas.openxmlformats.org/officeDocument/2006/relationships/vmlDrawing" Target="../drawings/vmlDrawing41.vml"/><Relationship Id="rId6" Type="http://schemas.openxmlformats.org/officeDocument/2006/relationships/tags" Target="../tags/tag204.xml"/><Relationship Id="rId11" Type="http://schemas.openxmlformats.org/officeDocument/2006/relationships/tags" Target="../tags/tag209.xml"/><Relationship Id="rId5" Type="http://schemas.openxmlformats.org/officeDocument/2006/relationships/tags" Target="../tags/tag203.xml"/><Relationship Id="rId15" Type="http://schemas.openxmlformats.org/officeDocument/2006/relationships/tags" Target="../tags/tag213.xml"/><Relationship Id="rId23" Type="http://schemas.openxmlformats.org/officeDocument/2006/relationships/image" Target="../media/image37.emf"/><Relationship Id="rId10" Type="http://schemas.openxmlformats.org/officeDocument/2006/relationships/tags" Target="../tags/tag208.xml"/><Relationship Id="rId19" Type="http://schemas.openxmlformats.org/officeDocument/2006/relationships/image" Target="../media/image40.emf"/><Relationship Id="rId4" Type="http://schemas.openxmlformats.org/officeDocument/2006/relationships/tags" Target="../tags/tag202.xml"/><Relationship Id="rId9" Type="http://schemas.openxmlformats.org/officeDocument/2006/relationships/tags" Target="../tags/tag207.xml"/><Relationship Id="rId14" Type="http://schemas.openxmlformats.org/officeDocument/2006/relationships/tags" Target="../tags/tag212.xml"/><Relationship Id="rId22" Type="http://schemas.openxmlformats.org/officeDocument/2006/relationships/image" Target="../media/image3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0400992"/>
              </p:ext>
            </p:extLst>
          </p:nvPr>
        </p:nvGraphicFramePr>
        <p:xfrm>
          <a:off x="2258" y="-1141038"/>
          <a:ext cx="2159" cy="21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728" name="Diapositiva de think-cell" r:id="rId6" imgW="353" imgH="353" progId="TCLayout.ActiveDocument.1">
                  <p:embed/>
                </p:oleObj>
              </mc:Choice>
              <mc:Fallback>
                <p:oleObj name="Diapositiva de think-cell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258" y="-1141038"/>
                        <a:ext cx="2159" cy="21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CL" sz="2800" dirty="0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ctrTitle"/>
          </p:nvPr>
        </p:nvSpPr>
        <p:spPr bwMode="gray">
          <a:xfrm>
            <a:off x="1874175" y="1256243"/>
            <a:ext cx="8478152" cy="92333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s-CL" sz="2800" b="0" dirty="0" smtClean="0"/>
              <a:t>Objetivo Común</a:t>
            </a:r>
            <a:r>
              <a:rPr lang="es-CL" dirty="0"/>
              <a:t/>
            </a:r>
            <a:br>
              <a:rPr lang="es-CL" dirty="0"/>
            </a:br>
            <a:endParaRPr lang="en-US" b="0" i="1" dirty="0"/>
          </a:p>
        </p:txBody>
      </p:sp>
      <p:pic>
        <p:nvPicPr>
          <p:cNvPr id="10" name="Picture 9" descr="LOGO BEST FINAL.pdf - Adobe Reader">
            <a:extLst>
              <a:ext uri="{FF2B5EF4-FFF2-40B4-BE49-F238E27FC236}">
                <a16:creationId xmlns="" xmlns:a16="http://schemas.microsoft.com/office/drawing/2014/main" id="{7AEB4D60-A860-4B15-A477-E5CDCADF0F05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90472" y="2397986"/>
            <a:ext cx="2364281" cy="1050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3913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CE979401-DD5B-4B7D-A02D-63C88C400A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Ejemplo </a:t>
            </a:r>
            <a:r>
              <a:rPr lang="es-CL" dirty="0" err="1"/>
              <a:t>DdD</a:t>
            </a:r>
            <a:r>
              <a:rPr lang="es-CL" dirty="0"/>
              <a:t> real</a:t>
            </a:r>
            <a:endParaRPr lang="en-US" dirty="0"/>
          </a:p>
        </p:txBody>
      </p:sp>
      <p:pic>
        <p:nvPicPr>
          <p:cNvPr id="3346434" name="Picture 6" descr="image001">
            <a:extLst>
              <a:ext uri="{FF2B5EF4-FFF2-40B4-BE49-F238E27FC236}">
                <a16:creationId xmlns="" xmlns:a16="http://schemas.microsoft.com/office/drawing/2014/main" id="{019324FD-A2D9-41C3-9F50-B54B25DD4A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3520" y="1238250"/>
            <a:ext cx="10088880" cy="5535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peech Bubble: Rectangle with Corners Rounded 3">
            <a:extLst>
              <a:ext uri="{FF2B5EF4-FFF2-40B4-BE49-F238E27FC236}">
                <a16:creationId xmlns="" xmlns:a16="http://schemas.microsoft.com/office/drawing/2014/main" id="{E9CB8D5D-E183-4978-AF2A-26475988A8DC}"/>
              </a:ext>
            </a:extLst>
          </p:cNvPr>
          <p:cNvSpPr/>
          <p:nvPr/>
        </p:nvSpPr>
        <p:spPr bwMode="gray">
          <a:xfrm>
            <a:off x="1493520" y="4361927"/>
            <a:ext cx="3038466" cy="1487715"/>
          </a:xfrm>
          <a:prstGeom prst="wedgeRoundRectCallout">
            <a:avLst>
              <a:gd name="adj1" fmla="val -5480"/>
              <a:gd name="adj2" fmla="val -59110"/>
              <a:gd name="adj3" fmla="val 16667"/>
            </a:avLst>
          </a:prstGeom>
          <a:solidFill>
            <a:srgbClr val="ECF3DC"/>
          </a:solidFill>
          <a:ln w="9525">
            <a:solidFill>
              <a:schemeClr val="accent4"/>
            </a:solidFill>
            <a:round/>
            <a:headEnd/>
            <a:tailEnd/>
          </a:ln>
          <a:effectLst/>
          <a:extLst/>
        </p:spPr>
        <p:txBody>
          <a:bodyPr vert="horz" wrap="square" lIns="93244" tIns="46624" rIns="93244" bIns="46624" numCol="1" rtlCol="0" anchor="t" anchorCtr="0" compatLnSpc="1">
            <a:prstTxWarp prst="textNoShape">
              <a:avLst/>
            </a:prstTxWarp>
          </a:bodyPr>
          <a:lstStyle/>
          <a:p>
            <a:pPr marL="174831" indent="-174831">
              <a:buClr>
                <a:srgbClr val="007033"/>
              </a:buClr>
              <a:buFont typeface="Wingdings" panose="05000000000000000000" pitchFamily="2" charset="2"/>
              <a:buChar char="§"/>
            </a:pPr>
            <a:r>
              <a:rPr lang="es-CL" sz="1000" dirty="0">
                <a:solidFill>
                  <a:srgbClr val="000000"/>
                </a:solidFill>
              </a:rPr>
              <a:t>Se revisan los </a:t>
            </a:r>
            <a:r>
              <a:rPr lang="es-CL" sz="1000" dirty="0" err="1">
                <a:solidFill>
                  <a:srgbClr val="000000"/>
                </a:solidFill>
              </a:rPr>
              <a:t>KPIs</a:t>
            </a:r>
            <a:r>
              <a:rPr lang="es-CL" sz="1000" dirty="0">
                <a:solidFill>
                  <a:srgbClr val="000000"/>
                </a:solidFill>
              </a:rPr>
              <a:t> claves para el negocio</a:t>
            </a:r>
          </a:p>
          <a:p>
            <a:pPr marL="174831" indent="-174831">
              <a:buClr>
                <a:srgbClr val="007033"/>
              </a:buClr>
              <a:buFont typeface="Wingdings" panose="05000000000000000000" pitchFamily="2" charset="2"/>
              <a:buChar char="§"/>
            </a:pPr>
            <a:r>
              <a:rPr lang="es-CL" sz="1000" dirty="0">
                <a:solidFill>
                  <a:srgbClr val="000000"/>
                </a:solidFill>
              </a:rPr>
              <a:t>Los </a:t>
            </a:r>
            <a:r>
              <a:rPr lang="es-CL" sz="1000" dirty="0" err="1">
                <a:solidFill>
                  <a:srgbClr val="000000"/>
                </a:solidFill>
              </a:rPr>
              <a:t>KPIs</a:t>
            </a:r>
            <a:r>
              <a:rPr lang="es-CL" sz="1000" dirty="0">
                <a:solidFill>
                  <a:srgbClr val="000000"/>
                </a:solidFill>
              </a:rPr>
              <a:t> no son fijos, pueden ser cambiado a discreción del equipo</a:t>
            </a:r>
          </a:p>
          <a:p>
            <a:pPr marL="174831" indent="-174831">
              <a:buClr>
                <a:srgbClr val="007033"/>
              </a:buClr>
              <a:buFont typeface="Wingdings" panose="05000000000000000000" pitchFamily="2" charset="2"/>
              <a:buChar char="§"/>
            </a:pPr>
            <a:r>
              <a:rPr lang="es-CL" sz="1000" dirty="0">
                <a:solidFill>
                  <a:srgbClr val="000000"/>
                </a:solidFill>
              </a:rPr>
              <a:t>Para cada KPI con brecha se debe generar un compromiso o </a:t>
            </a:r>
            <a:r>
              <a:rPr lang="es-CL" sz="1000" dirty="0" err="1">
                <a:solidFill>
                  <a:srgbClr val="000000"/>
                </a:solidFill>
              </a:rPr>
              <a:t>RdP</a:t>
            </a:r>
            <a:endParaRPr lang="es-CL" sz="1000" dirty="0">
              <a:solidFill>
                <a:srgbClr val="000000"/>
              </a:solidFill>
            </a:endParaRPr>
          </a:p>
          <a:p>
            <a:pPr marL="174831" indent="-174831">
              <a:buClr>
                <a:srgbClr val="007033"/>
              </a:buClr>
              <a:buFont typeface="Wingdings" panose="05000000000000000000" pitchFamily="2" charset="2"/>
              <a:buChar char="§"/>
            </a:pPr>
            <a:r>
              <a:rPr lang="es-CL" sz="1000" dirty="0">
                <a:solidFill>
                  <a:srgbClr val="000000"/>
                </a:solidFill>
              </a:rPr>
              <a:t>Durante el </a:t>
            </a:r>
            <a:r>
              <a:rPr lang="es-CL" sz="1000" dirty="0" err="1">
                <a:solidFill>
                  <a:srgbClr val="000000"/>
                </a:solidFill>
              </a:rPr>
              <a:t>DdD</a:t>
            </a:r>
            <a:r>
              <a:rPr lang="es-CL" sz="1000" dirty="0">
                <a:solidFill>
                  <a:srgbClr val="000000"/>
                </a:solidFill>
              </a:rPr>
              <a:t> se hace una previsión de los </a:t>
            </a:r>
            <a:r>
              <a:rPr lang="es-CL" sz="1000" dirty="0" err="1">
                <a:solidFill>
                  <a:srgbClr val="000000"/>
                </a:solidFill>
              </a:rPr>
              <a:t>KPIs</a:t>
            </a:r>
            <a:r>
              <a:rPr lang="es-CL" sz="1000" dirty="0">
                <a:solidFill>
                  <a:srgbClr val="000000"/>
                </a:solidFill>
              </a:rPr>
              <a:t> del periodo siguiente y se levantan riesgos con compromisos</a:t>
            </a:r>
          </a:p>
        </p:txBody>
      </p:sp>
      <p:sp>
        <p:nvSpPr>
          <p:cNvPr id="7" name="Speech Bubble: Rectangle with Corners Rounded 6">
            <a:extLst>
              <a:ext uri="{FF2B5EF4-FFF2-40B4-BE49-F238E27FC236}">
                <a16:creationId xmlns="" xmlns:a16="http://schemas.microsoft.com/office/drawing/2014/main" id="{F147A968-A356-4822-8073-36B0AC353F9B}"/>
              </a:ext>
            </a:extLst>
          </p:cNvPr>
          <p:cNvSpPr/>
          <p:nvPr/>
        </p:nvSpPr>
        <p:spPr bwMode="gray">
          <a:xfrm>
            <a:off x="6345024" y="4216938"/>
            <a:ext cx="2155923" cy="1046444"/>
          </a:xfrm>
          <a:prstGeom prst="wedgeRoundRectCallout">
            <a:avLst>
              <a:gd name="adj1" fmla="val -17617"/>
              <a:gd name="adj2" fmla="val -63403"/>
              <a:gd name="adj3" fmla="val 16667"/>
            </a:avLst>
          </a:prstGeom>
          <a:solidFill>
            <a:srgbClr val="ECF3DC"/>
          </a:solidFill>
          <a:ln w="9525">
            <a:solidFill>
              <a:schemeClr val="accent4"/>
            </a:solidFill>
            <a:round/>
            <a:headEnd/>
            <a:tailEnd/>
          </a:ln>
          <a:effectLst/>
          <a:extLst/>
        </p:spPr>
        <p:txBody>
          <a:bodyPr vert="horz" wrap="square" lIns="93244" tIns="46624" rIns="93244" bIns="46624" numCol="1" rtlCol="0" anchor="t" anchorCtr="0" compatLnSpc="1">
            <a:prstTxWarp prst="textNoShape">
              <a:avLst/>
            </a:prstTxWarp>
          </a:bodyPr>
          <a:lstStyle/>
          <a:p>
            <a:pPr marL="174831" indent="-174831">
              <a:buClr>
                <a:srgbClr val="007033"/>
              </a:buClr>
              <a:buFont typeface="Wingdings" panose="05000000000000000000" pitchFamily="2" charset="2"/>
              <a:buChar char="§"/>
            </a:pPr>
            <a:r>
              <a:rPr lang="es-CL" sz="1000" dirty="0">
                <a:solidFill>
                  <a:srgbClr val="000000"/>
                </a:solidFill>
              </a:rPr>
              <a:t>Durante el </a:t>
            </a:r>
            <a:r>
              <a:rPr lang="es-CL" sz="1000" dirty="0" err="1">
                <a:solidFill>
                  <a:srgbClr val="000000"/>
                </a:solidFill>
              </a:rPr>
              <a:t>DdD</a:t>
            </a:r>
            <a:r>
              <a:rPr lang="es-CL" sz="1000" dirty="0">
                <a:solidFill>
                  <a:srgbClr val="000000"/>
                </a:solidFill>
              </a:rPr>
              <a:t> se revisan los compromisos atrasados, se busca la causa raíz del atraso y se toman acciones correctivas</a:t>
            </a:r>
          </a:p>
        </p:txBody>
      </p:sp>
      <p:sp>
        <p:nvSpPr>
          <p:cNvPr id="8" name="Speech Bubble: Rectangle with Corners Rounded 7">
            <a:extLst>
              <a:ext uri="{FF2B5EF4-FFF2-40B4-BE49-F238E27FC236}">
                <a16:creationId xmlns="" xmlns:a16="http://schemas.microsoft.com/office/drawing/2014/main" id="{7F848181-3AC9-42B5-B866-12B52373B1F5}"/>
              </a:ext>
            </a:extLst>
          </p:cNvPr>
          <p:cNvSpPr/>
          <p:nvPr/>
        </p:nvSpPr>
        <p:spPr bwMode="gray">
          <a:xfrm>
            <a:off x="9196728" y="2748140"/>
            <a:ext cx="1928985" cy="1613791"/>
          </a:xfrm>
          <a:prstGeom prst="wedgeRoundRectCallout">
            <a:avLst>
              <a:gd name="adj1" fmla="val -8415"/>
              <a:gd name="adj2" fmla="val -62500"/>
              <a:gd name="adj3" fmla="val 16667"/>
            </a:avLst>
          </a:prstGeom>
          <a:solidFill>
            <a:srgbClr val="ECF3DC"/>
          </a:solidFill>
          <a:ln w="9525">
            <a:solidFill>
              <a:schemeClr val="accent4"/>
            </a:solidFill>
            <a:round/>
            <a:headEnd/>
            <a:tailEnd/>
          </a:ln>
          <a:effectLst/>
          <a:extLst/>
        </p:spPr>
        <p:txBody>
          <a:bodyPr vert="horz" wrap="square" lIns="93244" tIns="46624" rIns="93244" bIns="46624" numCol="1" rtlCol="0" anchor="t" anchorCtr="0" compatLnSpc="1">
            <a:prstTxWarp prst="textNoShape">
              <a:avLst/>
            </a:prstTxWarp>
          </a:bodyPr>
          <a:lstStyle/>
          <a:p>
            <a:pPr marL="174831" indent="-174831">
              <a:buClr>
                <a:srgbClr val="007033"/>
              </a:buClr>
              <a:buFont typeface="Wingdings" panose="05000000000000000000" pitchFamily="2" charset="2"/>
              <a:buChar char="§"/>
            </a:pPr>
            <a:r>
              <a:rPr lang="es-CL" sz="1000" dirty="0">
                <a:solidFill>
                  <a:srgbClr val="000000"/>
                </a:solidFill>
              </a:rPr>
              <a:t>Durante el </a:t>
            </a:r>
            <a:r>
              <a:rPr lang="es-CL" sz="1000" dirty="0" err="1">
                <a:solidFill>
                  <a:srgbClr val="000000"/>
                </a:solidFill>
              </a:rPr>
              <a:t>DdD</a:t>
            </a:r>
            <a:r>
              <a:rPr lang="es-CL" sz="1000" dirty="0">
                <a:solidFill>
                  <a:srgbClr val="000000"/>
                </a:solidFill>
              </a:rPr>
              <a:t> se revisan los </a:t>
            </a:r>
            <a:r>
              <a:rPr lang="es-CL" sz="1000" dirty="0" err="1">
                <a:solidFill>
                  <a:srgbClr val="000000"/>
                </a:solidFill>
              </a:rPr>
              <a:t>RdPs</a:t>
            </a:r>
            <a:r>
              <a:rPr lang="es-CL" sz="1000" dirty="0">
                <a:solidFill>
                  <a:srgbClr val="000000"/>
                </a:solidFill>
              </a:rPr>
              <a:t> atrasados, se busca la causa raíz del atraso y se toman acciones correctivas</a:t>
            </a:r>
          </a:p>
          <a:p>
            <a:pPr marL="174831" indent="-174831">
              <a:buClr>
                <a:srgbClr val="007033"/>
              </a:buClr>
              <a:buFont typeface="Wingdings" panose="05000000000000000000" pitchFamily="2" charset="2"/>
              <a:buChar char="§"/>
            </a:pPr>
            <a:r>
              <a:rPr lang="es-CL" sz="1000" dirty="0">
                <a:solidFill>
                  <a:srgbClr val="000000"/>
                </a:solidFill>
              </a:rPr>
              <a:t>Se revisan los </a:t>
            </a:r>
            <a:r>
              <a:rPr lang="es-CL" sz="1000" dirty="0" err="1">
                <a:solidFill>
                  <a:srgbClr val="000000"/>
                </a:solidFill>
              </a:rPr>
              <a:t>RdP</a:t>
            </a:r>
            <a:r>
              <a:rPr lang="es-CL" sz="1000" dirty="0">
                <a:solidFill>
                  <a:srgbClr val="000000"/>
                </a:solidFill>
              </a:rPr>
              <a:t> en curso por si necesitan de ayuda o soporte</a:t>
            </a:r>
          </a:p>
        </p:txBody>
      </p:sp>
    </p:spTree>
    <p:extLst>
      <p:ext uri="{BB962C8B-B14F-4D97-AF65-F5344CB8AC3E}">
        <p14:creationId xmlns:p14="http://schemas.microsoft.com/office/powerpoint/2010/main" val="2943624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2695544"/>
              </p:ext>
            </p:extLst>
          </p:nvPr>
        </p:nvGraphicFramePr>
        <p:xfrm>
          <a:off x="2258" y="-1141038"/>
          <a:ext cx="2159" cy="21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364" name="Diapositiva de think-cell" r:id="rId6" imgW="353" imgH="353" progId="TCLayout.ActiveDocument.1">
                  <p:embed/>
                </p:oleObj>
              </mc:Choice>
              <mc:Fallback>
                <p:oleObj name="Diapositiva de think-cell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258" y="-1141038"/>
                        <a:ext cx="2159" cy="21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CL" sz="2800" dirty="0" smtClean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ctrTitle"/>
          </p:nvPr>
        </p:nvSpPr>
        <p:spPr bwMode="gray">
          <a:xfrm>
            <a:off x="1874175" y="1256243"/>
            <a:ext cx="8478152" cy="92333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s-CL" sz="2800" b="0" dirty="0" smtClean="0"/>
              <a:t>Objetivo Común</a:t>
            </a:r>
            <a:r>
              <a:rPr lang="es-CL" dirty="0"/>
              <a:t/>
            </a:r>
            <a:br>
              <a:rPr lang="es-CL" dirty="0"/>
            </a:br>
            <a:endParaRPr lang="en-US" b="0" i="1" dirty="0"/>
          </a:p>
        </p:txBody>
      </p:sp>
      <p:pic>
        <p:nvPicPr>
          <p:cNvPr id="10" name="Picture 9" descr="LOGO BEST FINAL.pdf - Adobe Reader">
            <a:extLst>
              <a:ext uri="{FF2B5EF4-FFF2-40B4-BE49-F238E27FC236}">
                <a16:creationId xmlns="" xmlns:a16="http://schemas.microsoft.com/office/drawing/2014/main" id="{7AEB4D60-A860-4B15-A477-E5CDCADF0F05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90472" y="2397986"/>
            <a:ext cx="2364281" cy="1050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95631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pattFill prst="pct5">
          <a:fgClr>
            <a:schemeClr val="bg2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458" name="Diapositiva de think-cell" r:id="rId16" imgW="421" imgH="420" progId="TCLayout.ActiveDocument.1">
                  <p:embed/>
                </p:oleObj>
              </mc:Choice>
              <mc:Fallback>
                <p:oleObj name="Diapositiva de think-cell" r:id="rId16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ES" sz="1800" dirty="0" smtClean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Rectángulo 1"/>
          <p:cNvSpPr/>
          <p:nvPr/>
        </p:nvSpPr>
        <p:spPr>
          <a:xfrm>
            <a:off x="8399274" y="1085965"/>
            <a:ext cx="3039265" cy="3426938"/>
          </a:xfrm>
          <a:prstGeom prst="rect">
            <a:avLst/>
          </a:prstGeom>
          <a:solidFill>
            <a:schemeClr val="bg1"/>
          </a:solidFill>
          <a:ln w="38100">
            <a:solidFill>
              <a:srgbClr val="00B05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s-CL" smtClean="0">
              <a:solidFill>
                <a:srgbClr val="000000"/>
              </a:solidFill>
            </a:endParaRPr>
          </a:p>
        </p:txBody>
      </p:sp>
      <p:pic>
        <p:nvPicPr>
          <p:cNvPr id="16" name="Picture 3" descr="N:\Dados\CORI\Integracao\Logotipo CMPC 2018\Logo CMPC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379" y="65501"/>
            <a:ext cx="1394194" cy="6623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Google Shape;157;p19"/>
          <p:cNvPicPr preferRelativeResize="0"/>
          <p:nvPr/>
        </p:nvPicPr>
        <p:blipFill rotWithShape="1">
          <a:blip r:embed="rId19">
            <a:alphaModFix amt="96000"/>
          </a:blip>
          <a:srcRect l="93468" t="3391" b="3176"/>
          <a:stretch/>
        </p:blipFill>
        <p:spPr>
          <a:xfrm>
            <a:off x="3176" y="-1722177"/>
            <a:ext cx="398399" cy="53598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Imagem 5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0" y="-2"/>
            <a:ext cx="12192000" cy="111152"/>
          </a:xfrm>
          <a:prstGeom prst="rect">
            <a:avLst/>
          </a:prstGeom>
        </p:spPr>
      </p:pic>
      <p:sp>
        <p:nvSpPr>
          <p:cNvPr id="74" name="Título 1"/>
          <p:cNvSpPr>
            <a:spLocks noGrp="1"/>
          </p:cNvSpPr>
          <p:nvPr>
            <p:ph type="title"/>
          </p:nvPr>
        </p:nvSpPr>
        <p:spPr>
          <a:xfrm>
            <a:off x="1847776" y="277448"/>
            <a:ext cx="10505826" cy="553998"/>
          </a:xfrm>
        </p:spPr>
        <p:txBody>
          <a:bodyPr/>
          <a:lstStyle/>
          <a:p>
            <a:r>
              <a:rPr lang="es-ES" sz="1800" b="0" dirty="0" smtClean="0"/>
              <a:t>Para lograr esta transformación, el </a:t>
            </a:r>
            <a:r>
              <a:rPr lang="es-ES" sz="1800" b="0" dirty="0"/>
              <a:t>modelo operacional </a:t>
            </a:r>
            <a:r>
              <a:rPr lang="es-ES" sz="1800" b="0" dirty="0" err="1"/>
              <a:t>best</a:t>
            </a:r>
            <a:r>
              <a:rPr lang="es-ES" sz="1800" b="0" dirty="0"/>
              <a:t> conlleva tres sistemas que debemos gestionar de forma integrada</a:t>
            </a:r>
            <a:endParaRPr lang="es-CL" sz="1800" b="0" dirty="0"/>
          </a:p>
        </p:txBody>
      </p:sp>
      <p:sp>
        <p:nvSpPr>
          <p:cNvPr id="58" name="Oval 8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rot="24365" flipV="1">
            <a:off x="4284155" y="953347"/>
            <a:ext cx="3420000" cy="3420000"/>
          </a:xfrm>
          <a:prstGeom prst="ellipse">
            <a:avLst/>
          </a:prstGeom>
          <a:solidFill>
            <a:srgbClr val="03AB13">
              <a:alpha val="49804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19050">
                <a:solidFill>
                  <a:schemeClr val="accent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68392" dir="1308085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wrap="none" lIns="93283" tIns="46643" rIns="93283" bIns="46643" anchor="ctr"/>
          <a:lstStyle/>
          <a:p>
            <a:endParaRPr lang="es-ES_tradnl" sz="1665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Rectangle 86">
            <a:extLst>
              <a:ext uri="{FF2B5EF4-FFF2-40B4-BE49-F238E27FC236}">
                <a16:creationId xmlns="" xmlns:a16="http://schemas.microsoft.com/office/drawing/2014/main" id="{9C18B6C7-A2E8-4E63-95C2-A10F53B9A857}"/>
              </a:ext>
            </a:extLst>
          </p:cNvPr>
          <p:cNvSpPr>
            <a:spLocks/>
          </p:cNvSpPr>
          <p:nvPr/>
        </p:nvSpPr>
        <p:spPr>
          <a:xfrm>
            <a:off x="2256216" y="4752697"/>
            <a:ext cx="7964028" cy="183311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1619" lvl="1">
              <a:spcBef>
                <a:spcPts val="0"/>
              </a:spcBef>
            </a:pPr>
            <a:endParaRPr lang="es-ES_tradnl" sz="1224" dirty="0">
              <a:solidFill>
                <a:srgbClr val="FFFFFF"/>
              </a:solidFill>
            </a:endParaRPr>
          </a:p>
        </p:txBody>
      </p:sp>
      <p:sp>
        <p:nvSpPr>
          <p:cNvPr id="64" name="TextBox 88">
            <a:extLst>
              <a:ext uri="{FF2B5EF4-FFF2-40B4-BE49-F238E27FC236}">
                <a16:creationId xmlns="" xmlns:a16="http://schemas.microsoft.com/office/drawing/2014/main" id="{397EF585-857C-4FB9-AC48-F5012F23A20B}"/>
              </a:ext>
            </a:extLst>
          </p:cNvPr>
          <p:cNvSpPr txBox="1">
            <a:spLocks/>
          </p:cNvSpPr>
          <p:nvPr/>
        </p:nvSpPr>
        <p:spPr>
          <a:xfrm>
            <a:off x="2256216" y="4752693"/>
            <a:ext cx="7964028" cy="354683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txBody>
          <a:bodyPr vert="horz" lIns="103664" tIns="103664" rIns="103664" bIns="103664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9A46"/>
              </a:buClr>
            </a:pPr>
            <a:r>
              <a:rPr lang="es-CO" sz="1224" b="1" dirty="0">
                <a:solidFill>
                  <a:srgbClr val="FFFFFF"/>
                </a:solidFill>
              </a:rPr>
              <a:t>“La forma en que las personas piensan, sienten y se comportan en el ambiente laboral”</a:t>
            </a:r>
          </a:p>
        </p:txBody>
      </p:sp>
      <p:sp>
        <p:nvSpPr>
          <p:cNvPr id="66" name="Rectangle 80">
            <a:extLst>
              <a:ext uri="{FF2B5EF4-FFF2-40B4-BE49-F238E27FC236}">
                <a16:creationId xmlns="" xmlns:a16="http://schemas.microsoft.com/office/drawing/2014/main" id="{78CABC0C-5A3F-43BC-A879-2B1CFB369BFA}"/>
              </a:ext>
            </a:extLst>
          </p:cNvPr>
          <p:cNvSpPr>
            <a:spLocks/>
          </p:cNvSpPr>
          <p:nvPr/>
        </p:nvSpPr>
        <p:spPr>
          <a:xfrm>
            <a:off x="8422783" y="1210354"/>
            <a:ext cx="2931635" cy="327009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s-CO" sz="1224" dirty="0" err="1">
              <a:solidFill>
                <a:srgbClr val="000000"/>
              </a:solidFill>
            </a:endParaRPr>
          </a:p>
        </p:txBody>
      </p:sp>
      <p:sp>
        <p:nvSpPr>
          <p:cNvPr id="67" name="TextBox 82">
            <a:extLst>
              <a:ext uri="{FF2B5EF4-FFF2-40B4-BE49-F238E27FC236}">
                <a16:creationId xmlns="" xmlns:a16="http://schemas.microsoft.com/office/drawing/2014/main" id="{548D752D-F34C-4206-9978-35A3456CDF0A}"/>
              </a:ext>
            </a:extLst>
          </p:cNvPr>
          <p:cNvSpPr txBox="1">
            <a:spLocks/>
          </p:cNvSpPr>
          <p:nvPr/>
        </p:nvSpPr>
        <p:spPr>
          <a:xfrm>
            <a:off x="8422783" y="1210352"/>
            <a:ext cx="2931635" cy="1016253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txBody>
          <a:bodyPr vert="horz" lIns="103664" tIns="103664" rIns="103664" bIns="103664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9A46"/>
              </a:buClr>
            </a:pPr>
            <a:r>
              <a:rPr lang="es-CO" sz="1224" b="1" dirty="0">
                <a:solidFill>
                  <a:srgbClr val="FFFFFF"/>
                </a:solidFill>
              </a:rPr>
              <a:t>“Las estructuras formales a través de los cuales los recursos son gestionados y que soportan los resultados del sistema operativo”</a:t>
            </a:r>
          </a:p>
        </p:txBody>
      </p:sp>
      <p:sp>
        <p:nvSpPr>
          <p:cNvPr id="68" name="Rectangle 70">
            <a:extLst>
              <a:ext uri="{FF2B5EF4-FFF2-40B4-BE49-F238E27FC236}">
                <a16:creationId xmlns="" xmlns:a16="http://schemas.microsoft.com/office/drawing/2014/main" id="{E3563877-9114-4E1F-87C6-856AE828A3B3}"/>
              </a:ext>
            </a:extLst>
          </p:cNvPr>
          <p:cNvSpPr>
            <a:spLocks/>
          </p:cNvSpPr>
          <p:nvPr/>
        </p:nvSpPr>
        <p:spPr>
          <a:xfrm>
            <a:off x="820343" y="1210353"/>
            <a:ext cx="2647183" cy="293586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s-CO" sz="1224" dirty="0" err="1">
              <a:solidFill>
                <a:srgbClr val="000000"/>
              </a:solidFill>
            </a:endParaRPr>
          </a:p>
        </p:txBody>
      </p:sp>
      <p:sp>
        <p:nvSpPr>
          <p:cNvPr id="69" name="TextBox 72">
            <a:extLst>
              <a:ext uri="{FF2B5EF4-FFF2-40B4-BE49-F238E27FC236}">
                <a16:creationId xmlns="" xmlns:a16="http://schemas.microsoft.com/office/drawing/2014/main" id="{9D7E9233-0969-4C41-81AA-07677C1929C7}"/>
              </a:ext>
            </a:extLst>
          </p:cNvPr>
          <p:cNvSpPr txBox="1">
            <a:spLocks/>
          </p:cNvSpPr>
          <p:nvPr/>
        </p:nvSpPr>
        <p:spPr>
          <a:xfrm>
            <a:off x="820343" y="1210350"/>
            <a:ext cx="2647183" cy="1016253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txBody>
          <a:bodyPr vert="horz" lIns="103664" tIns="103664" rIns="103664" bIns="103664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9A46"/>
              </a:buClr>
            </a:pPr>
            <a:r>
              <a:rPr lang="es-CL" sz="1224" b="1" dirty="0">
                <a:solidFill>
                  <a:srgbClr val="FFFFFF"/>
                </a:solidFill>
              </a:rPr>
              <a:t>“La forma en que los activos físicos y los recursos son configurados y optimizados para crear valor y minimizar las pérdidas”</a:t>
            </a:r>
          </a:p>
        </p:txBody>
      </p:sp>
      <p:grpSp>
        <p:nvGrpSpPr>
          <p:cNvPr id="71" name="Group 9">
            <a:extLst>
              <a:ext uri="{FF2B5EF4-FFF2-40B4-BE49-F238E27FC236}">
                <a16:creationId xmlns="" xmlns:a16="http://schemas.microsoft.com/office/drawing/2014/main" id="{8B5615A7-ECAA-4FF1-B2ED-6C1144CDB779}"/>
              </a:ext>
            </a:extLst>
          </p:cNvPr>
          <p:cNvGrpSpPr/>
          <p:nvPr/>
        </p:nvGrpSpPr>
        <p:grpSpPr>
          <a:xfrm>
            <a:off x="4948730" y="5205996"/>
            <a:ext cx="2616140" cy="1084829"/>
            <a:chOff x="4587837" y="5202176"/>
            <a:chExt cx="2564059" cy="1063234"/>
          </a:xfrm>
        </p:grpSpPr>
        <p:sp>
          <p:nvSpPr>
            <p:cNvPr id="72" name="Rectangle 7"/>
            <p:cNvSpPr txBox="1"/>
            <p:nvPr/>
          </p:nvSpPr>
          <p:spPr bwMode="gray">
            <a:xfrm>
              <a:off x="4911109" y="5505680"/>
              <a:ext cx="215767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9A46"/>
                </a:buClr>
              </a:pPr>
              <a:r>
                <a:rPr lang="es-ES_tradnl" sz="1224" dirty="0" smtClean="0">
                  <a:solidFill>
                    <a:srgbClr val="000000"/>
                  </a:solidFill>
                </a:rPr>
                <a:t>Trabajo bien hecho a la primera</a:t>
              </a:r>
              <a:endParaRPr lang="es-ES_tradnl" sz="1224" dirty="0">
                <a:solidFill>
                  <a:srgbClr val="000000"/>
                </a:solidFill>
              </a:endParaRPr>
            </a:p>
          </p:txBody>
        </p:sp>
        <p:sp>
          <p:nvSpPr>
            <p:cNvPr id="79" name="Oval 89"/>
            <p:cNvSpPr>
              <a:spLocks/>
            </p:cNvSpPr>
            <p:nvPr/>
          </p:nvSpPr>
          <p:spPr bwMode="gray">
            <a:xfrm>
              <a:off x="4587837" y="6078582"/>
              <a:ext cx="187200" cy="186828"/>
            </a:xfrm>
            <a:prstGeom prst="ellipse">
              <a:avLst/>
            </a:prstGeom>
            <a:solidFill>
              <a:schemeClr val="accent4"/>
            </a:solidFill>
            <a:ln w="9525">
              <a:noFill/>
            </a:ln>
            <a:effectLst>
              <a:glow>
                <a:schemeClr val="accent1">
                  <a:alpha val="40000"/>
                </a:schemeClr>
              </a:glow>
              <a:outerShdw blurRad="101600" sx="64000" sy="64000" rotWithShape="0">
                <a:schemeClr val="tx1"/>
              </a:outerShdw>
            </a:effectLst>
            <a:scene3d>
              <a:camera prst="orthographicFront"/>
              <a:lightRig rig="balanced" dir="t">
                <a:rot lat="0" lon="0" rev="7800000"/>
              </a:lightRig>
            </a:scene3d>
            <a:sp3d>
              <a:bevelT w="254000" h="31750"/>
              <a:bevelB w="0" h="38100"/>
              <a:extrusionClr>
                <a:schemeClr val="bg2"/>
              </a:extrusionClr>
              <a:contourClr>
                <a:schemeClr val="accent3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s-ES_tradnl" sz="1224" b="1" dirty="0">
                  <a:solidFill>
                    <a:srgbClr val="FFFFFF"/>
                  </a:solidFill>
                </a:rPr>
                <a:t>7</a:t>
              </a:r>
            </a:p>
          </p:txBody>
        </p:sp>
        <p:sp>
          <p:nvSpPr>
            <p:cNvPr id="80" name="Rectangle 7"/>
            <p:cNvSpPr txBox="1"/>
            <p:nvPr/>
          </p:nvSpPr>
          <p:spPr bwMode="gray">
            <a:xfrm>
              <a:off x="4896090" y="5802221"/>
              <a:ext cx="1201885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9A46"/>
                </a:buClr>
              </a:pPr>
              <a:r>
                <a:rPr lang="es-ES_tradnl" sz="1224" dirty="0" smtClean="0">
                  <a:solidFill>
                    <a:srgbClr val="000000"/>
                  </a:solidFill>
                </a:rPr>
                <a:t>Creación de valor</a:t>
              </a:r>
              <a:endParaRPr lang="es-ES_tradnl" sz="1224" dirty="0">
                <a:solidFill>
                  <a:srgbClr val="000000"/>
                </a:solidFill>
              </a:endParaRPr>
            </a:p>
          </p:txBody>
        </p:sp>
        <p:sp>
          <p:nvSpPr>
            <p:cNvPr id="81" name="Oval 81"/>
            <p:cNvSpPr>
              <a:spLocks/>
            </p:cNvSpPr>
            <p:nvPr/>
          </p:nvSpPr>
          <p:spPr bwMode="gray">
            <a:xfrm>
              <a:off x="4587838" y="5202176"/>
              <a:ext cx="187200" cy="186828"/>
            </a:xfrm>
            <a:prstGeom prst="ellipse">
              <a:avLst/>
            </a:prstGeom>
            <a:solidFill>
              <a:schemeClr val="accent4"/>
            </a:solidFill>
            <a:ln w="9525">
              <a:noFill/>
            </a:ln>
            <a:effectLst>
              <a:glow>
                <a:schemeClr val="accent1">
                  <a:alpha val="40000"/>
                </a:schemeClr>
              </a:glow>
              <a:outerShdw blurRad="101600" sx="64000" sy="64000" rotWithShape="0">
                <a:schemeClr val="tx1"/>
              </a:outerShdw>
            </a:effectLst>
            <a:scene3d>
              <a:camera prst="orthographicFront"/>
              <a:lightRig rig="balanced" dir="t">
                <a:rot lat="0" lon="0" rev="7800000"/>
              </a:lightRig>
            </a:scene3d>
            <a:sp3d>
              <a:bevelT w="254000" h="31750"/>
              <a:bevelB w="0" h="38100"/>
              <a:extrusionClr>
                <a:schemeClr val="bg2"/>
              </a:extrusionClr>
              <a:contourClr>
                <a:schemeClr val="accent3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s-ES_tradnl" sz="1224" b="1" dirty="0">
                  <a:solidFill>
                    <a:srgbClr val="FFFFFF"/>
                  </a:solidFill>
                </a:rPr>
                <a:t>4</a:t>
              </a:r>
            </a:p>
          </p:txBody>
        </p:sp>
        <p:sp>
          <p:nvSpPr>
            <p:cNvPr id="82" name="Rectangle 7"/>
            <p:cNvSpPr txBox="1"/>
            <p:nvPr/>
          </p:nvSpPr>
          <p:spPr bwMode="gray">
            <a:xfrm>
              <a:off x="4911111" y="5205695"/>
              <a:ext cx="2056558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9A46"/>
                </a:buClr>
              </a:pPr>
              <a:r>
                <a:rPr lang="es-ES_tradnl" sz="1224" dirty="0" smtClean="0">
                  <a:solidFill>
                    <a:srgbClr val="000000"/>
                  </a:solidFill>
                </a:rPr>
                <a:t>Búsqueda de nuevos desafíos</a:t>
              </a:r>
              <a:endParaRPr lang="es-ES_tradnl" sz="1224" dirty="0">
                <a:solidFill>
                  <a:srgbClr val="000000"/>
                </a:solidFill>
              </a:endParaRPr>
            </a:p>
          </p:txBody>
        </p:sp>
        <p:sp>
          <p:nvSpPr>
            <p:cNvPr id="83" name="Rectangle 7"/>
            <p:cNvSpPr txBox="1">
              <a:spLocks/>
            </p:cNvSpPr>
            <p:nvPr/>
          </p:nvSpPr>
          <p:spPr bwMode="gray">
            <a:xfrm>
              <a:off x="4858976" y="5784026"/>
              <a:ext cx="187200" cy="18682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9A46"/>
                </a:buClr>
              </a:pPr>
              <a:endParaRPr lang="es-ES_tradnl" sz="1224" dirty="0">
                <a:solidFill>
                  <a:srgbClr val="000000"/>
                </a:solidFill>
              </a:endParaRPr>
            </a:p>
          </p:txBody>
        </p:sp>
        <p:sp>
          <p:nvSpPr>
            <p:cNvPr id="84" name="Oval 85"/>
            <p:cNvSpPr>
              <a:spLocks/>
            </p:cNvSpPr>
            <p:nvPr/>
          </p:nvSpPr>
          <p:spPr bwMode="gray">
            <a:xfrm>
              <a:off x="4587838" y="5786448"/>
              <a:ext cx="187200" cy="186828"/>
            </a:xfrm>
            <a:prstGeom prst="ellipse">
              <a:avLst/>
            </a:prstGeom>
            <a:solidFill>
              <a:schemeClr val="accent4"/>
            </a:solidFill>
            <a:ln w="9525">
              <a:noFill/>
            </a:ln>
            <a:effectLst>
              <a:glow>
                <a:schemeClr val="accent1">
                  <a:alpha val="40000"/>
                </a:schemeClr>
              </a:glow>
              <a:outerShdw blurRad="101600" sx="64000" sy="64000" rotWithShape="0">
                <a:schemeClr val="tx1"/>
              </a:outerShdw>
            </a:effectLst>
            <a:scene3d>
              <a:camera prst="orthographicFront"/>
              <a:lightRig rig="balanced" dir="t">
                <a:rot lat="0" lon="0" rev="7800000"/>
              </a:lightRig>
            </a:scene3d>
            <a:sp3d>
              <a:bevelT w="254000" h="31750"/>
              <a:bevelB w="0" h="38100"/>
              <a:extrusionClr>
                <a:schemeClr val="bg2"/>
              </a:extrusionClr>
              <a:contourClr>
                <a:schemeClr val="accent3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s-ES_tradnl" sz="1224" b="1" dirty="0">
                  <a:solidFill>
                    <a:srgbClr val="FFFFFF"/>
                  </a:solidFill>
                </a:rPr>
                <a:t>6</a:t>
              </a:r>
            </a:p>
          </p:txBody>
        </p:sp>
        <p:sp>
          <p:nvSpPr>
            <p:cNvPr id="85" name="Rectangle 7"/>
            <p:cNvSpPr txBox="1"/>
            <p:nvPr/>
          </p:nvSpPr>
          <p:spPr bwMode="gray">
            <a:xfrm>
              <a:off x="4900352" y="6077257"/>
              <a:ext cx="2251544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9A46"/>
                </a:buClr>
              </a:pPr>
              <a:r>
                <a:rPr lang="es-ES_tradnl" sz="1224" dirty="0">
                  <a:solidFill>
                    <a:srgbClr val="000000"/>
                  </a:solidFill>
                </a:rPr>
                <a:t>Foco en los procesos</a:t>
              </a:r>
            </a:p>
          </p:txBody>
        </p:sp>
        <p:sp>
          <p:nvSpPr>
            <p:cNvPr id="86" name="Oval 83"/>
            <p:cNvSpPr>
              <a:spLocks/>
            </p:cNvSpPr>
            <p:nvPr/>
          </p:nvSpPr>
          <p:spPr bwMode="gray">
            <a:xfrm>
              <a:off x="4587837" y="5494312"/>
              <a:ext cx="187200" cy="186828"/>
            </a:xfrm>
            <a:prstGeom prst="ellipse">
              <a:avLst/>
            </a:prstGeom>
            <a:solidFill>
              <a:schemeClr val="accent4"/>
            </a:solidFill>
            <a:ln w="9525">
              <a:noFill/>
            </a:ln>
            <a:effectLst>
              <a:glow>
                <a:schemeClr val="accent1">
                  <a:alpha val="40000"/>
                </a:schemeClr>
              </a:glow>
              <a:outerShdw blurRad="101600" sx="64000" sy="64000" rotWithShape="0">
                <a:schemeClr val="tx1"/>
              </a:outerShdw>
            </a:effectLst>
            <a:scene3d>
              <a:camera prst="orthographicFront"/>
              <a:lightRig rig="balanced" dir="t">
                <a:rot lat="0" lon="0" rev="7800000"/>
              </a:lightRig>
            </a:scene3d>
            <a:sp3d>
              <a:bevelT w="254000" h="31750"/>
              <a:bevelB w="0" h="38100"/>
              <a:extrusionClr>
                <a:schemeClr val="bg2"/>
              </a:extrusionClr>
              <a:contourClr>
                <a:schemeClr val="accent3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s-ES_tradnl" sz="1224" b="1" dirty="0">
                  <a:solidFill>
                    <a:srgbClr val="FFFFFF"/>
                  </a:solidFill>
                </a:rPr>
                <a:t>5</a:t>
              </a:r>
            </a:p>
          </p:txBody>
        </p:sp>
      </p:grpSp>
      <p:sp>
        <p:nvSpPr>
          <p:cNvPr id="87" name="Oval 87"/>
          <p:cNvSpPr>
            <a:spLocks/>
          </p:cNvSpPr>
          <p:nvPr/>
        </p:nvSpPr>
        <p:spPr bwMode="gray">
          <a:xfrm>
            <a:off x="7799343" y="5206005"/>
            <a:ext cx="191003" cy="190623"/>
          </a:xfrm>
          <a:prstGeom prst="ellipse">
            <a:avLst/>
          </a:prstGeom>
          <a:solidFill>
            <a:schemeClr val="accent4"/>
          </a:solidFill>
          <a:ln w="9525">
            <a:noFill/>
          </a:ln>
          <a:effectLst>
            <a:glow>
              <a:schemeClr val="accent1">
                <a:alpha val="40000"/>
              </a:schemeClr>
            </a:glow>
            <a:outerShdw blurRad="101600" sx="64000" sy="64000" rotWithShape="0">
              <a:schemeClr val="tx1"/>
            </a:outerShdw>
          </a:effectLst>
          <a:scene3d>
            <a:camera prst="orthographicFront"/>
            <a:lightRig rig="balanced" dir="t">
              <a:rot lat="0" lon="0" rev="7800000"/>
            </a:lightRig>
          </a:scene3d>
          <a:sp3d>
            <a:bevelT w="254000" h="31750"/>
            <a:bevelB w="0" h="38100"/>
            <a:extrusionClr>
              <a:schemeClr val="bg2"/>
            </a:extrusionClr>
            <a:contourClr>
              <a:schemeClr val="accent3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es-ES_tradnl" sz="1224" b="1" dirty="0">
                <a:solidFill>
                  <a:srgbClr val="FFFFFF"/>
                </a:solidFill>
              </a:rPr>
              <a:t>8</a:t>
            </a:r>
          </a:p>
        </p:txBody>
      </p:sp>
      <p:sp>
        <p:nvSpPr>
          <p:cNvPr id="88" name="Oval 91"/>
          <p:cNvSpPr>
            <a:spLocks/>
          </p:cNvSpPr>
          <p:nvPr/>
        </p:nvSpPr>
        <p:spPr bwMode="gray">
          <a:xfrm>
            <a:off x="7799342" y="5504074"/>
            <a:ext cx="191003" cy="190623"/>
          </a:xfrm>
          <a:prstGeom prst="ellipse">
            <a:avLst/>
          </a:prstGeom>
          <a:solidFill>
            <a:schemeClr val="accent4"/>
          </a:solidFill>
          <a:ln w="9525">
            <a:noFill/>
          </a:ln>
          <a:effectLst>
            <a:glow>
              <a:schemeClr val="accent1">
                <a:alpha val="40000"/>
              </a:schemeClr>
            </a:glow>
            <a:outerShdw blurRad="101600" sx="64000" sy="64000" rotWithShape="0">
              <a:schemeClr val="tx1"/>
            </a:outerShdw>
          </a:effectLst>
          <a:scene3d>
            <a:camera prst="orthographicFront"/>
            <a:lightRig rig="balanced" dir="t">
              <a:rot lat="0" lon="0" rev="7800000"/>
            </a:lightRig>
          </a:scene3d>
          <a:sp3d>
            <a:bevelT w="254000" h="31750"/>
            <a:bevelB w="0" h="38100"/>
            <a:extrusionClr>
              <a:schemeClr val="bg2"/>
            </a:extrusionClr>
            <a:contourClr>
              <a:schemeClr val="accent3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es-ES_tradnl" sz="1224" b="1" dirty="0">
                <a:solidFill>
                  <a:srgbClr val="FFFFFF"/>
                </a:solidFill>
              </a:rPr>
              <a:t>9</a:t>
            </a:r>
          </a:p>
        </p:txBody>
      </p:sp>
      <p:grpSp>
        <p:nvGrpSpPr>
          <p:cNvPr id="90" name="Group 14">
            <a:extLst>
              <a:ext uri="{FF2B5EF4-FFF2-40B4-BE49-F238E27FC236}">
                <a16:creationId xmlns="" xmlns:a16="http://schemas.microsoft.com/office/drawing/2014/main" id="{EA991FAD-6E3D-4848-AAD3-03D691F30A77}"/>
              </a:ext>
            </a:extLst>
          </p:cNvPr>
          <p:cNvGrpSpPr/>
          <p:nvPr/>
        </p:nvGrpSpPr>
        <p:grpSpPr>
          <a:xfrm>
            <a:off x="8129187" y="5215175"/>
            <a:ext cx="1989983" cy="491256"/>
            <a:chOff x="8710012" y="5211166"/>
            <a:chExt cx="2021050" cy="481476"/>
          </a:xfrm>
        </p:grpSpPr>
        <p:sp>
          <p:nvSpPr>
            <p:cNvPr id="91" name="Rectangle 7"/>
            <p:cNvSpPr txBox="1">
              <a:spLocks/>
            </p:cNvSpPr>
            <p:nvPr/>
          </p:nvSpPr>
          <p:spPr bwMode="gray">
            <a:xfrm>
              <a:off x="8710012" y="5508007"/>
              <a:ext cx="2021049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9A46"/>
                </a:buClr>
              </a:pPr>
              <a:r>
                <a:rPr lang="es-ES_tradnl" sz="1224" dirty="0">
                  <a:solidFill>
                    <a:srgbClr val="000000"/>
                  </a:solidFill>
                </a:rPr>
                <a:t>Visión sistémica</a:t>
              </a:r>
            </a:p>
          </p:txBody>
        </p:sp>
        <p:sp>
          <p:nvSpPr>
            <p:cNvPr id="93" name="Rectangle 7"/>
            <p:cNvSpPr txBox="1">
              <a:spLocks/>
            </p:cNvSpPr>
            <p:nvPr/>
          </p:nvSpPr>
          <p:spPr bwMode="gray">
            <a:xfrm>
              <a:off x="8710013" y="5211166"/>
              <a:ext cx="2021049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9A46"/>
                </a:buClr>
              </a:pPr>
              <a:r>
                <a:rPr lang="es-ES_tradnl" sz="1224" dirty="0" smtClean="0">
                  <a:solidFill>
                    <a:srgbClr val="000000"/>
                  </a:solidFill>
                </a:rPr>
                <a:t>Objetivo </a:t>
              </a:r>
              <a:r>
                <a:rPr lang="es-ES_tradnl" sz="1224" dirty="0">
                  <a:solidFill>
                    <a:srgbClr val="000000"/>
                  </a:solidFill>
                </a:rPr>
                <a:t>común</a:t>
              </a:r>
            </a:p>
          </p:txBody>
        </p:sp>
      </p:grpSp>
      <p:grpSp>
        <p:nvGrpSpPr>
          <p:cNvPr id="94" name="Group 12">
            <a:extLst>
              <a:ext uri="{FF2B5EF4-FFF2-40B4-BE49-F238E27FC236}">
                <a16:creationId xmlns="" xmlns:a16="http://schemas.microsoft.com/office/drawing/2014/main" id="{7FAD23EA-6C82-4D86-8F85-DBC12F45D69F}"/>
              </a:ext>
            </a:extLst>
          </p:cNvPr>
          <p:cNvGrpSpPr/>
          <p:nvPr/>
        </p:nvGrpSpPr>
        <p:grpSpPr>
          <a:xfrm>
            <a:off x="2435843" y="5205998"/>
            <a:ext cx="7389049" cy="1007048"/>
            <a:chOff x="1860423" y="5202176"/>
            <a:chExt cx="7241952" cy="987000"/>
          </a:xfrm>
        </p:grpSpPr>
        <p:grpSp>
          <p:nvGrpSpPr>
            <p:cNvPr id="95" name="Group 10">
              <a:extLst>
                <a:ext uri="{FF2B5EF4-FFF2-40B4-BE49-F238E27FC236}">
                  <a16:creationId xmlns="" xmlns:a16="http://schemas.microsoft.com/office/drawing/2014/main" id="{6DF576DD-5337-4E7B-989D-7C945A7BC69C}"/>
                </a:ext>
              </a:extLst>
            </p:cNvPr>
            <p:cNvGrpSpPr/>
            <p:nvPr/>
          </p:nvGrpSpPr>
          <p:grpSpPr>
            <a:xfrm>
              <a:off x="1860423" y="5202176"/>
              <a:ext cx="5445631" cy="987000"/>
              <a:chOff x="1860423" y="5202176"/>
              <a:chExt cx="5445631" cy="987000"/>
            </a:xfrm>
          </p:grpSpPr>
          <p:sp>
            <p:nvSpPr>
              <p:cNvPr id="99" name="Oval 79"/>
              <p:cNvSpPr>
                <a:spLocks/>
              </p:cNvSpPr>
              <p:nvPr/>
            </p:nvSpPr>
            <p:spPr bwMode="gray">
              <a:xfrm>
                <a:off x="7118854" y="5837947"/>
                <a:ext cx="187200" cy="186828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</a:ln>
              <a:effectLst>
                <a:glow>
                  <a:schemeClr val="accent1">
                    <a:alpha val="40000"/>
                  </a:schemeClr>
                </a:glow>
                <a:outerShdw blurRad="101600" sx="64000" sy="64000" rotWithShape="0">
                  <a:schemeClr val="tx1"/>
                </a:outerShdw>
              </a:effectLst>
              <a:scene3d>
                <a:camera prst="orthographicFront"/>
                <a:lightRig rig="balanced" dir="t">
                  <a:rot lat="0" lon="0" rev="7800000"/>
                </a:lightRig>
              </a:scene3d>
              <a:sp3d>
                <a:bevelT w="254000" h="31750"/>
                <a:bevelB w="0" h="38100"/>
                <a:extrusionClr>
                  <a:schemeClr val="bg2"/>
                </a:extrusionClr>
                <a:contourClr>
                  <a:schemeClr val="accent3"/>
                </a:contour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>
                <a:noAutofit/>
              </a:bodyPr>
              <a:lstStyle/>
              <a:p>
                <a:pPr algn="ctr"/>
                <a:r>
                  <a:rPr lang="es-ES_tradnl" sz="1224" b="1" dirty="0">
                    <a:solidFill>
                      <a:srgbClr val="FFFFFF"/>
                    </a:solidFill>
                  </a:rPr>
                  <a:t>10</a:t>
                </a:r>
              </a:p>
            </p:txBody>
          </p:sp>
          <p:sp>
            <p:nvSpPr>
              <p:cNvPr id="100" name="Oval 73"/>
              <p:cNvSpPr>
                <a:spLocks/>
              </p:cNvSpPr>
              <p:nvPr/>
            </p:nvSpPr>
            <p:spPr bwMode="gray">
              <a:xfrm>
                <a:off x="1860424" y="5202176"/>
                <a:ext cx="187200" cy="186828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</a:ln>
              <a:effectLst>
                <a:glow>
                  <a:schemeClr val="accent1">
                    <a:alpha val="40000"/>
                  </a:schemeClr>
                </a:glow>
                <a:outerShdw blurRad="101600" sx="64000" sy="64000" rotWithShape="0">
                  <a:schemeClr val="tx1"/>
                </a:outerShdw>
              </a:effectLst>
              <a:scene3d>
                <a:camera prst="orthographicFront"/>
                <a:lightRig rig="balanced" dir="t">
                  <a:rot lat="0" lon="0" rev="7800000"/>
                </a:lightRig>
              </a:scene3d>
              <a:sp3d>
                <a:bevelT w="254000" h="31750"/>
                <a:bevelB w="0" h="38100"/>
                <a:extrusionClr>
                  <a:schemeClr val="bg2"/>
                </a:extrusionClr>
                <a:contourClr>
                  <a:schemeClr val="accent3"/>
                </a:contour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>
                <a:noAutofit/>
              </a:bodyPr>
              <a:lstStyle/>
              <a:p>
                <a:pPr algn="ctr"/>
                <a:r>
                  <a:rPr lang="es-ES_tradnl" sz="1224" b="1" dirty="0">
                    <a:solidFill>
                      <a:srgbClr val="FFFFFF"/>
                    </a:solidFill>
                  </a:rPr>
                  <a:t>1</a:t>
                </a:r>
              </a:p>
            </p:txBody>
          </p:sp>
          <p:sp>
            <p:nvSpPr>
              <p:cNvPr id="101" name="Rectangle 7"/>
              <p:cNvSpPr txBox="1"/>
              <p:nvPr/>
            </p:nvSpPr>
            <p:spPr bwMode="gray">
              <a:xfrm>
                <a:off x="2131562" y="5203273"/>
                <a:ext cx="1431264" cy="18463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913526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7607" lvl="1" indent="-195987" defTabSz="913526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66481" lvl="2" indent="-267255" defTabSz="913526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26835" lvl="3" indent="-158733" defTabSz="913526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65029" lvl="4" indent="-132818" defTabSz="913526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>
                  <a:buClr>
                    <a:srgbClr val="009A46"/>
                  </a:buClr>
                </a:pPr>
                <a:r>
                  <a:rPr lang="es-ES_tradnl" sz="1224" dirty="0">
                    <a:solidFill>
                      <a:srgbClr val="000000"/>
                    </a:solidFill>
                  </a:rPr>
                  <a:t>Liderar con humildad</a:t>
                </a:r>
              </a:p>
            </p:txBody>
          </p:sp>
          <p:sp>
            <p:nvSpPr>
              <p:cNvPr id="102" name="Oval 77"/>
              <p:cNvSpPr>
                <a:spLocks/>
              </p:cNvSpPr>
              <p:nvPr/>
            </p:nvSpPr>
            <p:spPr bwMode="gray">
              <a:xfrm>
                <a:off x="1860424" y="6002348"/>
                <a:ext cx="187200" cy="186828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</a:ln>
              <a:effectLst>
                <a:glow>
                  <a:schemeClr val="accent1">
                    <a:alpha val="40000"/>
                  </a:schemeClr>
                </a:glow>
                <a:outerShdw blurRad="101600" sx="64000" sy="64000" rotWithShape="0">
                  <a:schemeClr val="tx1"/>
                </a:outerShdw>
              </a:effectLst>
              <a:scene3d>
                <a:camera prst="orthographicFront"/>
                <a:lightRig rig="balanced" dir="t">
                  <a:rot lat="0" lon="0" rev="7800000"/>
                </a:lightRig>
              </a:scene3d>
              <a:sp3d>
                <a:bevelT w="254000" h="31750"/>
                <a:bevelB w="0" h="38100"/>
                <a:extrusionClr>
                  <a:schemeClr val="bg2"/>
                </a:extrusionClr>
                <a:contourClr>
                  <a:schemeClr val="accent3"/>
                </a:contour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>
                <a:noAutofit/>
              </a:bodyPr>
              <a:lstStyle/>
              <a:p>
                <a:pPr algn="ctr"/>
                <a:r>
                  <a:rPr lang="es-ES_tradnl" sz="1224" b="1" dirty="0">
                    <a:solidFill>
                      <a:srgbClr val="FFFFFF"/>
                    </a:solidFill>
                  </a:rPr>
                  <a:t>3</a:t>
                </a:r>
              </a:p>
            </p:txBody>
          </p:sp>
          <p:sp>
            <p:nvSpPr>
              <p:cNvPr id="104" name="Oval 75"/>
              <p:cNvSpPr>
                <a:spLocks/>
              </p:cNvSpPr>
              <p:nvPr/>
            </p:nvSpPr>
            <p:spPr bwMode="gray">
              <a:xfrm>
                <a:off x="1860423" y="5506935"/>
                <a:ext cx="187200" cy="186828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</a:ln>
              <a:effectLst>
                <a:glow>
                  <a:schemeClr val="accent1">
                    <a:alpha val="40000"/>
                  </a:schemeClr>
                </a:glow>
                <a:outerShdw blurRad="101600" sx="64000" sy="64000" rotWithShape="0">
                  <a:schemeClr val="tx1"/>
                </a:outerShdw>
              </a:effectLst>
              <a:scene3d>
                <a:camera prst="orthographicFront"/>
                <a:lightRig rig="balanced" dir="t">
                  <a:rot lat="0" lon="0" rev="7800000"/>
                </a:lightRig>
              </a:scene3d>
              <a:sp3d>
                <a:bevelT w="254000" h="31750"/>
                <a:bevelB w="0" h="38100"/>
                <a:extrusionClr>
                  <a:schemeClr val="bg2"/>
                </a:extrusionClr>
                <a:contourClr>
                  <a:schemeClr val="accent3"/>
                </a:contour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>
                <a:noAutofit/>
              </a:bodyPr>
              <a:lstStyle/>
              <a:p>
                <a:pPr algn="ctr"/>
                <a:r>
                  <a:rPr lang="es-ES_tradnl" sz="1224" b="1" dirty="0">
                    <a:solidFill>
                      <a:srgbClr val="FFFFFF"/>
                    </a:solidFill>
                  </a:rPr>
                  <a:t>2</a:t>
                </a:r>
              </a:p>
            </p:txBody>
          </p:sp>
          <p:sp>
            <p:nvSpPr>
              <p:cNvPr id="105" name="Rectangle 7"/>
              <p:cNvSpPr txBox="1"/>
              <p:nvPr/>
            </p:nvSpPr>
            <p:spPr bwMode="gray">
              <a:xfrm>
                <a:off x="2131561" y="5491115"/>
                <a:ext cx="1555527" cy="36926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913526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7607" lvl="1" indent="-195987" defTabSz="913526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66481" lvl="2" indent="-267255" defTabSz="913526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26835" lvl="3" indent="-158733" defTabSz="913526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65029" lvl="4" indent="-132818" defTabSz="913526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>
                  <a:buClr>
                    <a:srgbClr val="009A46"/>
                  </a:buClr>
                </a:pPr>
                <a:r>
                  <a:rPr lang="es-ES_tradnl" sz="1224" dirty="0">
                    <a:solidFill>
                      <a:srgbClr val="000000"/>
                    </a:solidFill>
                  </a:rPr>
                  <a:t>Respetar a todas las personas</a:t>
                </a:r>
              </a:p>
            </p:txBody>
          </p:sp>
        </p:grpSp>
        <p:grpSp>
          <p:nvGrpSpPr>
            <p:cNvPr id="96" name="Group 11">
              <a:extLst>
                <a:ext uri="{FF2B5EF4-FFF2-40B4-BE49-F238E27FC236}">
                  <a16:creationId xmlns="" xmlns:a16="http://schemas.microsoft.com/office/drawing/2014/main" id="{98B77453-4079-46DE-920B-1BA71A237F83}"/>
                </a:ext>
              </a:extLst>
            </p:cNvPr>
            <p:cNvGrpSpPr/>
            <p:nvPr/>
          </p:nvGrpSpPr>
          <p:grpSpPr>
            <a:xfrm>
              <a:off x="2131561" y="5837833"/>
              <a:ext cx="6970814" cy="350250"/>
              <a:chOff x="2131561" y="5837833"/>
              <a:chExt cx="13045133" cy="350250"/>
            </a:xfrm>
          </p:grpSpPr>
          <p:sp>
            <p:nvSpPr>
              <p:cNvPr id="97" name="Rectangle 7"/>
              <p:cNvSpPr txBox="1">
                <a:spLocks/>
              </p:cNvSpPr>
              <p:nvPr/>
            </p:nvSpPr>
            <p:spPr bwMode="gray">
              <a:xfrm>
                <a:off x="2131561" y="6003448"/>
                <a:ext cx="3110152" cy="18463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913526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7607" lvl="1" indent="-195987" defTabSz="913526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66481" lvl="2" indent="-267255" defTabSz="913526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26835" lvl="3" indent="-158733" defTabSz="913526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65029" lvl="4" indent="-132818" defTabSz="913526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>
                  <a:buClr>
                    <a:srgbClr val="009A46"/>
                  </a:buClr>
                </a:pPr>
                <a:r>
                  <a:rPr lang="es-ES_tradnl" sz="1224" dirty="0" smtClean="0">
                    <a:solidFill>
                      <a:srgbClr val="000000"/>
                    </a:solidFill>
                  </a:rPr>
                  <a:t>Pensar científicamente </a:t>
                </a:r>
                <a:endParaRPr lang="es-ES_tradnl" sz="1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Rectangle 7"/>
              <p:cNvSpPr txBox="1">
                <a:spLocks/>
              </p:cNvSpPr>
              <p:nvPr/>
            </p:nvSpPr>
            <p:spPr bwMode="gray">
              <a:xfrm>
                <a:off x="12066538" y="5837833"/>
                <a:ext cx="3110156" cy="18463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913526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7607" lvl="1" indent="-195987" defTabSz="913526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66481" lvl="2" indent="-267255" defTabSz="913526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26835" lvl="3" indent="-158733" defTabSz="913526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65029" lvl="4" indent="-132818" defTabSz="913526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>
                  <a:buClr>
                    <a:srgbClr val="009A46"/>
                  </a:buClr>
                </a:pPr>
                <a:r>
                  <a:rPr lang="es-ES_tradnl" sz="1224" dirty="0" smtClean="0">
                    <a:solidFill>
                      <a:srgbClr val="000000"/>
                    </a:solidFill>
                  </a:rPr>
                  <a:t>Cliente primero</a:t>
                </a:r>
                <a:endParaRPr lang="es-ES_tradnl" sz="1224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06" name="Rectangle 18">
            <a:extLst>
              <a:ext uri="{FF2B5EF4-FFF2-40B4-BE49-F238E27FC236}">
                <a16:creationId xmlns="" xmlns:a16="http://schemas.microsoft.com/office/drawing/2014/main" id="{8057FBA4-625B-4286-AA11-F9476784454A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8542560" y="2323598"/>
            <a:ext cx="2707276" cy="2078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369289" lvl="1">
              <a:spcBef>
                <a:spcPts val="816"/>
              </a:spcBef>
              <a:spcAft>
                <a:spcPts val="816"/>
              </a:spcAft>
              <a:buClr>
                <a:srgbClr val="009A46"/>
              </a:buClr>
            </a:pPr>
            <a:r>
              <a:rPr lang="es-ES_tradnl" sz="1224" dirty="0">
                <a:solidFill>
                  <a:srgbClr val="000000"/>
                </a:solidFill>
              </a:rPr>
              <a:t>Objetivo común</a:t>
            </a:r>
          </a:p>
          <a:p>
            <a:pPr marL="369289" lvl="1">
              <a:spcBef>
                <a:spcPts val="816"/>
              </a:spcBef>
              <a:spcAft>
                <a:spcPts val="816"/>
              </a:spcAft>
              <a:buClr>
                <a:srgbClr val="009A46"/>
              </a:buClr>
            </a:pPr>
            <a:r>
              <a:rPr lang="es-ES_tradnl" sz="1224" dirty="0">
                <a:solidFill>
                  <a:srgbClr val="000000"/>
                </a:solidFill>
              </a:rPr>
              <a:t> Mejora continua</a:t>
            </a:r>
          </a:p>
          <a:p>
            <a:pPr marL="369289" lvl="1">
              <a:spcBef>
                <a:spcPts val="816"/>
              </a:spcBef>
              <a:spcAft>
                <a:spcPts val="816"/>
              </a:spcAft>
              <a:buClr>
                <a:srgbClr val="009A46"/>
              </a:buClr>
            </a:pPr>
            <a:r>
              <a:rPr lang="es-ES_tradnl" sz="1224" dirty="0">
                <a:solidFill>
                  <a:srgbClr val="000000"/>
                </a:solidFill>
              </a:rPr>
              <a:t> Procesos eficientes</a:t>
            </a:r>
          </a:p>
          <a:p>
            <a:pPr marL="369289" lvl="1">
              <a:spcBef>
                <a:spcPts val="816"/>
              </a:spcBef>
              <a:spcAft>
                <a:spcPts val="816"/>
              </a:spcAft>
              <a:buClr>
                <a:srgbClr val="009A46"/>
              </a:buClr>
            </a:pPr>
            <a:r>
              <a:rPr lang="es-ES_tradnl" sz="1224" dirty="0">
                <a:solidFill>
                  <a:srgbClr val="000000"/>
                </a:solidFill>
              </a:rPr>
              <a:t> Desarrollo de personas</a:t>
            </a:r>
          </a:p>
          <a:p>
            <a:pPr marL="1619" lvl="1" indent="0">
              <a:spcBef>
                <a:spcPts val="0"/>
              </a:spcBef>
              <a:buClr>
                <a:srgbClr val="009A46"/>
              </a:buClr>
              <a:buFont typeface="Arial" charset="0"/>
              <a:buNone/>
            </a:pPr>
            <a:endParaRPr lang="es-ES_tradnl" sz="1224" dirty="0" smtClean="0">
              <a:solidFill>
                <a:srgbClr val="000000"/>
              </a:solidFill>
            </a:endParaRPr>
          </a:p>
          <a:p>
            <a:pPr marL="1619" lvl="1" indent="0">
              <a:spcBef>
                <a:spcPts val="0"/>
              </a:spcBef>
              <a:buClr>
                <a:srgbClr val="009A46"/>
              </a:buClr>
              <a:buFont typeface="Arial" charset="0"/>
              <a:buNone/>
            </a:pPr>
            <a:endParaRPr lang="es-ES_tradnl" sz="1224" dirty="0">
              <a:solidFill>
                <a:srgbClr val="000000"/>
              </a:solidFill>
            </a:endParaRPr>
          </a:p>
          <a:p>
            <a:pPr marL="1619" lvl="1" indent="0">
              <a:spcBef>
                <a:spcPts val="0"/>
              </a:spcBef>
              <a:buClr>
                <a:srgbClr val="009A46"/>
              </a:buClr>
              <a:buFont typeface="Arial" charset="0"/>
              <a:buNone/>
            </a:pPr>
            <a:r>
              <a:rPr lang="es-ES_tradnl" sz="1224" b="1" dirty="0" smtClean="0">
                <a:solidFill>
                  <a:srgbClr val="000000"/>
                </a:solidFill>
              </a:rPr>
              <a:t>Responsable</a:t>
            </a:r>
            <a:r>
              <a:rPr lang="es-ES_tradnl" sz="1224" b="1" dirty="0">
                <a:solidFill>
                  <a:srgbClr val="000000"/>
                </a:solidFill>
              </a:rPr>
              <a:t>: </a:t>
            </a:r>
            <a:r>
              <a:rPr lang="es-ES_tradnl" sz="1224" dirty="0">
                <a:solidFill>
                  <a:srgbClr val="000000"/>
                </a:solidFill>
              </a:rPr>
              <a:t>Todos</a:t>
            </a:r>
          </a:p>
        </p:txBody>
      </p:sp>
      <p:grpSp>
        <p:nvGrpSpPr>
          <p:cNvPr id="107" name="Group 45"/>
          <p:cNvGrpSpPr/>
          <p:nvPr/>
        </p:nvGrpSpPr>
        <p:grpSpPr>
          <a:xfrm>
            <a:off x="8615126" y="2308444"/>
            <a:ext cx="235097" cy="243209"/>
            <a:chOff x="8421792" y="201763"/>
            <a:chExt cx="296980" cy="344041"/>
          </a:xfrm>
        </p:grpSpPr>
        <p:sp>
          <p:nvSpPr>
            <p:cNvPr id="108" name="Oval 46"/>
            <p:cNvSpPr>
              <a:spLocks noChangeAspect="1"/>
            </p:cNvSpPr>
            <p:nvPr/>
          </p:nvSpPr>
          <p:spPr>
            <a:xfrm>
              <a:off x="8421792" y="450293"/>
              <a:ext cx="296980" cy="95511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lumMod val="65000"/>
                    <a:lumOff val="35000"/>
                  </a:srgbClr>
                </a:gs>
                <a:gs pos="100000">
                  <a:srgbClr val="C7E0FB">
                    <a:lumMod val="90000"/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8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224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09" name="Oval 47"/>
            <p:cNvSpPr>
              <a:spLocks noChangeAspect="1"/>
            </p:cNvSpPr>
            <p:nvPr/>
          </p:nvSpPr>
          <p:spPr>
            <a:xfrm>
              <a:off x="8436048" y="218550"/>
              <a:ext cx="268468" cy="270373"/>
            </a:xfrm>
            <a:prstGeom prst="ellipse">
              <a:avLst/>
            </a:prstGeom>
            <a:solidFill>
              <a:srgbClr val="0066CC"/>
            </a:solidFill>
            <a:ln w="9525">
              <a:noFill/>
            </a:ln>
            <a:effectLst/>
            <a:scene3d>
              <a:camera prst="orthographicFront"/>
              <a:lightRig rig="threePt" dir="t"/>
            </a:scene3d>
            <a:sp3d>
              <a:bevelT w="381000" h="381000"/>
              <a:contourClr>
                <a:schemeClr val="accent4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sz="1224" dirty="0">
                <a:solidFill>
                  <a:srgbClr val="000000"/>
                </a:solidFill>
              </a:endParaRPr>
            </a:p>
          </p:txBody>
        </p:sp>
        <p:sp>
          <p:nvSpPr>
            <p:cNvPr id="110" name="Arc 189"/>
            <p:cNvSpPr>
              <a:spLocks noChangeAspect="1"/>
            </p:cNvSpPr>
            <p:nvPr/>
          </p:nvSpPr>
          <p:spPr bwMode="gray">
            <a:xfrm rot="13438614">
              <a:off x="8430057" y="201763"/>
              <a:ext cx="279932" cy="281741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15486 w 43200"/>
                <a:gd name="T1" fmla="*/ 42317 h 43200"/>
                <a:gd name="T2" fmla="*/ 16178 w 43200"/>
                <a:gd name="T3" fmla="*/ 42508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</a:path>
                <a:path w="43200" h="43200" stroke="0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  <a:lnTo>
                    <a:pt x="21600" y="21600"/>
                  </a:lnTo>
                  <a:close/>
                </a:path>
              </a:pathLst>
            </a:custGeom>
            <a:noFill/>
            <a:ln w="41275">
              <a:solidFill>
                <a:srgbClr val="0066CC"/>
              </a:solidFill>
              <a:round/>
              <a:headEnd/>
              <a:tailEnd type="stealth" w="med" len="med"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wrap="none" anchor="ctr"/>
            <a:lstStyle/>
            <a:p>
              <a:pPr defTabSz="91428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224" kern="0" dirty="0">
                <a:solidFill>
                  <a:srgbClr val="FFFFFF"/>
                </a:solidFill>
                <a:latin typeface="Arial"/>
              </a:endParaRPr>
            </a:p>
          </p:txBody>
        </p:sp>
      </p:grpSp>
      <p:grpSp>
        <p:nvGrpSpPr>
          <p:cNvPr id="111" name="Group 49"/>
          <p:cNvGrpSpPr/>
          <p:nvPr/>
        </p:nvGrpSpPr>
        <p:grpSpPr>
          <a:xfrm>
            <a:off x="8604602" y="3499021"/>
            <a:ext cx="219177" cy="271239"/>
            <a:chOff x="8421792" y="191094"/>
            <a:chExt cx="296980" cy="354710"/>
          </a:xfrm>
        </p:grpSpPr>
        <p:sp>
          <p:nvSpPr>
            <p:cNvPr id="112" name="Oval 50"/>
            <p:cNvSpPr>
              <a:spLocks noChangeAspect="1"/>
            </p:cNvSpPr>
            <p:nvPr/>
          </p:nvSpPr>
          <p:spPr>
            <a:xfrm>
              <a:off x="8421792" y="450293"/>
              <a:ext cx="296980" cy="95511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lumMod val="65000"/>
                    <a:lumOff val="35000"/>
                  </a:srgbClr>
                </a:gs>
                <a:gs pos="100000">
                  <a:srgbClr val="C7E0FB">
                    <a:lumMod val="90000"/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defTabSz="91428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224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13" name="Oval 51"/>
            <p:cNvSpPr>
              <a:spLocks noChangeAspect="1"/>
            </p:cNvSpPr>
            <p:nvPr/>
          </p:nvSpPr>
          <p:spPr>
            <a:xfrm>
              <a:off x="8436048" y="218550"/>
              <a:ext cx="268468" cy="270373"/>
            </a:xfrm>
            <a:prstGeom prst="ellipse">
              <a:avLst/>
            </a:prstGeom>
            <a:solidFill>
              <a:srgbClr val="F29D2E"/>
            </a:solidFill>
            <a:ln w="9525">
              <a:noFill/>
            </a:ln>
            <a:effectLst/>
            <a:scene3d>
              <a:camera prst="orthographicFront"/>
              <a:lightRig rig="threePt" dir="t"/>
            </a:scene3d>
            <a:sp3d>
              <a:bevelT w="127000" h="127000"/>
              <a:contourClr>
                <a:schemeClr val="accent4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s-CL" sz="1224" dirty="0">
                <a:solidFill>
                  <a:srgbClr val="000000"/>
                </a:solidFill>
              </a:endParaRPr>
            </a:p>
          </p:txBody>
        </p:sp>
        <p:sp>
          <p:nvSpPr>
            <p:cNvPr id="114" name="Arc 189"/>
            <p:cNvSpPr>
              <a:spLocks noChangeAspect="1"/>
            </p:cNvSpPr>
            <p:nvPr/>
          </p:nvSpPr>
          <p:spPr bwMode="gray">
            <a:xfrm rot="4584094">
              <a:off x="8430067" y="190189"/>
              <a:ext cx="279932" cy="281741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15486 w 43200"/>
                <a:gd name="T1" fmla="*/ 42317 h 43200"/>
                <a:gd name="T2" fmla="*/ 16178 w 43200"/>
                <a:gd name="T3" fmla="*/ 42508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</a:path>
                <a:path w="43200" h="43200" stroke="0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  <a:lnTo>
                    <a:pt x="21600" y="21600"/>
                  </a:lnTo>
                  <a:close/>
                </a:path>
              </a:pathLst>
            </a:custGeom>
            <a:noFill/>
            <a:ln w="41275">
              <a:solidFill>
                <a:srgbClr val="F29D2E"/>
              </a:solidFill>
              <a:round/>
              <a:headEnd/>
              <a:tailEnd type="stealth" w="med" len="med"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wrap="none" anchor="ctr">
              <a:noAutofit/>
            </a:bodyPr>
            <a:lstStyle/>
            <a:p>
              <a:pPr defTabSz="91428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224" kern="0" dirty="0">
                <a:solidFill>
                  <a:srgbClr val="FFFFFF"/>
                </a:solidFill>
                <a:latin typeface="Arial"/>
              </a:endParaRPr>
            </a:p>
          </p:txBody>
        </p:sp>
      </p:grpSp>
      <p:grpSp>
        <p:nvGrpSpPr>
          <p:cNvPr id="116" name="Group 53"/>
          <p:cNvGrpSpPr>
            <a:grpSpLocks/>
          </p:cNvGrpSpPr>
          <p:nvPr/>
        </p:nvGrpSpPr>
        <p:grpSpPr>
          <a:xfrm>
            <a:off x="8613319" y="3107690"/>
            <a:ext cx="201743" cy="209548"/>
            <a:chOff x="1901516" y="4207679"/>
            <a:chExt cx="213772" cy="221715"/>
          </a:xfrm>
        </p:grpSpPr>
        <p:sp>
          <p:nvSpPr>
            <p:cNvPr id="117" name="Oval 54"/>
            <p:cNvSpPr>
              <a:spLocks noChangeAspect="1"/>
            </p:cNvSpPr>
            <p:nvPr/>
          </p:nvSpPr>
          <p:spPr>
            <a:xfrm>
              <a:off x="1907550" y="4226259"/>
              <a:ext cx="201705" cy="203135"/>
            </a:xfrm>
            <a:prstGeom prst="ellipse">
              <a:avLst/>
            </a:prstGeom>
            <a:solidFill>
              <a:srgbClr val="FF0000"/>
            </a:solidFill>
            <a:ln w="9525">
              <a:noFill/>
            </a:ln>
            <a:effectLst/>
            <a:scene3d>
              <a:camera prst="orthographicFront"/>
              <a:lightRig rig="threePt" dir="t"/>
            </a:scene3d>
            <a:sp3d>
              <a:bevelT w="127000" h="127000"/>
              <a:contourClr>
                <a:schemeClr val="accent4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sz="1224" dirty="0">
                <a:solidFill>
                  <a:srgbClr val="000000"/>
                </a:solidFill>
              </a:endParaRPr>
            </a:p>
          </p:txBody>
        </p:sp>
        <p:sp>
          <p:nvSpPr>
            <p:cNvPr id="118" name="Arc 189"/>
            <p:cNvSpPr>
              <a:spLocks noChangeAspect="1"/>
            </p:cNvSpPr>
            <p:nvPr/>
          </p:nvSpPr>
          <p:spPr bwMode="gray">
            <a:xfrm rot="8008421">
              <a:off x="1902202" y="4206993"/>
              <a:ext cx="212400" cy="213772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15486 w 43200"/>
                <a:gd name="T1" fmla="*/ 42317 h 43200"/>
                <a:gd name="T2" fmla="*/ 16178 w 43200"/>
                <a:gd name="T3" fmla="*/ 42508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</a:path>
                <a:path w="43200" h="43200" stroke="0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  <a:lnTo>
                    <a:pt x="21600" y="21600"/>
                  </a:lnTo>
                  <a:close/>
                </a:path>
              </a:pathLst>
            </a:custGeom>
            <a:noFill/>
            <a:ln w="41275">
              <a:solidFill>
                <a:srgbClr val="FF0000"/>
              </a:solidFill>
              <a:round/>
              <a:headEnd/>
              <a:tailEnd type="stealth" w="med" len="med"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wrap="none" anchor="ctr"/>
            <a:lstStyle/>
            <a:p>
              <a:pPr defTabSz="91428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224" kern="0" dirty="0">
                <a:solidFill>
                  <a:srgbClr val="FFFFFF"/>
                </a:solidFill>
                <a:latin typeface="Arial"/>
              </a:endParaRPr>
            </a:p>
          </p:txBody>
        </p:sp>
      </p:grpSp>
      <p:grpSp>
        <p:nvGrpSpPr>
          <p:cNvPr id="119" name="Group 56"/>
          <p:cNvGrpSpPr>
            <a:grpSpLocks/>
          </p:cNvGrpSpPr>
          <p:nvPr/>
        </p:nvGrpSpPr>
        <p:grpSpPr>
          <a:xfrm>
            <a:off x="8614311" y="2698221"/>
            <a:ext cx="214191" cy="219417"/>
            <a:chOff x="1902565" y="1502753"/>
            <a:chExt cx="211676" cy="216361"/>
          </a:xfrm>
        </p:grpSpPr>
        <p:sp>
          <p:nvSpPr>
            <p:cNvPr id="120" name="Oval 57"/>
            <p:cNvSpPr>
              <a:spLocks noChangeAspect="1"/>
            </p:cNvSpPr>
            <p:nvPr/>
          </p:nvSpPr>
          <p:spPr>
            <a:xfrm>
              <a:off x="1907550" y="1515979"/>
              <a:ext cx="201705" cy="203135"/>
            </a:xfrm>
            <a:prstGeom prst="ellipse">
              <a:avLst/>
            </a:prstGeom>
            <a:solidFill>
              <a:srgbClr val="92D050"/>
            </a:solidFill>
            <a:ln w="9525">
              <a:noFill/>
            </a:ln>
            <a:effectLst/>
            <a:scene3d>
              <a:camera prst="orthographicFront"/>
              <a:lightRig rig="threePt" dir="t"/>
            </a:scene3d>
            <a:sp3d>
              <a:bevelT w="127000" h="127000"/>
              <a:contourClr>
                <a:schemeClr val="accent4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s-CL" sz="1224" dirty="0">
                <a:solidFill>
                  <a:srgbClr val="000000"/>
                </a:solidFill>
              </a:endParaRPr>
            </a:p>
          </p:txBody>
        </p:sp>
        <p:sp>
          <p:nvSpPr>
            <p:cNvPr id="121" name="Arc 189"/>
            <p:cNvSpPr>
              <a:spLocks noChangeAspect="1"/>
            </p:cNvSpPr>
            <p:nvPr/>
          </p:nvSpPr>
          <p:spPr bwMode="gray">
            <a:xfrm rot="18000000">
              <a:off x="1903244" y="1502074"/>
              <a:ext cx="210317" cy="211676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15486 w 43200"/>
                <a:gd name="T1" fmla="*/ 42317 h 43200"/>
                <a:gd name="T2" fmla="*/ 16178 w 43200"/>
                <a:gd name="T3" fmla="*/ 42508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</a:path>
                <a:path w="43200" h="43200" stroke="0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  <a:lnTo>
                    <a:pt x="21600" y="21600"/>
                  </a:lnTo>
                  <a:close/>
                </a:path>
              </a:pathLst>
            </a:custGeom>
            <a:noFill/>
            <a:ln w="41275">
              <a:solidFill>
                <a:srgbClr val="92D050"/>
              </a:solidFill>
              <a:round/>
              <a:headEnd/>
              <a:tailEnd type="stealth" w="med" len="med"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wrap="none" anchor="ctr">
              <a:noAutofit/>
            </a:bodyPr>
            <a:lstStyle/>
            <a:p>
              <a:pPr defTabSz="91428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224" kern="0" dirty="0">
                <a:solidFill>
                  <a:srgbClr val="FFFFFF"/>
                </a:solidFill>
                <a:latin typeface="Arial"/>
              </a:endParaRPr>
            </a:p>
          </p:txBody>
        </p:sp>
      </p:grpSp>
      <p:cxnSp>
        <p:nvCxnSpPr>
          <p:cNvPr id="122" name="Straight Connector 6">
            <a:extLst>
              <a:ext uri="{FF2B5EF4-FFF2-40B4-BE49-F238E27FC236}">
                <a16:creationId xmlns="" xmlns:a16="http://schemas.microsoft.com/office/drawing/2014/main" id="{8FE39578-3857-4EF8-A11F-F43B121C4A0D}"/>
              </a:ext>
            </a:extLst>
          </p:cNvPr>
          <p:cNvCxnSpPr>
            <a:cxnSpLocks/>
          </p:cNvCxnSpPr>
          <p:nvPr/>
        </p:nvCxnSpPr>
        <p:spPr>
          <a:xfrm>
            <a:off x="3529686" y="1210354"/>
            <a:ext cx="0" cy="295200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Connector 84">
            <a:extLst>
              <a:ext uri="{FF2B5EF4-FFF2-40B4-BE49-F238E27FC236}">
                <a16:creationId xmlns="" xmlns:a16="http://schemas.microsoft.com/office/drawing/2014/main" id="{392F4FFA-BDD3-418C-BC37-30CC02158643}"/>
              </a:ext>
            </a:extLst>
          </p:cNvPr>
          <p:cNvCxnSpPr>
            <a:cxnSpLocks/>
          </p:cNvCxnSpPr>
          <p:nvPr/>
        </p:nvCxnSpPr>
        <p:spPr>
          <a:xfrm>
            <a:off x="8342273" y="1210354"/>
            <a:ext cx="0" cy="3270095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90">
            <a:extLst>
              <a:ext uri="{FF2B5EF4-FFF2-40B4-BE49-F238E27FC236}">
                <a16:creationId xmlns="" xmlns:a16="http://schemas.microsoft.com/office/drawing/2014/main" id="{4BEE8D70-5BA9-465C-8348-F7C79C7A605F}"/>
              </a:ext>
            </a:extLst>
          </p:cNvPr>
          <p:cNvCxnSpPr>
            <a:cxnSpLocks/>
          </p:cNvCxnSpPr>
          <p:nvPr/>
        </p:nvCxnSpPr>
        <p:spPr>
          <a:xfrm flipH="1">
            <a:off x="2273715" y="4690500"/>
            <a:ext cx="794653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Oval 44"/>
          <p:cNvSpPr>
            <a:spLocks/>
          </p:cNvSpPr>
          <p:nvPr/>
        </p:nvSpPr>
        <p:spPr>
          <a:xfrm>
            <a:off x="5143608" y="3655834"/>
            <a:ext cx="295324" cy="276631"/>
          </a:xfrm>
          <a:prstGeom prst="ellipse">
            <a:avLst/>
          </a:prstGeom>
          <a:solidFill>
            <a:schemeClr val="accent6"/>
          </a:solidFill>
          <a:ln w="9525">
            <a:noFill/>
          </a:ln>
          <a:effectLst>
            <a:glow>
              <a:schemeClr val="accent1">
                <a:alpha val="40000"/>
              </a:schemeClr>
            </a:glow>
            <a:outerShdw blurRad="101600" sx="64000" sy="64000" rotWithShape="0">
              <a:schemeClr val="tx1"/>
            </a:outerShdw>
          </a:effectLst>
          <a:scene3d>
            <a:camera prst="orthographicFront"/>
            <a:lightRig rig="balanced" dir="t">
              <a:rot lat="0" lon="0" rev="7800000"/>
            </a:lightRig>
          </a:scene3d>
          <a:sp3d>
            <a:bevelT w="254000" h="31750"/>
            <a:bevelB w="0" h="38100"/>
            <a:extrusionClr>
              <a:schemeClr val="bg2"/>
            </a:extrusionClr>
            <a:contourClr>
              <a:schemeClr val="accent3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s-ES_tradnl" sz="1224" b="1" dirty="0">
                <a:solidFill>
                  <a:srgbClr val="FFFFFF"/>
                </a:solidFill>
              </a:rPr>
              <a:t>III</a:t>
            </a:r>
          </a:p>
        </p:txBody>
      </p:sp>
      <p:grpSp>
        <p:nvGrpSpPr>
          <p:cNvPr id="127" name="Grupo 126"/>
          <p:cNvGrpSpPr/>
          <p:nvPr/>
        </p:nvGrpSpPr>
        <p:grpSpPr>
          <a:xfrm>
            <a:off x="4520251" y="1580888"/>
            <a:ext cx="1800000" cy="1800000"/>
            <a:chOff x="5067829" y="1686716"/>
            <a:chExt cx="1800000" cy="1800000"/>
          </a:xfrm>
        </p:grpSpPr>
        <p:sp>
          <p:nvSpPr>
            <p:cNvPr id="128" name="Oval 6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 rot="24365">
              <a:off x="5067829" y="1686716"/>
              <a:ext cx="1800000" cy="1800000"/>
            </a:xfrm>
            <a:prstGeom prst="ellipse">
              <a:avLst/>
            </a:prstGeom>
            <a:solidFill>
              <a:schemeClr val="hlink">
                <a:alpha val="5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9050">
                  <a:solidFill>
                    <a:schemeClr val="accent2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68392" dir="1308085" algn="ctr" rotWithShape="0">
                      <a:schemeClr val="bg2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 wrap="none" lIns="46644" tIns="46643" rIns="93283" bIns="46643" anchor="ctr"/>
            <a:lstStyle/>
            <a:p>
              <a:pPr algn="ctr"/>
              <a:endParaRPr lang="es-ES_tradnl" sz="1224" b="1">
                <a:solidFill>
                  <a:srgbClr val="009A46"/>
                </a:solidFill>
                <a:latin typeface="Arial"/>
              </a:endParaRPr>
            </a:p>
            <a:p>
              <a:pPr algn="ctr"/>
              <a:endParaRPr lang="es-ES_tradnl" sz="1224" b="1">
                <a:solidFill>
                  <a:srgbClr val="009A46"/>
                </a:solidFill>
                <a:latin typeface="Arial"/>
              </a:endParaRPr>
            </a:p>
          </p:txBody>
        </p:sp>
        <p:sp>
          <p:nvSpPr>
            <p:cNvPr id="129" name="Oval 42"/>
            <p:cNvSpPr>
              <a:spLocks/>
            </p:cNvSpPr>
            <p:nvPr/>
          </p:nvSpPr>
          <p:spPr>
            <a:xfrm>
              <a:off x="5674708" y="2265389"/>
              <a:ext cx="295324" cy="276631"/>
            </a:xfrm>
            <a:prstGeom prst="ellipse">
              <a:avLst/>
            </a:prstGeom>
            <a:solidFill>
              <a:schemeClr val="accent6"/>
            </a:solidFill>
            <a:ln w="9525">
              <a:noFill/>
            </a:ln>
            <a:effectLst>
              <a:glow>
                <a:schemeClr val="accent1">
                  <a:alpha val="40000"/>
                </a:schemeClr>
              </a:glow>
              <a:outerShdw blurRad="101600" sx="64000" sy="64000" rotWithShape="0">
                <a:schemeClr val="tx1"/>
              </a:outerShdw>
            </a:effectLst>
            <a:scene3d>
              <a:camera prst="orthographicFront"/>
              <a:lightRig rig="balanced" dir="t">
                <a:rot lat="0" lon="0" rev="7800000"/>
              </a:lightRig>
            </a:scene3d>
            <a:sp3d>
              <a:bevelT w="254000" h="31750"/>
              <a:bevelB w="0" h="38100"/>
              <a:extrusionClr>
                <a:schemeClr val="bg2"/>
              </a:extrusionClr>
              <a:contourClr>
                <a:schemeClr val="accent3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s-ES_tradnl" sz="1224" b="1" dirty="0">
                  <a:solidFill>
                    <a:srgbClr val="FFFFFF"/>
                  </a:solidFill>
                </a:rPr>
                <a:t>I</a:t>
              </a:r>
            </a:p>
          </p:txBody>
        </p:sp>
        <p:sp>
          <p:nvSpPr>
            <p:cNvPr id="130" name="Rectangle 9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5485595" y="2546877"/>
              <a:ext cx="730969" cy="3767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buClr>
                  <a:srgbClr val="009A46"/>
                </a:buClr>
              </a:pPr>
              <a:r>
                <a:rPr lang="es-ES_tradnl" sz="1224" b="1" dirty="0">
                  <a:solidFill>
                    <a:srgbClr val="000000"/>
                  </a:solidFill>
                </a:rPr>
                <a:t>Sistema </a:t>
              </a:r>
              <a:br>
                <a:rPr lang="es-ES_tradnl" sz="1224" b="1" dirty="0">
                  <a:solidFill>
                    <a:srgbClr val="000000"/>
                  </a:solidFill>
                </a:rPr>
              </a:br>
              <a:r>
                <a:rPr lang="es-ES_tradnl" sz="1224" b="1" dirty="0">
                  <a:solidFill>
                    <a:srgbClr val="000000"/>
                  </a:solidFill>
                </a:rPr>
                <a:t>Operativo</a:t>
              </a:r>
            </a:p>
          </p:txBody>
        </p:sp>
      </p:grpSp>
      <p:grpSp>
        <p:nvGrpSpPr>
          <p:cNvPr id="131" name="Grupo 130"/>
          <p:cNvGrpSpPr/>
          <p:nvPr/>
        </p:nvGrpSpPr>
        <p:grpSpPr>
          <a:xfrm>
            <a:off x="5683569" y="1580888"/>
            <a:ext cx="1800000" cy="1800000"/>
            <a:chOff x="6422218" y="1686716"/>
            <a:chExt cx="1800000" cy="1800000"/>
          </a:xfrm>
        </p:grpSpPr>
        <p:sp>
          <p:nvSpPr>
            <p:cNvPr id="132" name="Oval 7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 rot="24365">
              <a:off x="6422218" y="1686716"/>
              <a:ext cx="1800000" cy="1800000"/>
            </a:xfrm>
            <a:prstGeom prst="ellipse">
              <a:avLst/>
            </a:prstGeom>
            <a:solidFill>
              <a:schemeClr val="accent2">
                <a:alpha val="63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9050">
                  <a:solidFill>
                    <a:schemeClr val="accent2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68392" dir="1308085" algn="ctr" rotWithShape="0">
                      <a:schemeClr val="bg2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 wrap="none" lIns="279863" tIns="46643" rIns="93283" bIns="46643" anchor="ctr"/>
            <a:lstStyle/>
            <a:p>
              <a:endParaRPr lang="es-ES_tradnl" sz="1224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3" name="Oval 43"/>
            <p:cNvSpPr>
              <a:spLocks/>
            </p:cNvSpPr>
            <p:nvPr/>
          </p:nvSpPr>
          <p:spPr>
            <a:xfrm>
              <a:off x="7397090" y="2265171"/>
              <a:ext cx="295324" cy="276631"/>
            </a:xfrm>
            <a:prstGeom prst="ellipse">
              <a:avLst/>
            </a:prstGeom>
            <a:solidFill>
              <a:schemeClr val="accent6"/>
            </a:solidFill>
            <a:ln w="9525">
              <a:noFill/>
            </a:ln>
            <a:effectLst>
              <a:glow>
                <a:schemeClr val="accent1">
                  <a:alpha val="40000"/>
                </a:schemeClr>
              </a:glow>
              <a:outerShdw blurRad="101600" sx="64000" sy="64000" rotWithShape="0">
                <a:schemeClr val="tx1"/>
              </a:outerShdw>
            </a:effectLst>
            <a:scene3d>
              <a:camera prst="orthographicFront"/>
              <a:lightRig rig="balanced" dir="t">
                <a:rot lat="0" lon="0" rev="7800000"/>
              </a:lightRig>
            </a:scene3d>
            <a:sp3d>
              <a:bevelT w="254000" h="31750"/>
              <a:bevelB w="0" h="38100"/>
              <a:extrusionClr>
                <a:schemeClr val="bg2"/>
              </a:extrusionClr>
              <a:contourClr>
                <a:schemeClr val="accent3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s-ES_tradnl" sz="1224" b="1" dirty="0">
                  <a:solidFill>
                    <a:srgbClr val="FFFFFF"/>
                  </a:solidFill>
                </a:rPr>
                <a:t>II</a:t>
              </a:r>
            </a:p>
          </p:txBody>
        </p:sp>
        <p:sp>
          <p:nvSpPr>
            <p:cNvPr id="134" name="Rectangle 10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7067058" y="2590757"/>
              <a:ext cx="955390" cy="3767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buClr>
                  <a:srgbClr val="009A46"/>
                </a:buClr>
              </a:pPr>
              <a:r>
                <a:rPr lang="es-ES_tradnl" sz="1224" b="1" dirty="0">
                  <a:solidFill>
                    <a:srgbClr val="000000"/>
                  </a:solidFill>
                </a:rPr>
                <a:t>Sistemas de </a:t>
              </a:r>
            </a:p>
            <a:p>
              <a:pPr algn="ctr">
                <a:buClr>
                  <a:srgbClr val="009A46"/>
                </a:buClr>
              </a:pPr>
              <a:r>
                <a:rPr lang="es-ES_tradnl" sz="1224" b="1" dirty="0">
                  <a:solidFill>
                    <a:srgbClr val="000000"/>
                  </a:solidFill>
                </a:rPr>
                <a:t>Gestión</a:t>
              </a:r>
            </a:p>
          </p:txBody>
        </p:sp>
      </p:grpSp>
      <p:sp>
        <p:nvSpPr>
          <p:cNvPr id="135" name="Rectangle 11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5525721" y="3582717"/>
            <a:ext cx="1343316" cy="3767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buClr>
                <a:srgbClr val="009A46"/>
              </a:buClr>
            </a:pPr>
            <a:r>
              <a:rPr lang="es-ES_tradnl" sz="1224" b="1" dirty="0">
                <a:solidFill>
                  <a:srgbClr val="000000"/>
                </a:solidFill>
              </a:rPr>
              <a:t>Mentalidades y </a:t>
            </a:r>
          </a:p>
          <a:p>
            <a:pPr algn="ctr">
              <a:buClr>
                <a:srgbClr val="009A46"/>
              </a:buClr>
            </a:pPr>
            <a:r>
              <a:rPr lang="es-ES_tradnl" sz="1224" b="1" dirty="0">
                <a:solidFill>
                  <a:srgbClr val="000000"/>
                </a:solidFill>
              </a:rPr>
              <a:t>Comportamientos</a:t>
            </a:r>
          </a:p>
        </p:txBody>
      </p:sp>
      <p:sp>
        <p:nvSpPr>
          <p:cNvPr id="136" name="Line 13"/>
          <p:cNvSpPr>
            <a:spLocks noChangeShapeType="1"/>
          </p:cNvSpPr>
          <p:nvPr>
            <p:custDataLst>
              <p:tags r:id="rId7"/>
            </p:custDataLst>
          </p:nvPr>
        </p:nvSpPr>
        <p:spPr bwMode="gray">
          <a:xfrm rot="10800000">
            <a:off x="5866867" y="4146217"/>
            <a:ext cx="19363" cy="540000"/>
          </a:xfrm>
          <a:prstGeom prst="line">
            <a:avLst/>
          </a:prstGeom>
          <a:noFill/>
          <a:ln w="9525">
            <a:solidFill>
              <a:schemeClr val="hlink"/>
            </a:solidFill>
            <a:round/>
            <a:headEnd type="none" w="med" len="med"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_tradnl" sz="1224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7" name="Line 19"/>
          <p:cNvSpPr>
            <a:spLocks noChangeShapeType="1"/>
          </p:cNvSpPr>
          <p:nvPr>
            <p:custDataLst>
              <p:tags r:id="rId8"/>
            </p:custDataLst>
          </p:nvPr>
        </p:nvSpPr>
        <p:spPr bwMode="gray">
          <a:xfrm rot="5400000" flipH="1" flipV="1">
            <a:off x="4179846" y="1459491"/>
            <a:ext cx="2816" cy="1307045"/>
          </a:xfrm>
          <a:prstGeom prst="line">
            <a:avLst/>
          </a:prstGeom>
          <a:noFill/>
          <a:ln w="9525">
            <a:solidFill>
              <a:schemeClr val="hlink"/>
            </a:solidFill>
            <a:round/>
            <a:headEnd type="none" w="med" len="med"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_tradnl" sz="1224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8" name="Line 16"/>
          <p:cNvSpPr>
            <a:spLocks noChangeShapeType="1"/>
          </p:cNvSpPr>
          <p:nvPr>
            <p:custDataLst>
              <p:tags r:id="rId9"/>
            </p:custDataLst>
          </p:nvPr>
        </p:nvSpPr>
        <p:spPr bwMode="gray">
          <a:xfrm rot="16200000" flipV="1">
            <a:off x="7801633" y="1621539"/>
            <a:ext cx="0" cy="1080000"/>
          </a:xfrm>
          <a:prstGeom prst="line">
            <a:avLst/>
          </a:prstGeom>
          <a:noFill/>
          <a:ln w="9525">
            <a:solidFill>
              <a:schemeClr val="hlink"/>
            </a:solidFill>
            <a:round/>
            <a:headEnd type="none" w="med" len="med"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_tradnl" sz="1224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9" name="Rectángulo 138"/>
          <p:cNvSpPr/>
          <p:nvPr/>
        </p:nvSpPr>
        <p:spPr>
          <a:xfrm>
            <a:off x="8435954" y="6303993"/>
            <a:ext cx="1683215" cy="2807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619" lvl="1">
              <a:spcBef>
                <a:spcPts val="0"/>
              </a:spcBef>
            </a:pPr>
            <a:r>
              <a:rPr lang="es-ES_tradnl" sz="1224" b="1" dirty="0" smtClean="0">
                <a:solidFill>
                  <a:srgbClr val="000000"/>
                </a:solidFill>
                <a:latin typeface="Arial"/>
              </a:rPr>
              <a:t>Responsable</a:t>
            </a:r>
            <a:r>
              <a:rPr lang="es-ES_tradnl" sz="1224" b="1" dirty="0">
                <a:solidFill>
                  <a:srgbClr val="000000"/>
                </a:solidFill>
                <a:latin typeface="Arial"/>
              </a:rPr>
              <a:t>: </a:t>
            </a:r>
            <a:r>
              <a:rPr lang="es-ES_tradnl" sz="1224" dirty="0">
                <a:solidFill>
                  <a:srgbClr val="000000"/>
                </a:solidFill>
                <a:latin typeface="Arial"/>
              </a:rPr>
              <a:t>Todos</a:t>
            </a:r>
          </a:p>
        </p:txBody>
      </p:sp>
      <p:sp>
        <p:nvSpPr>
          <p:cNvPr id="140" name="Rectangle 18">
            <a:extLst>
              <a:ext uri="{FF2B5EF4-FFF2-40B4-BE49-F238E27FC236}">
                <a16:creationId xmlns="" xmlns:a16="http://schemas.microsoft.com/office/drawing/2014/main" id="{2B5236EE-4279-4A9C-8E6F-33FF67D51159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881760" y="2323598"/>
            <a:ext cx="2707276" cy="181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369289" lvl="1">
              <a:spcBef>
                <a:spcPts val="816"/>
              </a:spcBef>
              <a:spcAft>
                <a:spcPts val="816"/>
              </a:spcAft>
              <a:buClr>
                <a:srgbClr val="009A46"/>
              </a:buClr>
            </a:pPr>
            <a:r>
              <a:rPr lang="es-ES_tradnl" sz="1224" dirty="0">
                <a:solidFill>
                  <a:srgbClr val="000000"/>
                </a:solidFill>
              </a:rPr>
              <a:t>Procesos</a:t>
            </a:r>
          </a:p>
          <a:p>
            <a:pPr marL="369289" lvl="1">
              <a:spcBef>
                <a:spcPts val="816"/>
              </a:spcBef>
              <a:spcAft>
                <a:spcPts val="816"/>
              </a:spcAft>
              <a:buClr>
                <a:srgbClr val="009A46"/>
              </a:buClr>
            </a:pPr>
            <a:r>
              <a:rPr lang="es-ES_tradnl" sz="1224" dirty="0">
                <a:solidFill>
                  <a:srgbClr val="000000"/>
                </a:solidFill>
              </a:rPr>
              <a:t>Estándares</a:t>
            </a:r>
          </a:p>
          <a:p>
            <a:pPr marL="369289" lvl="1">
              <a:spcBef>
                <a:spcPts val="816"/>
              </a:spcBef>
              <a:spcAft>
                <a:spcPts val="816"/>
              </a:spcAft>
              <a:buClr>
                <a:srgbClr val="009A46"/>
              </a:buClr>
            </a:pPr>
            <a:r>
              <a:rPr lang="es-ES_tradnl" sz="1224" dirty="0">
                <a:solidFill>
                  <a:srgbClr val="000000"/>
                </a:solidFill>
              </a:rPr>
              <a:t>Palancas </a:t>
            </a:r>
            <a:r>
              <a:rPr lang="es-ES_tradnl" sz="1224" dirty="0" smtClean="0">
                <a:solidFill>
                  <a:srgbClr val="000000"/>
                </a:solidFill>
              </a:rPr>
              <a:t>técnicas</a:t>
            </a:r>
          </a:p>
          <a:p>
            <a:pPr marL="369289" lvl="1">
              <a:spcBef>
                <a:spcPts val="816"/>
              </a:spcBef>
              <a:spcAft>
                <a:spcPts val="816"/>
              </a:spcAft>
              <a:buClr>
                <a:srgbClr val="009A46"/>
              </a:buClr>
            </a:pPr>
            <a:endParaRPr lang="es-ES_tradnl" sz="1224" dirty="0">
              <a:solidFill>
                <a:srgbClr val="000000"/>
              </a:solidFill>
            </a:endParaRPr>
          </a:p>
          <a:p>
            <a:pPr marL="177206" lvl="1" indent="0">
              <a:spcBef>
                <a:spcPts val="816"/>
              </a:spcBef>
              <a:spcAft>
                <a:spcPts val="816"/>
              </a:spcAft>
              <a:buClr>
                <a:srgbClr val="009A46"/>
              </a:buClr>
              <a:buFont typeface="Arial" charset="0"/>
              <a:buNone/>
            </a:pPr>
            <a:r>
              <a:rPr lang="es-ES_tradnl" sz="1224" dirty="0">
                <a:solidFill>
                  <a:srgbClr val="000000"/>
                </a:solidFill>
              </a:rPr>
              <a:t> </a:t>
            </a:r>
            <a:r>
              <a:rPr lang="es-ES_tradnl" sz="1224" b="1" dirty="0">
                <a:solidFill>
                  <a:srgbClr val="000000"/>
                </a:solidFill>
              </a:rPr>
              <a:t>Responsable: </a:t>
            </a:r>
            <a:r>
              <a:rPr lang="es-ES_tradnl" sz="1224" dirty="0">
                <a:solidFill>
                  <a:srgbClr val="000000"/>
                </a:solidFill>
              </a:rPr>
              <a:t>Todos</a:t>
            </a:r>
          </a:p>
          <a:p>
            <a:pPr marL="177206" lvl="1" indent="0">
              <a:spcBef>
                <a:spcPts val="816"/>
              </a:spcBef>
              <a:spcAft>
                <a:spcPts val="816"/>
              </a:spcAft>
              <a:buClr>
                <a:srgbClr val="009A46"/>
              </a:buClr>
              <a:buFont typeface="Arial" charset="0"/>
              <a:buNone/>
            </a:pPr>
            <a:endParaRPr lang="es-ES_tradnl" sz="1224" dirty="0">
              <a:solidFill>
                <a:srgbClr val="000000"/>
              </a:solidFill>
            </a:endParaRPr>
          </a:p>
          <a:p>
            <a:pPr marL="1619" lvl="1" indent="0">
              <a:spcBef>
                <a:spcPts val="0"/>
              </a:spcBef>
              <a:buClr>
                <a:srgbClr val="009A46"/>
              </a:buClr>
              <a:buFont typeface="Arial" charset="0"/>
              <a:buNone/>
            </a:pPr>
            <a:endParaRPr lang="es-ES_tradnl" sz="1224" b="1" dirty="0" smtClean="0">
              <a:solidFill>
                <a:srgbClr val="000000"/>
              </a:solidFill>
            </a:endParaRPr>
          </a:p>
          <a:p>
            <a:pPr marL="1619" lvl="1" indent="0">
              <a:spcBef>
                <a:spcPts val="0"/>
              </a:spcBef>
              <a:buClr>
                <a:srgbClr val="009A46"/>
              </a:buClr>
              <a:buFont typeface="Arial" charset="0"/>
              <a:buNone/>
            </a:pPr>
            <a:endParaRPr lang="es-ES_tradnl" sz="1224" b="1" dirty="0" smtClean="0">
              <a:solidFill>
                <a:srgbClr val="000000"/>
              </a:solidFill>
            </a:endParaRPr>
          </a:p>
        </p:txBody>
      </p:sp>
      <p:sp>
        <p:nvSpPr>
          <p:cNvPr id="75" name="Rectángulo 74"/>
          <p:cNvSpPr/>
          <p:nvPr/>
        </p:nvSpPr>
        <p:spPr>
          <a:xfrm>
            <a:off x="0" y="6763405"/>
            <a:ext cx="8892000" cy="111152"/>
          </a:xfrm>
          <a:prstGeom prst="rect">
            <a:avLst/>
          </a:prstGeom>
          <a:solidFill>
            <a:schemeClr val="accent2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s-CL" smtClean="0">
              <a:solidFill>
                <a:srgbClr val="000000"/>
              </a:solidFill>
            </a:endParaRPr>
          </a:p>
        </p:txBody>
      </p:sp>
      <p:sp>
        <p:nvSpPr>
          <p:cNvPr id="76" name="Rectángulo 75"/>
          <p:cNvSpPr/>
          <p:nvPr/>
        </p:nvSpPr>
        <p:spPr>
          <a:xfrm>
            <a:off x="8892000" y="6763405"/>
            <a:ext cx="3312000" cy="111152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s-CL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95519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Object 17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6722674"/>
              </p:ext>
            </p:extLst>
          </p:nvPr>
        </p:nvGraphicFramePr>
        <p:xfrm>
          <a:off x="1524270" y="1"/>
          <a:ext cx="16197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224" name="Diapositiva de think-cell" r:id="rId18" imgW="360" imgH="360" progId="TCLayout.ActiveDocument.1">
                  <p:embed/>
                </p:oleObj>
              </mc:Choice>
              <mc:Fallback>
                <p:oleObj name="Diapositiva de think-cell" r:id="rId1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270" y="1"/>
                        <a:ext cx="16197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2" name="Rectangle 56"/>
          <p:cNvSpPr>
            <a:spLocks noChangeArrowheads="1"/>
          </p:cNvSpPr>
          <p:nvPr/>
        </p:nvSpPr>
        <p:spPr bwMode="gray">
          <a:xfrm>
            <a:off x="2512297" y="1444892"/>
            <a:ext cx="2782723" cy="713514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wrap="square" lIns="73462" tIns="73462" rIns="73462" bIns="73462" anchor="ctr">
            <a:spAutoFit/>
          </a:bodyPr>
          <a:lstStyle>
            <a:lvl1pPr defTabSz="895350" eaLnBrk="0" hangingPunct="0"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895350" eaLnBrk="0" hangingPunct="0"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95350" eaLnBrk="0" hangingPunct="0"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95350" eaLnBrk="0" hangingPunct="0"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95350" eaLnBrk="0" hangingPunct="0"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Aft>
                <a:spcPct val="30000"/>
              </a:spcAft>
              <a:buClr>
                <a:schemeClr val="tx2"/>
              </a:buClr>
              <a:defRPr/>
            </a:pPr>
            <a:r>
              <a:rPr lang="es-ES" sz="1224" dirty="0">
                <a:solidFill>
                  <a:schemeClr val="accent4"/>
                </a:solidFill>
              </a:rPr>
              <a:t>Conectar con la estrategia de la compañía para evitar la</a:t>
            </a:r>
            <a:r>
              <a:rPr lang="es-ES" sz="1224" b="0" dirty="0"/>
              <a:t> falta de foco y esfuerzos que no generan valor.</a:t>
            </a:r>
          </a:p>
        </p:txBody>
      </p:sp>
      <p:sp>
        <p:nvSpPr>
          <p:cNvPr id="149" name="Line 59"/>
          <p:cNvSpPr>
            <a:spLocks noChangeShapeType="1"/>
          </p:cNvSpPr>
          <p:nvPr/>
        </p:nvSpPr>
        <p:spPr bwMode="gray">
          <a:xfrm rot="5400000" flipH="1" flipV="1">
            <a:off x="4435883" y="5038353"/>
            <a:ext cx="433600" cy="0"/>
          </a:xfrm>
          <a:prstGeom prst="line">
            <a:avLst/>
          </a:prstGeom>
          <a:noFill/>
          <a:ln w="28575">
            <a:solidFill>
              <a:schemeClr val="accent6"/>
            </a:solidFill>
            <a:round/>
            <a:headEnd/>
            <a:tailEnd type="oval" w="med" len="med"/>
          </a:ln>
          <a:effectLst/>
          <a:extLst/>
        </p:spPr>
        <p:txBody>
          <a:bodyPr/>
          <a:lstStyle/>
          <a:p>
            <a:pPr>
              <a:defRPr/>
            </a:pPr>
            <a:endParaRPr lang="es-ES" sz="1665" dirty="0"/>
          </a:p>
        </p:txBody>
      </p:sp>
      <p:sp>
        <p:nvSpPr>
          <p:cNvPr id="150" name="Rectangle 58"/>
          <p:cNvSpPr>
            <a:spLocks noChangeArrowheads="1"/>
          </p:cNvSpPr>
          <p:nvPr/>
        </p:nvSpPr>
        <p:spPr bwMode="gray">
          <a:xfrm>
            <a:off x="2402219" y="5255153"/>
            <a:ext cx="3329636" cy="90189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wrap="square" lIns="73462" tIns="73462" rIns="73462" bIns="73462" anchor="ctr">
            <a:spAutoFit/>
          </a:bodyPr>
          <a:lstStyle>
            <a:lvl1pPr defTabSz="895350" eaLnBrk="0" hangingPunct="0"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895350" eaLnBrk="0" hangingPunct="0"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95350" eaLnBrk="0" hangingPunct="0"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95350" eaLnBrk="0" hangingPunct="0"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95350" eaLnBrk="0" hangingPunct="0"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Aft>
                <a:spcPct val="30000"/>
              </a:spcAft>
              <a:buClr>
                <a:schemeClr val="tx2"/>
              </a:buClr>
              <a:defRPr/>
            </a:pPr>
            <a:r>
              <a:rPr lang="es-ES" sz="1224" dirty="0">
                <a:solidFill>
                  <a:schemeClr val="accent4"/>
                </a:solidFill>
              </a:rPr>
              <a:t>Generar las condiciones para que los colaboradores puedan contribuir y generar ideas</a:t>
            </a:r>
            <a:r>
              <a:rPr lang="es-ES" sz="1224" b="0" dirty="0"/>
              <a:t>, evitando la “falta de motivación y desperdicio de talento e intelectual”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832100" y="705549"/>
            <a:ext cx="9055371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r>
              <a:rPr lang="es-ES" dirty="0"/>
              <a:t>El Sistema de Gestión está compuesto de cuatro subsistemas</a:t>
            </a:r>
          </a:p>
        </p:txBody>
      </p:sp>
      <p:sp>
        <p:nvSpPr>
          <p:cNvPr id="141" name="Line 61"/>
          <p:cNvSpPr>
            <a:spLocks noChangeShapeType="1"/>
          </p:cNvSpPr>
          <p:nvPr/>
        </p:nvSpPr>
        <p:spPr bwMode="gray">
          <a:xfrm rot="10800000" flipH="1" flipV="1">
            <a:off x="5295020" y="1783592"/>
            <a:ext cx="906573" cy="1"/>
          </a:xfrm>
          <a:prstGeom prst="line">
            <a:avLst/>
          </a:prstGeom>
          <a:noFill/>
          <a:ln w="28575">
            <a:solidFill>
              <a:schemeClr val="accent6"/>
            </a:solidFill>
            <a:round/>
            <a:headEnd/>
            <a:tailEnd type="oval" w="med" len="med"/>
          </a:ln>
          <a:effectLst>
            <a:glow rad="25400">
              <a:schemeClr val="bg1"/>
            </a:glow>
          </a:effectLst>
          <a:extLst/>
        </p:spPr>
        <p:txBody>
          <a:bodyPr/>
          <a:lstStyle/>
          <a:p>
            <a:pPr>
              <a:defRPr/>
            </a:pPr>
            <a:endParaRPr lang="es-ES" sz="1665" dirty="0"/>
          </a:p>
        </p:txBody>
      </p:sp>
      <p:sp>
        <p:nvSpPr>
          <p:cNvPr id="137" name="Line 62"/>
          <p:cNvSpPr>
            <a:spLocks noChangeShapeType="1"/>
          </p:cNvSpPr>
          <p:nvPr/>
        </p:nvSpPr>
        <p:spPr bwMode="gray">
          <a:xfrm rot="16200000" flipH="1" flipV="1">
            <a:off x="8974704" y="2845148"/>
            <a:ext cx="689382" cy="0"/>
          </a:xfrm>
          <a:prstGeom prst="line">
            <a:avLst/>
          </a:prstGeom>
          <a:noFill/>
          <a:ln w="28575">
            <a:solidFill>
              <a:schemeClr val="accent6"/>
            </a:solidFill>
            <a:round/>
            <a:headEnd/>
            <a:tailEnd type="oval" w="med" len="med"/>
          </a:ln>
          <a:effectLst/>
          <a:extLst/>
        </p:spPr>
        <p:txBody>
          <a:bodyPr/>
          <a:lstStyle/>
          <a:p>
            <a:pPr>
              <a:defRPr/>
            </a:pPr>
            <a:endParaRPr lang="es-ES" sz="1665" dirty="0"/>
          </a:p>
        </p:txBody>
      </p:sp>
      <p:sp>
        <p:nvSpPr>
          <p:cNvPr id="146" name="Line 60"/>
          <p:cNvSpPr>
            <a:spLocks noChangeShapeType="1"/>
          </p:cNvSpPr>
          <p:nvPr/>
        </p:nvSpPr>
        <p:spPr bwMode="gray">
          <a:xfrm flipH="1">
            <a:off x="7501124" y="6022705"/>
            <a:ext cx="511316" cy="0"/>
          </a:xfrm>
          <a:prstGeom prst="line">
            <a:avLst/>
          </a:prstGeom>
          <a:noFill/>
          <a:ln w="28575">
            <a:solidFill>
              <a:schemeClr val="accent6"/>
            </a:solidFill>
            <a:round/>
            <a:headEnd/>
            <a:tailEnd type="oval" w="med" len="med"/>
          </a:ln>
          <a:effectLst>
            <a:glow rad="25400">
              <a:schemeClr val="bg1"/>
            </a:glow>
          </a:effectLst>
          <a:extLst/>
        </p:spPr>
        <p:txBody>
          <a:bodyPr/>
          <a:lstStyle/>
          <a:p>
            <a:endParaRPr lang="es-ES" sz="1665" dirty="0"/>
          </a:p>
        </p:txBody>
      </p:sp>
      <p:sp>
        <p:nvSpPr>
          <p:cNvPr id="36" name="Rectangle 147">
            <a:extLst>
              <a:ext uri="{FF2B5EF4-FFF2-40B4-BE49-F238E27FC236}">
                <a16:creationId xmlns:a16="http://schemas.microsoft.com/office/drawing/2014/main" xmlns="" id="{20C32F31-E5B0-445F-A8F7-F2988A0F6435}"/>
              </a:ext>
            </a:extLst>
          </p:cNvPr>
          <p:cNvSpPr>
            <a:spLocks noChangeArrowheads="1"/>
          </p:cNvSpPr>
          <p:nvPr/>
        </p:nvSpPr>
        <p:spPr bwMode="gray">
          <a:xfrm>
            <a:off x="6367763" y="3251418"/>
            <a:ext cx="873713" cy="407048"/>
          </a:xfrm>
          <a:prstGeom prst="rect">
            <a:avLst/>
          </a:prstGeom>
          <a:solidFill>
            <a:srgbClr val="0070C0">
              <a:alpha val="50000"/>
            </a:srgbClr>
          </a:solidFill>
          <a:ln w="28575" algn="ctr">
            <a:solidFill>
              <a:srgbClr val="0070C0"/>
            </a:solidFill>
            <a:round/>
            <a:headEnd/>
            <a:tailEnd/>
          </a:ln>
          <a:effectLst/>
          <a:extLst/>
        </p:spPr>
        <p:txBody>
          <a:bodyPr vert="horz" wrap="square" lIns="18366" tIns="36731" rIns="18366" bIns="36731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algn="ctr"/>
            <a:r>
              <a:rPr lang="es-CL" sz="1000" dirty="0">
                <a:latin typeface="+mn-lt"/>
              </a:rPr>
              <a:t>Barómetro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xmlns="" id="{DFB39A3D-F2DF-4F2B-A133-0CCBE051644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051879" y="2765608"/>
            <a:ext cx="3505481" cy="2369671"/>
          </a:xfrm>
          <a:prstGeom prst="ellipse">
            <a:avLst/>
          </a:prstGeom>
          <a:solidFill>
            <a:srgbClr val="CBD7DD"/>
          </a:solidFill>
          <a:ln w="9525" cap="flat" cmpd="sng" algn="ctr">
            <a:noFill/>
            <a:prstDash val="solid"/>
          </a:ln>
          <a:effectLst/>
          <a:scene3d>
            <a:camera prst="orthographicFront"/>
            <a:lightRig rig="threePt" dir="t"/>
          </a:scene3d>
          <a:sp3d>
            <a:bevelT w="381000" h="381000"/>
            <a:contourClr>
              <a:srgbClr val="006983"/>
            </a:contourClr>
          </a:sp3d>
        </p:spPr>
        <p:txBody>
          <a:bodyPr rtlCol="0" anchor="ctr">
            <a:noAutofit/>
          </a:bodyPr>
          <a:lstStyle/>
          <a:p>
            <a:pPr algn="ctr" defTabSz="932962" fontAlgn="auto">
              <a:spcBef>
                <a:spcPts val="0"/>
              </a:spcBef>
              <a:spcAft>
                <a:spcPts val="0"/>
              </a:spcAft>
              <a:defRPr/>
            </a:pPr>
            <a:endParaRPr lang="es-CL" sz="1000" kern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56" name="68 Grupo">
            <a:extLst>
              <a:ext uri="{FF2B5EF4-FFF2-40B4-BE49-F238E27FC236}">
                <a16:creationId xmlns:a16="http://schemas.microsoft.com/office/drawing/2014/main" xmlns="" id="{276FD484-9313-443D-881D-C9BB2EC2E082}"/>
              </a:ext>
            </a:extLst>
          </p:cNvPr>
          <p:cNvGrpSpPr/>
          <p:nvPr/>
        </p:nvGrpSpPr>
        <p:grpSpPr>
          <a:xfrm>
            <a:off x="6020969" y="1730965"/>
            <a:ext cx="1567301" cy="1521210"/>
            <a:chOff x="3777216" y="1721807"/>
            <a:chExt cx="1614457" cy="1614459"/>
          </a:xfrm>
        </p:grpSpPr>
        <p:sp>
          <p:nvSpPr>
            <p:cNvPr id="93" name="Oval 92">
              <a:extLst>
                <a:ext uri="{FF2B5EF4-FFF2-40B4-BE49-F238E27FC236}">
                  <a16:creationId xmlns:a16="http://schemas.microsoft.com/office/drawing/2014/main" xmlns="" id="{883AFCFD-7FE5-4A22-B0D6-269E2BCCBAC6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>
            <a:xfrm>
              <a:off x="3777216" y="1721807"/>
              <a:ext cx="1614457" cy="1614459"/>
            </a:xfrm>
            <a:prstGeom prst="ellipse">
              <a:avLst/>
            </a:prstGeom>
            <a:solidFill>
              <a:srgbClr val="0066CC"/>
            </a:solidFill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 w="381000" h="381000"/>
              <a:contourClr>
                <a:srgbClr val="006983"/>
              </a:contourClr>
            </a:sp3d>
          </p:spPr>
          <p:txBody>
            <a:bodyPr rtlCol="0" anchor="ctr">
              <a:noAutofit/>
            </a:bodyPr>
            <a:lstStyle/>
            <a:p>
              <a:pPr algn="ctr" defTabSz="9329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000" kern="0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94" name="Text Box 190">
              <a:extLst>
                <a:ext uri="{FF2B5EF4-FFF2-40B4-BE49-F238E27FC236}">
                  <a16:creationId xmlns:a16="http://schemas.microsoft.com/office/drawing/2014/main" xmlns="" id="{CC6EEE1F-892D-44FA-B833-F5A3E3BD01AF}"/>
                </a:ext>
              </a:extLst>
            </p:cNvPr>
            <p:cNvSpPr txBox="1"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3856336" y="2450627"/>
              <a:ext cx="1449081" cy="163321"/>
            </a:xfrm>
            <a:prstGeom prst="rect">
              <a:avLst/>
            </a:prstGeom>
            <a:noFill/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wrap="square" lIns="0" tIns="0" rIns="0" bIns="0" anchor="ctr" anchorCtr="0">
              <a:noAutofit/>
            </a:bodyPr>
            <a:lstStyle>
              <a:lvl1pPr defTabSz="877888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447675" defTabSz="877888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895350" defTabSz="877888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344613" defTabSz="877888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77888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defTabSz="89570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CL" sz="1000" b="1" kern="0" dirty="0">
                  <a:solidFill>
                    <a:srgbClr val="FFFFFF"/>
                  </a:solidFill>
                  <a:latin typeface="+mn-lt"/>
                </a:rPr>
                <a:t>Objetivo Común</a:t>
              </a:r>
            </a:p>
          </p:txBody>
        </p:sp>
        <p:sp>
          <p:nvSpPr>
            <p:cNvPr id="95" name="Arc 189">
              <a:extLst>
                <a:ext uri="{FF2B5EF4-FFF2-40B4-BE49-F238E27FC236}">
                  <a16:creationId xmlns:a16="http://schemas.microsoft.com/office/drawing/2014/main" xmlns="" id="{832F06EA-9B3A-4FB9-BB24-286D8D55A016}"/>
                </a:ext>
              </a:extLst>
            </p:cNvPr>
            <p:cNvSpPr>
              <a:spLocks/>
            </p:cNvSpPr>
            <p:nvPr>
              <p:custDataLst>
                <p:tags r:id="rId15"/>
              </p:custDataLst>
            </p:nvPr>
          </p:nvSpPr>
          <p:spPr bwMode="gray">
            <a:xfrm rot="13467559">
              <a:off x="3816479" y="1766646"/>
              <a:ext cx="1532239" cy="1531285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15486 w 43200"/>
                <a:gd name="T1" fmla="*/ 42317 h 43200"/>
                <a:gd name="T2" fmla="*/ 16178 w 43200"/>
                <a:gd name="T3" fmla="*/ 42508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</a:path>
                <a:path w="43200" h="43200" stroke="0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  <a:lnTo>
                    <a:pt x="21600" y="21600"/>
                  </a:lnTo>
                  <a:close/>
                </a:path>
              </a:pathLst>
            </a:custGeom>
            <a:noFill/>
            <a:ln w="127000">
              <a:solidFill>
                <a:srgbClr val="0066CC"/>
              </a:solidFill>
              <a:round/>
              <a:headEnd/>
              <a:tailEnd type="stealth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wrap="none" anchor="ctr">
              <a:noAutofit/>
            </a:bodyPr>
            <a:lstStyle/>
            <a:p>
              <a:pPr defTabSz="9329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000" kern="0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62" name="99 Grupo">
            <a:extLst>
              <a:ext uri="{FF2B5EF4-FFF2-40B4-BE49-F238E27FC236}">
                <a16:creationId xmlns:a16="http://schemas.microsoft.com/office/drawing/2014/main" xmlns="" id="{5BFD41DD-8BD7-4361-80E8-DC14CF303186}"/>
              </a:ext>
            </a:extLst>
          </p:cNvPr>
          <p:cNvGrpSpPr/>
          <p:nvPr/>
        </p:nvGrpSpPr>
        <p:grpSpPr>
          <a:xfrm>
            <a:off x="8126195" y="3189839"/>
            <a:ext cx="1567301" cy="1521210"/>
            <a:chOff x="5474036" y="2781115"/>
            <a:chExt cx="1614457" cy="1614459"/>
          </a:xfrm>
        </p:grpSpPr>
        <p:sp>
          <p:nvSpPr>
            <p:cNvPr id="90" name="Oval 89">
              <a:extLst>
                <a:ext uri="{FF2B5EF4-FFF2-40B4-BE49-F238E27FC236}">
                  <a16:creationId xmlns:a16="http://schemas.microsoft.com/office/drawing/2014/main" xmlns="" id="{280FB82D-25E1-43A4-B948-3BAFDC3FAB6E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>
            <a:xfrm>
              <a:off x="5474036" y="2781115"/>
              <a:ext cx="1614457" cy="1614459"/>
            </a:xfrm>
            <a:prstGeom prst="ellipse">
              <a:avLst/>
            </a:prstGeom>
            <a:solidFill>
              <a:srgbClr val="92D050"/>
            </a:solidFill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 w="381000" h="381000"/>
              <a:contourClr>
                <a:srgbClr val="006983"/>
              </a:contourClr>
            </a:sp3d>
          </p:spPr>
          <p:txBody>
            <a:bodyPr rtlCol="0" anchor="ctr">
              <a:noAutofit/>
            </a:bodyPr>
            <a:lstStyle/>
            <a:p>
              <a:pPr algn="ctr" defTabSz="9329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000" kern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91" name="Arc 187">
              <a:extLst>
                <a:ext uri="{FF2B5EF4-FFF2-40B4-BE49-F238E27FC236}">
                  <a16:creationId xmlns:a16="http://schemas.microsoft.com/office/drawing/2014/main" xmlns="" id="{77B2E816-225E-4065-898A-B0B64031D853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gray">
            <a:xfrm rot="19111123">
              <a:off x="5521247" y="2825461"/>
              <a:ext cx="1532241" cy="1531283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15486 w 43200"/>
                <a:gd name="T1" fmla="*/ 42317 h 43200"/>
                <a:gd name="T2" fmla="*/ 16178 w 43200"/>
                <a:gd name="T3" fmla="*/ 42508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</a:path>
                <a:path w="43200" h="43200" stroke="0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  <a:lnTo>
                    <a:pt x="21600" y="21600"/>
                  </a:lnTo>
                  <a:close/>
                </a:path>
              </a:pathLst>
            </a:custGeom>
            <a:noFill/>
            <a:ln w="127000">
              <a:solidFill>
                <a:srgbClr val="92D050"/>
              </a:solidFill>
              <a:round/>
              <a:headEnd/>
              <a:tailEnd type="stealth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wrap="none" anchor="ctr">
              <a:noAutofit/>
            </a:bodyPr>
            <a:lstStyle/>
            <a:p>
              <a:pPr defTabSz="9329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000" kern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92" name="Text Box 191">
              <a:extLst>
                <a:ext uri="{FF2B5EF4-FFF2-40B4-BE49-F238E27FC236}">
                  <a16:creationId xmlns:a16="http://schemas.microsoft.com/office/drawing/2014/main" xmlns="" id="{62196B49-B4B3-46F4-BF88-A4A25EFBEE49}"/>
                </a:ext>
              </a:extLst>
            </p:cNvPr>
            <p:cNvSpPr txBox="1"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5664955" y="3506684"/>
              <a:ext cx="1244824" cy="163321"/>
            </a:xfrm>
            <a:prstGeom prst="rect">
              <a:avLst/>
            </a:prstGeom>
            <a:noFill/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 anchorCtr="0">
              <a:noAutofit/>
            </a:bodyPr>
            <a:lstStyle>
              <a:lvl1pPr defTabSz="877888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447675" defTabSz="877888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895350" defTabSz="877888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344613" defTabSz="877888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77888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defTabSz="89570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CL" sz="1000" b="1" kern="0" dirty="0">
                  <a:solidFill>
                    <a:srgbClr val="FFFFFF"/>
                  </a:solidFill>
                  <a:latin typeface="+mn-lt"/>
                </a:rPr>
                <a:t>Mejora continua</a:t>
              </a:r>
            </a:p>
          </p:txBody>
        </p:sp>
      </p:grpSp>
      <p:grpSp>
        <p:nvGrpSpPr>
          <p:cNvPr id="78" name="107 Grupo">
            <a:extLst>
              <a:ext uri="{FF2B5EF4-FFF2-40B4-BE49-F238E27FC236}">
                <a16:creationId xmlns:a16="http://schemas.microsoft.com/office/drawing/2014/main" xmlns="" id="{E6C7DDA0-1F3D-4D9D-AC36-A66F9A83BA28}"/>
              </a:ext>
            </a:extLst>
          </p:cNvPr>
          <p:cNvGrpSpPr/>
          <p:nvPr/>
        </p:nvGrpSpPr>
        <p:grpSpPr>
          <a:xfrm>
            <a:off x="6020970" y="4611281"/>
            <a:ext cx="1567301" cy="1521210"/>
            <a:chOff x="3773649" y="4029386"/>
            <a:chExt cx="1614457" cy="1614459"/>
          </a:xfrm>
        </p:grpSpPr>
        <p:sp>
          <p:nvSpPr>
            <p:cNvPr id="87" name="Oval 86">
              <a:extLst>
                <a:ext uri="{FF2B5EF4-FFF2-40B4-BE49-F238E27FC236}">
                  <a16:creationId xmlns:a16="http://schemas.microsoft.com/office/drawing/2014/main" xmlns="" id="{D3179043-66DF-4D41-8549-E558FE2DADE7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>
            <a:xfrm>
              <a:off x="3773649" y="4029386"/>
              <a:ext cx="1614457" cy="1614459"/>
            </a:xfrm>
            <a:prstGeom prst="ellipse">
              <a:avLst/>
            </a:prstGeom>
            <a:solidFill>
              <a:srgbClr val="FF0000"/>
            </a:solidFill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 w="381000" h="381000"/>
              <a:contourClr>
                <a:srgbClr val="006983"/>
              </a:contourClr>
            </a:sp3d>
          </p:spPr>
          <p:txBody>
            <a:bodyPr rtlCol="0" anchor="ctr">
              <a:noAutofit/>
            </a:bodyPr>
            <a:lstStyle/>
            <a:p>
              <a:pPr algn="ctr" defTabSz="9329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000" kern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88" name="Text Box 192">
              <a:extLst>
                <a:ext uri="{FF2B5EF4-FFF2-40B4-BE49-F238E27FC236}">
                  <a16:creationId xmlns:a16="http://schemas.microsoft.com/office/drawing/2014/main" xmlns="" id="{CBD74188-5EBF-4468-9070-B09AA702D4A9}"/>
                </a:ext>
              </a:extLst>
            </p:cNvPr>
            <p:cNvSpPr txBox="1"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3917960" y="4751996"/>
              <a:ext cx="1329280" cy="169238"/>
            </a:xfrm>
            <a:prstGeom prst="rect">
              <a:avLst/>
            </a:prstGeom>
            <a:noFill/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 anchorCtr="0">
              <a:noAutofit/>
            </a:bodyPr>
            <a:lstStyle>
              <a:lvl1pPr defTabSz="877888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447675" defTabSz="877888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895350" defTabSz="877888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344613" defTabSz="877888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77888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defTabSz="89570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CL" sz="1000" b="1" kern="0" dirty="0">
                  <a:solidFill>
                    <a:srgbClr val="FFFFFF"/>
                  </a:solidFill>
                  <a:latin typeface="+mn-lt"/>
                </a:rPr>
                <a:t>Procesos eficientes</a:t>
              </a:r>
            </a:p>
          </p:txBody>
        </p:sp>
        <p:sp>
          <p:nvSpPr>
            <p:cNvPr id="89" name="Arc 188">
              <a:extLst>
                <a:ext uri="{FF2B5EF4-FFF2-40B4-BE49-F238E27FC236}">
                  <a16:creationId xmlns:a16="http://schemas.microsoft.com/office/drawing/2014/main" xmlns="" id="{F9CE739F-CC88-4038-8F9A-3F57AD62B509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gray">
            <a:xfrm rot="2812423">
              <a:off x="3816479" y="4071081"/>
              <a:ext cx="1532239" cy="1531285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15486 w 43200"/>
                <a:gd name="T1" fmla="*/ 42317 h 43200"/>
                <a:gd name="T2" fmla="*/ 16178 w 43200"/>
                <a:gd name="T3" fmla="*/ 42508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</a:path>
                <a:path w="43200" h="43200" stroke="0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  <a:lnTo>
                    <a:pt x="21600" y="21600"/>
                  </a:lnTo>
                  <a:close/>
                </a:path>
              </a:pathLst>
            </a:custGeom>
            <a:noFill/>
            <a:ln w="127000">
              <a:solidFill>
                <a:srgbClr val="FF0000"/>
              </a:solidFill>
              <a:round/>
              <a:headEnd/>
              <a:tailEnd type="stealth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wrap="none" anchor="ctr">
              <a:noAutofit/>
            </a:bodyPr>
            <a:lstStyle/>
            <a:p>
              <a:pPr defTabSz="9329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000" kern="0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82" name="108 Grupo">
            <a:extLst>
              <a:ext uri="{FF2B5EF4-FFF2-40B4-BE49-F238E27FC236}">
                <a16:creationId xmlns:a16="http://schemas.microsoft.com/office/drawing/2014/main" xmlns="" id="{6158DBAF-1274-454B-9215-D3096FF809C8}"/>
              </a:ext>
            </a:extLst>
          </p:cNvPr>
          <p:cNvGrpSpPr/>
          <p:nvPr/>
        </p:nvGrpSpPr>
        <p:grpSpPr>
          <a:xfrm>
            <a:off x="3947038" y="3189839"/>
            <a:ext cx="1567301" cy="1521210"/>
            <a:chOff x="2058141" y="2787419"/>
            <a:chExt cx="1614457" cy="1614459"/>
          </a:xfrm>
        </p:grpSpPr>
        <p:sp>
          <p:nvSpPr>
            <p:cNvPr id="84" name="Oval 83">
              <a:extLst>
                <a:ext uri="{FF2B5EF4-FFF2-40B4-BE49-F238E27FC236}">
                  <a16:creationId xmlns:a16="http://schemas.microsoft.com/office/drawing/2014/main" xmlns="" id="{BDBAD70B-04AB-4287-85AD-E6228150B7A6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2058141" y="2787419"/>
              <a:ext cx="1614457" cy="1614459"/>
            </a:xfrm>
            <a:prstGeom prst="ellipse">
              <a:avLst/>
            </a:prstGeom>
            <a:solidFill>
              <a:srgbClr val="F29D2E"/>
            </a:solidFill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 w="381000" h="381000"/>
              <a:contourClr>
                <a:srgbClr val="006983"/>
              </a:contourClr>
            </a:sp3d>
          </p:spPr>
          <p:txBody>
            <a:bodyPr rtlCol="0" anchor="ctr">
              <a:noAutofit/>
            </a:bodyPr>
            <a:lstStyle/>
            <a:p>
              <a:pPr algn="ctr" defTabSz="9329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000" kern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85" name="Arc 189">
              <a:extLst>
                <a:ext uri="{FF2B5EF4-FFF2-40B4-BE49-F238E27FC236}">
                  <a16:creationId xmlns:a16="http://schemas.microsoft.com/office/drawing/2014/main" xmlns="" id="{448A3420-5670-486C-9699-81976C49046F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 rot="8623750">
              <a:off x="2103330" y="2825461"/>
              <a:ext cx="1532241" cy="1531283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15486 w 43200"/>
                <a:gd name="T1" fmla="*/ 42317 h 43200"/>
                <a:gd name="T2" fmla="*/ 16178 w 43200"/>
                <a:gd name="T3" fmla="*/ 42508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</a:path>
                <a:path w="43200" h="43200" stroke="0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  <a:lnTo>
                    <a:pt x="21600" y="21600"/>
                  </a:lnTo>
                  <a:close/>
                </a:path>
              </a:pathLst>
            </a:custGeom>
            <a:noFill/>
            <a:ln w="127000">
              <a:solidFill>
                <a:srgbClr val="F29D2E"/>
              </a:solidFill>
              <a:round/>
              <a:headEnd/>
              <a:tailEnd type="stealth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wrap="none" anchor="ctr">
              <a:noAutofit/>
            </a:bodyPr>
            <a:lstStyle/>
            <a:p>
              <a:pPr defTabSz="9329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000" kern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86" name="Text Box 190">
              <a:extLst>
                <a:ext uri="{FF2B5EF4-FFF2-40B4-BE49-F238E27FC236}">
                  <a16:creationId xmlns:a16="http://schemas.microsoft.com/office/drawing/2014/main" xmlns="" id="{8416C16B-24BF-4315-8DE0-BB7CE8D392AE}"/>
                </a:ext>
              </a:extLst>
            </p:cNvPr>
            <p:cNvSpPr txBox="1"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2203087" y="3431325"/>
              <a:ext cx="1344303" cy="326643"/>
            </a:xfrm>
            <a:prstGeom prst="rect">
              <a:avLst/>
            </a:prstGeom>
            <a:noFill/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 anchorCtr="0">
              <a:noAutofit/>
            </a:bodyPr>
            <a:lstStyle>
              <a:lvl1pPr defTabSz="877888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447675" defTabSz="877888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895350" defTabSz="877888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344613" defTabSz="877888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77888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defTabSz="89570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CL" sz="1000" b="1" kern="0" dirty="0">
                  <a:solidFill>
                    <a:srgbClr val="FFFFFF"/>
                  </a:solidFill>
                  <a:latin typeface="+mn-lt"/>
                </a:rPr>
                <a:t>Desarrollo de personas</a:t>
              </a:r>
            </a:p>
          </p:txBody>
        </p:sp>
      </p:grpSp>
      <p:sp>
        <p:nvSpPr>
          <p:cNvPr id="139" name="Rectangle 55"/>
          <p:cNvSpPr>
            <a:spLocks noChangeArrowheads="1"/>
          </p:cNvSpPr>
          <p:nvPr/>
        </p:nvSpPr>
        <p:spPr bwMode="gray">
          <a:xfrm>
            <a:off x="8012440" y="1624882"/>
            <a:ext cx="3109910" cy="917205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lIns="73462" tIns="73462" rIns="73462" bIns="73462" anchor="ctr">
            <a:spAutoFit/>
          </a:bodyPr>
          <a:lstStyle>
            <a:lvl1pPr defTabSz="895350" eaLnBrk="0" hangingPunct="0"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895350" eaLnBrk="0" hangingPunct="0"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95350" eaLnBrk="0" hangingPunct="0"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95350" eaLnBrk="0" hangingPunct="0"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95350" eaLnBrk="0" hangingPunct="0"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Aft>
                <a:spcPct val="30000"/>
              </a:spcAft>
              <a:buClr>
                <a:schemeClr val="tx2"/>
              </a:buClr>
              <a:defRPr/>
            </a:pPr>
            <a:r>
              <a:rPr lang="es-ES" sz="1224" dirty="0">
                <a:solidFill>
                  <a:schemeClr val="accent4"/>
                </a:solidFill>
              </a:rPr>
              <a:t>Mejorar continuamente la forma en que trabajamos </a:t>
            </a:r>
            <a:r>
              <a:rPr lang="es-ES" sz="1224" b="0" dirty="0"/>
              <a:t>para mejorar el desempeño como consecuencia de la simplicidad e innovación y no de la sobre-carga.</a:t>
            </a:r>
          </a:p>
        </p:txBody>
      </p:sp>
      <p:sp>
        <p:nvSpPr>
          <p:cNvPr id="147" name="Rectangle 57"/>
          <p:cNvSpPr>
            <a:spLocks noChangeArrowheads="1"/>
          </p:cNvSpPr>
          <p:nvPr/>
        </p:nvSpPr>
        <p:spPr bwMode="gray">
          <a:xfrm>
            <a:off x="8012440" y="5443537"/>
            <a:ext cx="3109910" cy="713514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wrap="square" lIns="73462" tIns="73462" rIns="73462" bIns="73462" anchor="ctr">
            <a:spAutoFit/>
          </a:bodyPr>
          <a:lstStyle>
            <a:lvl1pPr defTabSz="895350" eaLnBrk="0" hangingPunct="0"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895350" eaLnBrk="0" hangingPunct="0"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95350" eaLnBrk="0" hangingPunct="0"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95350" eaLnBrk="0" hangingPunct="0"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95350" eaLnBrk="0" hangingPunct="0"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Aft>
                <a:spcPct val="30000"/>
              </a:spcAft>
              <a:buClr>
                <a:schemeClr val="tx2"/>
              </a:buClr>
              <a:defRPr/>
            </a:pPr>
            <a:r>
              <a:rPr lang="es-ES" sz="1224" dirty="0">
                <a:solidFill>
                  <a:schemeClr val="accent4"/>
                </a:solidFill>
              </a:rPr>
              <a:t>Entender continuamente lo que nuestros clientes quieren y entregarlo de la mejor manera posible.</a:t>
            </a:r>
            <a:endParaRPr lang="es-ES" sz="1224" dirty="0"/>
          </a:p>
        </p:txBody>
      </p:sp>
    </p:spTree>
    <p:extLst>
      <p:ext uri="{BB962C8B-B14F-4D97-AF65-F5344CB8AC3E}">
        <p14:creationId xmlns:p14="http://schemas.microsoft.com/office/powerpoint/2010/main" val="3246859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2" grpId="0" animBg="1"/>
      <p:bldP spid="149" grpId="0" animBg="1"/>
      <p:bldP spid="150" grpId="0" animBg="1"/>
      <p:bldP spid="141" grpId="0" animBg="1"/>
      <p:bldP spid="137" grpId="0" animBg="1"/>
      <p:bldP spid="146" grpId="0" animBg="1"/>
      <p:bldP spid="139" grpId="0" animBg="1"/>
      <p:bldP spid="147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4466" name="Rectangle 2" hidden="1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72086600"/>
              </p:ext>
            </p:extLst>
          </p:nvPr>
        </p:nvGraphicFramePr>
        <p:xfrm>
          <a:off x="1524270" y="1"/>
          <a:ext cx="16197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48" name="Diapositiva de think-cell" r:id="rId20" imgW="0" imgH="0" progId="TCLayout.ActiveDocument.1">
                  <p:embed/>
                </p:oleObj>
              </mc:Choice>
              <mc:Fallback>
                <p:oleObj name="Diapositiva de think-cell" r:id="rId20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270" y="1"/>
                        <a:ext cx="16197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3 Rectángulo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s-CL" sz="1900" b="1" dirty="0" smtClean="0">
              <a:solidFill>
                <a:schemeClr val="tx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173" name="Rectangle 92"/>
          <p:cNvSpPr>
            <a:spLocks noChangeArrowheads="1"/>
          </p:cNvSpPr>
          <p:nvPr/>
        </p:nvSpPr>
        <p:spPr bwMode="gray">
          <a:xfrm>
            <a:off x="4293831" y="2806706"/>
            <a:ext cx="873713" cy="407048"/>
          </a:xfrm>
          <a:prstGeom prst="rect">
            <a:avLst/>
          </a:prstGeom>
          <a:solidFill>
            <a:srgbClr val="FFC000">
              <a:alpha val="50000"/>
            </a:srgbClr>
          </a:solidFill>
          <a:ln w="19050" algn="ctr">
            <a:solidFill>
              <a:srgbClr val="FFC000"/>
            </a:solidFill>
            <a:round/>
            <a:headEnd/>
            <a:tailEnd/>
          </a:ln>
          <a:effectLst/>
          <a:extLst/>
        </p:spPr>
        <p:txBody>
          <a:bodyPr vert="horz" wrap="square" lIns="18366" tIns="36731" rIns="18366" bIns="36731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algn="ctr"/>
            <a:r>
              <a:rPr lang="es-CL" sz="1000" dirty="0">
                <a:latin typeface="+mn-lt"/>
              </a:rPr>
              <a:t>Desarrollo de Rol</a:t>
            </a:r>
          </a:p>
        </p:txBody>
      </p:sp>
      <p:sp>
        <p:nvSpPr>
          <p:cNvPr id="166" name="Rectangle 82"/>
          <p:cNvSpPr>
            <a:spLocks noChangeArrowheads="1"/>
          </p:cNvSpPr>
          <p:nvPr/>
        </p:nvSpPr>
        <p:spPr bwMode="gray">
          <a:xfrm>
            <a:off x="4206460" y="4715694"/>
            <a:ext cx="1048455" cy="369664"/>
          </a:xfrm>
          <a:prstGeom prst="rect">
            <a:avLst/>
          </a:prstGeom>
          <a:solidFill>
            <a:srgbClr val="FFC000">
              <a:alpha val="50000"/>
            </a:srgbClr>
          </a:solidFill>
          <a:ln w="19050" algn="ctr">
            <a:solidFill>
              <a:srgbClr val="FFC000"/>
            </a:solidFill>
            <a:round/>
            <a:headEnd/>
            <a:tailEnd/>
          </a:ln>
          <a:effectLst/>
          <a:extLst/>
        </p:spPr>
        <p:txBody>
          <a:bodyPr vert="horz" wrap="square" lIns="18366" tIns="36731" rIns="18366" bIns="36731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algn="ctr"/>
            <a:r>
              <a:rPr lang="es-CL" sz="1000" dirty="0">
                <a:latin typeface="+mn-lt"/>
              </a:rPr>
              <a:t>Confirmación de rol/procesos</a:t>
            </a:r>
          </a:p>
        </p:txBody>
      </p:sp>
      <p:grpSp>
        <p:nvGrpSpPr>
          <p:cNvPr id="109" name="108 Grupo"/>
          <p:cNvGrpSpPr/>
          <p:nvPr/>
        </p:nvGrpSpPr>
        <p:grpSpPr>
          <a:xfrm>
            <a:off x="3947038" y="3189839"/>
            <a:ext cx="1567301" cy="1521210"/>
            <a:chOff x="2058141" y="2787419"/>
            <a:chExt cx="1614457" cy="1614459"/>
          </a:xfrm>
        </p:grpSpPr>
        <p:sp>
          <p:nvSpPr>
            <p:cNvPr id="93" name="Oval 92"/>
            <p:cNvSpPr>
              <a:spLocks/>
            </p:cNvSpPr>
            <p:nvPr>
              <p:custDataLst>
                <p:tags r:id="rId15"/>
              </p:custDataLst>
            </p:nvPr>
          </p:nvSpPr>
          <p:spPr>
            <a:xfrm>
              <a:off x="2058141" y="2787419"/>
              <a:ext cx="1614457" cy="1614459"/>
            </a:xfrm>
            <a:prstGeom prst="ellipse">
              <a:avLst/>
            </a:prstGeom>
            <a:solidFill>
              <a:srgbClr val="F29D2E"/>
            </a:solidFill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 w="381000" h="381000"/>
              <a:contourClr>
                <a:srgbClr val="006983"/>
              </a:contourClr>
            </a:sp3d>
          </p:spPr>
          <p:txBody>
            <a:bodyPr rtlCol="0" anchor="ctr">
              <a:noAutofit/>
            </a:bodyPr>
            <a:lstStyle/>
            <a:p>
              <a:pPr algn="ctr" defTabSz="9329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000" kern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97" name="Arc 189"/>
            <p:cNvSpPr>
              <a:spLocks/>
            </p:cNvSpPr>
            <p:nvPr>
              <p:custDataLst>
                <p:tags r:id="rId16"/>
              </p:custDataLst>
            </p:nvPr>
          </p:nvSpPr>
          <p:spPr bwMode="gray">
            <a:xfrm rot="8623750">
              <a:off x="2103330" y="2825461"/>
              <a:ext cx="1532241" cy="1531283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15486 w 43200"/>
                <a:gd name="T1" fmla="*/ 42317 h 43200"/>
                <a:gd name="T2" fmla="*/ 16178 w 43200"/>
                <a:gd name="T3" fmla="*/ 42508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</a:path>
                <a:path w="43200" h="43200" stroke="0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  <a:lnTo>
                    <a:pt x="21600" y="21600"/>
                  </a:lnTo>
                  <a:close/>
                </a:path>
              </a:pathLst>
            </a:custGeom>
            <a:noFill/>
            <a:ln w="127000">
              <a:solidFill>
                <a:srgbClr val="F29D2E"/>
              </a:solidFill>
              <a:round/>
              <a:headEnd/>
              <a:tailEnd type="stealth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wrap="none" anchor="ctr">
              <a:noAutofit/>
            </a:bodyPr>
            <a:lstStyle/>
            <a:p>
              <a:pPr defTabSz="9329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000" kern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98" name="Text Box 190"/>
            <p:cNvSpPr txBox="1"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2203087" y="3431325"/>
              <a:ext cx="1344303" cy="326643"/>
            </a:xfrm>
            <a:prstGeom prst="rect">
              <a:avLst/>
            </a:prstGeom>
            <a:noFill/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 anchorCtr="0">
              <a:noAutofit/>
            </a:bodyPr>
            <a:lstStyle>
              <a:lvl1pPr defTabSz="877888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447675" defTabSz="877888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895350" defTabSz="877888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344613" defTabSz="877888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77888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defTabSz="89570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CL" sz="1000" b="1" kern="0" dirty="0">
                  <a:solidFill>
                    <a:srgbClr val="FFFFFF"/>
                  </a:solidFill>
                  <a:latin typeface="+mn-lt"/>
                </a:rPr>
                <a:t>Desarrollo de personas</a:t>
              </a:r>
            </a:p>
          </p:txBody>
        </p:sp>
      </p:grpSp>
      <p:sp>
        <p:nvSpPr>
          <p:cNvPr id="161" name="Rectangle 160"/>
          <p:cNvSpPr>
            <a:spLocks noChangeArrowheads="1"/>
          </p:cNvSpPr>
          <p:nvPr/>
        </p:nvSpPr>
        <p:spPr bwMode="gray">
          <a:xfrm>
            <a:off x="5513588" y="3726875"/>
            <a:ext cx="772608" cy="447135"/>
          </a:xfrm>
          <a:prstGeom prst="rect">
            <a:avLst/>
          </a:prstGeom>
          <a:solidFill>
            <a:srgbClr val="FFC000">
              <a:alpha val="50000"/>
            </a:srgbClr>
          </a:solidFill>
          <a:ln w="19050" algn="ctr">
            <a:solidFill>
              <a:srgbClr val="FFC000"/>
            </a:solidFill>
            <a:round/>
            <a:headEnd/>
            <a:tailEnd/>
          </a:ln>
          <a:effectLst/>
          <a:extLst/>
        </p:spPr>
        <p:txBody>
          <a:bodyPr vert="horz" wrap="square" lIns="18366" tIns="36731" rIns="18366" bIns="36731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algn="ctr"/>
            <a:r>
              <a:rPr lang="es-CL" sz="1000" dirty="0">
                <a:latin typeface="+mn-lt"/>
              </a:rPr>
              <a:t>Matriz de habilidades</a:t>
            </a:r>
          </a:p>
        </p:txBody>
      </p:sp>
      <p:cxnSp>
        <p:nvCxnSpPr>
          <p:cNvPr id="76" name="Elbow Connector 75"/>
          <p:cNvCxnSpPr>
            <a:cxnSpLocks/>
            <a:stCxn id="166" idx="1"/>
            <a:endCxn id="173" idx="1"/>
          </p:cNvCxnSpPr>
          <p:nvPr/>
        </p:nvCxnSpPr>
        <p:spPr>
          <a:xfrm rot="10800000" flipH="1">
            <a:off x="4206460" y="3010232"/>
            <a:ext cx="87371" cy="1890296"/>
          </a:xfrm>
          <a:prstGeom prst="bentConnector3">
            <a:avLst>
              <a:gd name="adj1" fmla="val -479778"/>
            </a:avLst>
          </a:prstGeom>
          <a:noFill/>
          <a:ln w="63500">
            <a:solidFill>
              <a:srgbClr val="7030A0"/>
            </a:solidFill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32100" y="397773"/>
            <a:ext cx="9055371" cy="61555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r>
              <a:rPr lang="es-CL" dirty="0"/>
              <a:t>…y que funcionan interconectados, reforzándose mutuamente, como en cualquier otro sistema complejo</a:t>
            </a:r>
          </a:p>
        </p:txBody>
      </p:sp>
      <p:sp>
        <p:nvSpPr>
          <p:cNvPr id="197" name="Rectangle 147"/>
          <p:cNvSpPr>
            <a:spLocks noChangeArrowheads="1"/>
          </p:cNvSpPr>
          <p:nvPr/>
        </p:nvSpPr>
        <p:spPr bwMode="gray">
          <a:xfrm>
            <a:off x="6367763" y="3251418"/>
            <a:ext cx="873713" cy="407048"/>
          </a:xfrm>
          <a:prstGeom prst="rect">
            <a:avLst/>
          </a:prstGeom>
          <a:solidFill>
            <a:srgbClr val="0070C0">
              <a:alpha val="50000"/>
            </a:srgbClr>
          </a:solidFill>
          <a:ln w="28575" algn="ctr">
            <a:solidFill>
              <a:srgbClr val="0070C0"/>
            </a:solidFill>
            <a:round/>
            <a:headEnd/>
            <a:tailEnd/>
          </a:ln>
          <a:effectLst/>
          <a:extLst/>
        </p:spPr>
        <p:txBody>
          <a:bodyPr vert="horz" wrap="square" lIns="18366" tIns="36731" rIns="18366" bIns="36731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algn="ctr"/>
            <a:r>
              <a:rPr lang="es-CL" sz="1000" dirty="0">
                <a:latin typeface="+mn-lt"/>
              </a:rPr>
              <a:t>Barómetro</a:t>
            </a:r>
          </a:p>
        </p:txBody>
      </p:sp>
      <p:sp>
        <p:nvSpPr>
          <p:cNvPr id="83" name="Oval 82"/>
          <p:cNvSpPr/>
          <p:nvPr>
            <p:custDataLst>
              <p:tags r:id="rId5"/>
            </p:custDataLst>
          </p:nvPr>
        </p:nvSpPr>
        <p:spPr>
          <a:xfrm>
            <a:off x="5051879" y="2765608"/>
            <a:ext cx="3505481" cy="2369671"/>
          </a:xfrm>
          <a:prstGeom prst="ellipse">
            <a:avLst/>
          </a:prstGeom>
          <a:solidFill>
            <a:srgbClr val="CBD7DD"/>
          </a:solidFill>
          <a:ln w="9525" cap="flat" cmpd="sng" algn="ctr">
            <a:noFill/>
            <a:prstDash val="solid"/>
          </a:ln>
          <a:effectLst/>
          <a:scene3d>
            <a:camera prst="orthographicFront"/>
            <a:lightRig rig="threePt" dir="t"/>
          </a:scene3d>
          <a:sp3d>
            <a:bevelT w="381000" h="381000"/>
            <a:contourClr>
              <a:srgbClr val="006983"/>
            </a:contourClr>
          </a:sp3d>
        </p:spPr>
        <p:txBody>
          <a:bodyPr rtlCol="0" anchor="ctr">
            <a:noAutofit/>
          </a:bodyPr>
          <a:lstStyle/>
          <a:p>
            <a:pPr algn="ctr" defTabSz="932962" fontAlgn="auto">
              <a:spcBef>
                <a:spcPts val="0"/>
              </a:spcBef>
              <a:spcAft>
                <a:spcPts val="0"/>
              </a:spcAft>
              <a:defRPr/>
            </a:pPr>
            <a:endParaRPr lang="es-CL" sz="1000" kern="0">
              <a:solidFill>
                <a:srgbClr val="000000"/>
              </a:solidFill>
              <a:latin typeface="+mn-lt"/>
            </a:endParaRPr>
          </a:p>
        </p:txBody>
      </p:sp>
      <p:cxnSp>
        <p:nvCxnSpPr>
          <p:cNvPr id="53" name="Elbow Connector 52"/>
          <p:cNvCxnSpPr>
            <a:stCxn id="191" idx="3"/>
            <a:endCxn id="156" idx="3"/>
          </p:cNvCxnSpPr>
          <p:nvPr/>
        </p:nvCxnSpPr>
        <p:spPr>
          <a:xfrm>
            <a:off x="9346701" y="3010231"/>
            <a:ext cx="12329" cy="1871604"/>
          </a:xfrm>
          <a:prstGeom prst="bentConnector3">
            <a:avLst>
              <a:gd name="adj1" fmla="val 3800000"/>
            </a:avLst>
          </a:prstGeom>
          <a:noFill/>
          <a:ln w="63500">
            <a:solidFill>
              <a:srgbClr val="7030A0"/>
            </a:solidFill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5" name="TextBox 54"/>
          <p:cNvSpPr txBox="1"/>
          <p:nvPr/>
        </p:nvSpPr>
        <p:spPr>
          <a:xfrm>
            <a:off x="10026822" y="3232703"/>
            <a:ext cx="1123778" cy="135682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/>
            </a:solidFill>
          </a:ln>
        </p:spPr>
        <p:txBody>
          <a:bodyPr vert="horz" wrap="square" lIns="36731" tIns="36731" rIns="36731" bIns="36731" rtlCol="0" anchor="ctr" anchorCtr="0"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s-CL" dirty="0"/>
              <a:t>Los planes de acción (</a:t>
            </a:r>
            <a:r>
              <a:rPr lang="es-CL" dirty="0" err="1"/>
              <a:t>PIT</a:t>
            </a:r>
            <a:r>
              <a:rPr lang="es-CL" dirty="0"/>
              <a:t>) definidos en la resolución de problemas se siguen en cuanto a su avance y efectividad</a:t>
            </a:r>
          </a:p>
        </p:txBody>
      </p:sp>
      <p:cxnSp>
        <p:nvCxnSpPr>
          <p:cNvPr id="56" name="Elbow Connector 55"/>
          <p:cNvCxnSpPr>
            <a:stCxn id="156" idx="2"/>
            <a:endCxn id="194" idx="2"/>
          </p:cNvCxnSpPr>
          <p:nvPr/>
        </p:nvCxnSpPr>
        <p:spPr>
          <a:xfrm rot="5400000">
            <a:off x="7006018" y="3678322"/>
            <a:ext cx="496791" cy="3310865"/>
          </a:xfrm>
          <a:prstGeom prst="bentConnector3">
            <a:avLst>
              <a:gd name="adj1" fmla="val 297518"/>
            </a:avLst>
          </a:prstGeom>
          <a:noFill/>
          <a:ln w="63500">
            <a:solidFill>
              <a:srgbClr val="7030A0"/>
            </a:solidFill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5" name="Straight Connector 64"/>
          <p:cNvCxnSpPr>
            <a:cxnSpLocks/>
            <a:stCxn id="55" idx="1"/>
          </p:cNvCxnSpPr>
          <p:nvPr/>
        </p:nvCxnSpPr>
        <p:spPr>
          <a:xfrm flipH="1" flipV="1">
            <a:off x="9864266" y="3908147"/>
            <a:ext cx="162556" cy="2970"/>
          </a:xfrm>
          <a:prstGeom prst="line">
            <a:avLst/>
          </a:prstGeom>
          <a:ln w="19050">
            <a:solidFill>
              <a:schemeClr val="accent6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0" name="99 Grupo"/>
          <p:cNvGrpSpPr/>
          <p:nvPr/>
        </p:nvGrpSpPr>
        <p:grpSpPr>
          <a:xfrm>
            <a:off x="8126195" y="3189839"/>
            <a:ext cx="1567301" cy="1521210"/>
            <a:chOff x="5474036" y="2781115"/>
            <a:chExt cx="1614457" cy="1614459"/>
          </a:xfrm>
        </p:grpSpPr>
        <p:sp>
          <p:nvSpPr>
            <p:cNvPr id="94" name="Oval 93"/>
            <p:cNvSpPr>
              <a:spLocks/>
            </p:cNvSpPr>
            <p:nvPr>
              <p:custDataLst>
                <p:tags r:id="rId12"/>
              </p:custDataLst>
            </p:nvPr>
          </p:nvSpPr>
          <p:spPr>
            <a:xfrm>
              <a:off x="5474036" y="2781115"/>
              <a:ext cx="1614457" cy="1614459"/>
            </a:xfrm>
            <a:prstGeom prst="ellipse">
              <a:avLst/>
            </a:prstGeom>
            <a:solidFill>
              <a:srgbClr val="92D050"/>
            </a:solidFill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 w="381000" h="381000"/>
              <a:contourClr>
                <a:srgbClr val="006983"/>
              </a:contourClr>
            </a:sp3d>
          </p:spPr>
          <p:txBody>
            <a:bodyPr rtlCol="0" anchor="ctr">
              <a:noAutofit/>
            </a:bodyPr>
            <a:lstStyle/>
            <a:p>
              <a:pPr algn="ctr" defTabSz="9329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000" kern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95" name="Arc 187"/>
            <p:cNvSpPr>
              <a:spLocks/>
            </p:cNvSpPr>
            <p:nvPr>
              <p:custDataLst>
                <p:tags r:id="rId13"/>
              </p:custDataLst>
            </p:nvPr>
          </p:nvSpPr>
          <p:spPr bwMode="gray">
            <a:xfrm rot="19111123">
              <a:off x="5521247" y="2825461"/>
              <a:ext cx="1532241" cy="1531283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15486 w 43200"/>
                <a:gd name="T1" fmla="*/ 42317 h 43200"/>
                <a:gd name="T2" fmla="*/ 16178 w 43200"/>
                <a:gd name="T3" fmla="*/ 42508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</a:path>
                <a:path w="43200" h="43200" stroke="0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  <a:lnTo>
                    <a:pt x="21600" y="21600"/>
                  </a:lnTo>
                  <a:close/>
                </a:path>
              </a:pathLst>
            </a:custGeom>
            <a:noFill/>
            <a:ln w="127000">
              <a:solidFill>
                <a:srgbClr val="92D050"/>
              </a:solidFill>
              <a:round/>
              <a:headEnd/>
              <a:tailEnd type="stealth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wrap="none" anchor="ctr">
              <a:noAutofit/>
            </a:bodyPr>
            <a:lstStyle/>
            <a:p>
              <a:pPr defTabSz="9329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000" kern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96" name="Text Box 191"/>
            <p:cNvSpPr txBox="1"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5664955" y="3506684"/>
              <a:ext cx="1244824" cy="163321"/>
            </a:xfrm>
            <a:prstGeom prst="rect">
              <a:avLst/>
            </a:prstGeom>
            <a:noFill/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 anchorCtr="0">
              <a:noAutofit/>
            </a:bodyPr>
            <a:lstStyle>
              <a:lvl1pPr defTabSz="877888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447675" defTabSz="877888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895350" defTabSz="877888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344613" defTabSz="877888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77888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defTabSz="89570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CL" sz="1000" b="1" kern="0" dirty="0">
                  <a:solidFill>
                    <a:srgbClr val="FFFFFF"/>
                  </a:solidFill>
                  <a:latin typeface="+mn-lt"/>
                </a:rPr>
                <a:t>Mejora continua</a:t>
              </a:r>
            </a:p>
          </p:txBody>
        </p:sp>
      </p:grpSp>
      <p:cxnSp>
        <p:nvCxnSpPr>
          <p:cNvPr id="52" name="Elbow Connector 51"/>
          <p:cNvCxnSpPr>
            <a:stCxn id="194" idx="1"/>
            <a:endCxn id="166" idx="2"/>
          </p:cNvCxnSpPr>
          <p:nvPr/>
        </p:nvCxnSpPr>
        <p:spPr>
          <a:xfrm rot="10800000">
            <a:off x="4730688" y="5085358"/>
            <a:ext cx="431436" cy="293267"/>
          </a:xfrm>
          <a:prstGeom prst="bentConnector2">
            <a:avLst/>
          </a:prstGeom>
          <a:noFill/>
          <a:ln w="63500">
            <a:solidFill>
              <a:srgbClr val="7030A0"/>
            </a:solidFill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" name="TextBox 7"/>
          <p:cNvSpPr txBox="1"/>
          <p:nvPr/>
        </p:nvSpPr>
        <p:spPr>
          <a:xfrm>
            <a:off x="8326531" y="1323917"/>
            <a:ext cx="2547970" cy="77589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/>
            </a:solidFill>
          </a:ln>
        </p:spPr>
        <p:txBody>
          <a:bodyPr vert="horz" wrap="square" lIns="36731" tIns="36731" rIns="36731" bIns="36731" rtlCol="0" anchor="ctr" anchorCtr="0"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s-CL" dirty="0"/>
              <a:t>Las desviaciones en indicadores, versus las metas definidas, se identifican en los diálogos de desempeño y se atacan mediante la resolución de problemas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3724395" y="1413762"/>
            <a:ext cx="1223198" cy="81409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/>
            </a:solidFill>
          </a:ln>
        </p:spPr>
        <p:txBody>
          <a:bodyPr vert="horz" wrap="square" lIns="36731" tIns="36731" rIns="36731" bIns="36731" rtlCol="0" anchor="ctr" anchorCtr="0"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s-CL" dirty="0"/>
              <a:t>La aspiración se materializa en indicadores y metas de desempeño para cada nivel.</a:t>
            </a:r>
          </a:p>
        </p:txBody>
      </p:sp>
      <p:sp>
        <p:nvSpPr>
          <p:cNvPr id="80" name="TextBox 79"/>
          <p:cNvSpPr txBox="1"/>
          <p:nvPr/>
        </p:nvSpPr>
        <p:spPr>
          <a:xfrm>
            <a:off x="2209800" y="3199776"/>
            <a:ext cx="1386498" cy="149251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/>
            </a:solidFill>
          </a:ln>
        </p:spPr>
        <p:txBody>
          <a:bodyPr vert="horz" wrap="square" lIns="36731" tIns="36731" rIns="36731" bIns="36731" rtlCol="0" anchor="ctr" anchorCtr="0"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10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s-CL" sz="1000" dirty="0"/>
              <a:t>Las confirmaciones de procesos permiten validar la adherencia a los estándares e identificar oportunidades de desarrollo en las personas, a través de coaching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2937943" y="5756947"/>
            <a:ext cx="1607631" cy="780175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/>
            </a:solidFill>
          </a:ln>
        </p:spPr>
        <p:txBody>
          <a:bodyPr vert="horz" wrap="square" lIns="36731" tIns="36731" rIns="36731" bIns="36731" rtlCol="0" anchor="ctr" anchorCtr="0"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10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s-CL" sz="1000" dirty="0"/>
              <a:t>Los planes de acción (</a:t>
            </a:r>
            <a:r>
              <a:rPr lang="es-CL" sz="1000" dirty="0" err="1"/>
              <a:t>PIT</a:t>
            </a:r>
            <a:r>
              <a:rPr lang="es-CL" sz="1000" dirty="0"/>
              <a:t>) típicamente consideran la creación o actualización de estándares operativos para minimizar las desviaciones</a:t>
            </a:r>
          </a:p>
        </p:txBody>
      </p:sp>
      <p:cxnSp>
        <p:nvCxnSpPr>
          <p:cNvPr id="72" name="Straight Connector 71"/>
          <p:cNvCxnSpPr>
            <a:stCxn id="47" idx="3"/>
          </p:cNvCxnSpPr>
          <p:nvPr/>
        </p:nvCxnSpPr>
        <p:spPr>
          <a:xfrm>
            <a:off x="4947593" y="1820809"/>
            <a:ext cx="610801" cy="0"/>
          </a:xfrm>
          <a:prstGeom prst="line">
            <a:avLst/>
          </a:prstGeom>
          <a:ln w="19050">
            <a:solidFill>
              <a:schemeClr val="accent6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Elbow Connector 39"/>
          <p:cNvCxnSpPr>
            <a:stCxn id="57" idx="3"/>
            <a:endCxn id="191" idx="0"/>
          </p:cNvCxnSpPr>
          <p:nvPr/>
        </p:nvCxnSpPr>
        <p:spPr>
          <a:xfrm>
            <a:off x="8451447" y="2491569"/>
            <a:ext cx="458398" cy="315137"/>
          </a:xfrm>
          <a:prstGeom prst="bentConnector2">
            <a:avLst/>
          </a:prstGeom>
          <a:noFill/>
          <a:ln w="63500">
            <a:solidFill>
              <a:srgbClr val="7030A0"/>
            </a:solidFill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7" name="Straight Connector 64"/>
          <p:cNvCxnSpPr>
            <a:cxnSpLocks/>
            <a:stCxn id="80" idx="3"/>
          </p:cNvCxnSpPr>
          <p:nvPr/>
        </p:nvCxnSpPr>
        <p:spPr>
          <a:xfrm>
            <a:off x="3596298" y="3946031"/>
            <a:ext cx="145461" cy="0"/>
          </a:xfrm>
          <a:prstGeom prst="line">
            <a:avLst/>
          </a:prstGeom>
          <a:ln w="19050">
            <a:solidFill>
              <a:schemeClr val="accent6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/>
          <p:cNvCxnSpPr/>
          <p:nvPr/>
        </p:nvCxnSpPr>
        <p:spPr>
          <a:xfrm flipH="1">
            <a:off x="8915770" y="2099815"/>
            <a:ext cx="1" cy="391755"/>
          </a:xfrm>
          <a:prstGeom prst="line">
            <a:avLst/>
          </a:prstGeom>
          <a:ln w="19050">
            <a:solidFill>
              <a:schemeClr val="accent6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Elbow Connector 39"/>
          <p:cNvCxnSpPr>
            <a:stCxn id="188" idx="3"/>
            <a:endCxn id="57" idx="0"/>
          </p:cNvCxnSpPr>
          <p:nvPr/>
        </p:nvCxnSpPr>
        <p:spPr>
          <a:xfrm>
            <a:off x="7241476" y="1527442"/>
            <a:ext cx="773115" cy="760604"/>
          </a:xfrm>
          <a:prstGeom prst="bentConnector2">
            <a:avLst/>
          </a:prstGeom>
          <a:noFill/>
          <a:ln w="63500">
            <a:solidFill>
              <a:srgbClr val="7030A0"/>
            </a:solidFill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56" name="Rectangle 78"/>
          <p:cNvSpPr>
            <a:spLocks noChangeArrowheads="1"/>
          </p:cNvSpPr>
          <p:nvPr/>
        </p:nvSpPr>
        <p:spPr bwMode="gray">
          <a:xfrm>
            <a:off x="8472988" y="4678310"/>
            <a:ext cx="873713" cy="407048"/>
          </a:xfrm>
          <a:prstGeom prst="rect">
            <a:avLst/>
          </a:prstGeom>
          <a:solidFill>
            <a:srgbClr val="A5D86E">
              <a:alpha val="50000"/>
            </a:srgbClr>
          </a:solidFill>
          <a:ln w="28575" algn="ctr">
            <a:solidFill>
              <a:schemeClr val="accent2"/>
            </a:solidFill>
            <a:round/>
            <a:headEnd/>
            <a:tailEnd/>
          </a:ln>
          <a:effectLst/>
          <a:extLst/>
        </p:spPr>
        <p:txBody>
          <a:bodyPr vert="horz" wrap="square" lIns="18366" tIns="36731" rIns="18366" bIns="36731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algn="ctr"/>
            <a:r>
              <a:rPr lang="es-CL" sz="1000" dirty="0">
                <a:latin typeface="+mn-lt"/>
              </a:rPr>
              <a:t>Gestión PIT</a:t>
            </a:r>
            <a:r>
              <a:rPr lang="es-CL" sz="1000" baseline="30000" dirty="0">
                <a:latin typeface="+mn-lt"/>
              </a:rPr>
              <a:t>1</a:t>
            </a:r>
          </a:p>
        </p:txBody>
      </p:sp>
      <p:cxnSp>
        <p:nvCxnSpPr>
          <p:cNvPr id="48" name="Elbow Connector 47"/>
          <p:cNvCxnSpPr>
            <a:stCxn id="149" idx="0"/>
            <a:endCxn id="188" idx="1"/>
          </p:cNvCxnSpPr>
          <p:nvPr/>
        </p:nvCxnSpPr>
        <p:spPr>
          <a:xfrm rot="5400000" flipH="1" flipV="1">
            <a:off x="5606751" y="1527033"/>
            <a:ext cx="760604" cy="761422"/>
          </a:xfrm>
          <a:prstGeom prst="bentConnector2">
            <a:avLst/>
          </a:prstGeom>
          <a:noFill/>
          <a:ln w="63500">
            <a:solidFill>
              <a:srgbClr val="7030A0"/>
            </a:solidFill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91" name="Rectangle 147"/>
          <p:cNvSpPr>
            <a:spLocks noChangeArrowheads="1"/>
          </p:cNvSpPr>
          <p:nvPr/>
        </p:nvSpPr>
        <p:spPr bwMode="gray">
          <a:xfrm>
            <a:off x="8472988" y="2806706"/>
            <a:ext cx="873713" cy="407048"/>
          </a:xfrm>
          <a:prstGeom prst="rect">
            <a:avLst/>
          </a:prstGeom>
          <a:solidFill>
            <a:srgbClr val="A5D86E">
              <a:alpha val="50000"/>
            </a:srgbClr>
          </a:solidFill>
          <a:ln w="28575" algn="ctr">
            <a:solidFill>
              <a:schemeClr val="accent2"/>
            </a:solidFill>
            <a:round/>
            <a:headEnd/>
            <a:tailEnd/>
          </a:ln>
          <a:effectLst/>
          <a:extLst/>
        </p:spPr>
        <p:txBody>
          <a:bodyPr vert="horz" wrap="square" lIns="18366" tIns="36731" rIns="18366" bIns="36731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algn="ctr"/>
            <a:r>
              <a:rPr lang="es-CL" sz="1000" dirty="0">
                <a:latin typeface="+mn-lt"/>
              </a:rPr>
              <a:t>Resolución de Problemas</a:t>
            </a:r>
          </a:p>
        </p:txBody>
      </p:sp>
      <p:sp>
        <p:nvSpPr>
          <p:cNvPr id="54" name="Rectangle 182"/>
          <p:cNvSpPr>
            <a:spLocks noChangeArrowheads="1"/>
          </p:cNvSpPr>
          <p:nvPr/>
        </p:nvSpPr>
        <p:spPr bwMode="gray">
          <a:xfrm>
            <a:off x="6367763" y="6089306"/>
            <a:ext cx="873713" cy="407048"/>
          </a:xfrm>
          <a:prstGeom prst="rect">
            <a:avLst/>
          </a:prstGeom>
          <a:solidFill>
            <a:srgbClr val="FF0000">
              <a:alpha val="50000"/>
            </a:srgbClr>
          </a:solidFill>
          <a:ln w="19050" algn="ctr">
            <a:solidFill>
              <a:srgbClr val="FF0000"/>
            </a:solidFill>
            <a:round/>
            <a:headEnd/>
            <a:tailEnd/>
          </a:ln>
          <a:effectLst/>
          <a:extLst/>
        </p:spPr>
        <p:txBody>
          <a:bodyPr vert="horz" wrap="square" lIns="18366" tIns="36731" rIns="18366" bIns="36731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algn="ctr"/>
            <a:r>
              <a:rPr lang="es-CL" sz="1000" dirty="0">
                <a:latin typeface="+mn-lt"/>
              </a:rPr>
              <a:t>Agendas</a:t>
            </a:r>
          </a:p>
        </p:txBody>
      </p:sp>
      <p:grpSp>
        <p:nvGrpSpPr>
          <p:cNvPr id="108" name="107 Grupo"/>
          <p:cNvGrpSpPr/>
          <p:nvPr/>
        </p:nvGrpSpPr>
        <p:grpSpPr>
          <a:xfrm>
            <a:off x="6020970" y="4611281"/>
            <a:ext cx="1567301" cy="1521210"/>
            <a:chOff x="3773649" y="4029386"/>
            <a:chExt cx="1614457" cy="1614459"/>
          </a:xfrm>
        </p:grpSpPr>
        <p:sp>
          <p:nvSpPr>
            <p:cNvPr id="85" name="Oval 84"/>
            <p:cNvSpPr>
              <a:spLocks/>
            </p:cNvSpPr>
            <p:nvPr>
              <p:custDataLst>
                <p:tags r:id="rId9"/>
              </p:custDataLst>
            </p:nvPr>
          </p:nvSpPr>
          <p:spPr>
            <a:xfrm>
              <a:off x="3773649" y="4029386"/>
              <a:ext cx="1614457" cy="1614459"/>
            </a:xfrm>
            <a:prstGeom prst="ellipse">
              <a:avLst/>
            </a:prstGeom>
            <a:solidFill>
              <a:srgbClr val="FF0000"/>
            </a:solidFill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 w="381000" h="381000"/>
              <a:contourClr>
                <a:srgbClr val="006983"/>
              </a:contourClr>
            </a:sp3d>
          </p:spPr>
          <p:txBody>
            <a:bodyPr rtlCol="0" anchor="ctr">
              <a:noAutofit/>
            </a:bodyPr>
            <a:lstStyle/>
            <a:p>
              <a:pPr algn="ctr" defTabSz="9329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000" kern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87" name="Text Box 192"/>
            <p:cNvSpPr txBox="1"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3917960" y="4751996"/>
              <a:ext cx="1329280" cy="169238"/>
            </a:xfrm>
            <a:prstGeom prst="rect">
              <a:avLst/>
            </a:prstGeom>
            <a:noFill/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 anchorCtr="0">
              <a:noAutofit/>
            </a:bodyPr>
            <a:lstStyle>
              <a:lvl1pPr defTabSz="877888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447675" defTabSz="877888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895350" defTabSz="877888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344613" defTabSz="877888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77888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defTabSz="89570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CL" sz="1000" b="1" kern="0" dirty="0">
                  <a:solidFill>
                    <a:srgbClr val="FFFFFF"/>
                  </a:solidFill>
                  <a:latin typeface="+mn-lt"/>
                </a:rPr>
                <a:t>Procesos eficientes</a:t>
              </a:r>
            </a:p>
          </p:txBody>
        </p:sp>
        <p:sp>
          <p:nvSpPr>
            <p:cNvPr id="89" name="Arc 188"/>
            <p:cNvSpPr>
              <a:spLocks/>
            </p:cNvSpPr>
            <p:nvPr>
              <p:custDataLst>
                <p:tags r:id="rId11"/>
              </p:custDataLst>
            </p:nvPr>
          </p:nvSpPr>
          <p:spPr bwMode="gray">
            <a:xfrm rot="2812423">
              <a:off x="3816479" y="4071081"/>
              <a:ext cx="1532239" cy="1531285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15486 w 43200"/>
                <a:gd name="T1" fmla="*/ 42317 h 43200"/>
                <a:gd name="T2" fmla="*/ 16178 w 43200"/>
                <a:gd name="T3" fmla="*/ 42508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</a:path>
                <a:path w="43200" h="43200" stroke="0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  <a:lnTo>
                    <a:pt x="21600" y="21600"/>
                  </a:lnTo>
                  <a:close/>
                </a:path>
              </a:pathLst>
            </a:custGeom>
            <a:noFill/>
            <a:ln w="127000">
              <a:solidFill>
                <a:srgbClr val="FF0000"/>
              </a:solidFill>
              <a:round/>
              <a:headEnd/>
              <a:tailEnd type="stealth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wrap="none" anchor="ctr">
              <a:noAutofit/>
            </a:bodyPr>
            <a:lstStyle/>
            <a:p>
              <a:pPr defTabSz="9329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000" kern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194" name="Rectangle 82"/>
          <p:cNvSpPr>
            <a:spLocks noChangeArrowheads="1"/>
          </p:cNvSpPr>
          <p:nvPr/>
        </p:nvSpPr>
        <p:spPr bwMode="gray">
          <a:xfrm>
            <a:off x="5162123" y="5175101"/>
            <a:ext cx="873713" cy="407048"/>
          </a:xfrm>
          <a:prstGeom prst="rect">
            <a:avLst/>
          </a:prstGeom>
          <a:solidFill>
            <a:srgbClr val="FF0000">
              <a:alpha val="50000"/>
            </a:srgbClr>
          </a:solidFill>
          <a:ln w="19050" algn="ctr">
            <a:solidFill>
              <a:srgbClr val="FF0000"/>
            </a:solidFill>
            <a:round/>
            <a:headEnd/>
            <a:tailEnd/>
          </a:ln>
          <a:effectLst/>
          <a:extLst/>
        </p:spPr>
        <p:txBody>
          <a:bodyPr vert="horz" wrap="square" lIns="18366" tIns="36731" rIns="18366" bIns="36731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algn="ctr"/>
            <a:r>
              <a:rPr lang="es-CL" sz="1000" dirty="0">
                <a:latin typeface="+mn-lt"/>
              </a:rPr>
              <a:t>Estándares</a:t>
            </a:r>
            <a:endParaRPr lang="es-CL" sz="1000" baseline="30000" dirty="0">
              <a:latin typeface="+mn-lt"/>
            </a:endParaRPr>
          </a:p>
        </p:txBody>
      </p:sp>
      <p:sp>
        <p:nvSpPr>
          <p:cNvPr id="58" name="4 Tarjeta">
            <a:extLst>
              <a:ext uri="{FF2B5EF4-FFF2-40B4-BE49-F238E27FC236}">
                <a16:creationId xmlns:a16="http://schemas.microsoft.com/office/drawing/2014/main" xmlns="" id="{9EE115E6-3D40-42C7-B94D-E9654D049665}"/>
              </a:ext>
            </a:extLst>
          </p:cNvPr>
          <p:cNvSpPr/>
          <p:nvPr/>
        </p:nvSpPr>
        <p:spPr bwMode="gray">
          <a:xfrm rot="10800000">
            <a:off x="55004" y="1"/>
            <a:ext cx="12192000" cy="6858001"/>
          </a:xfrm>
          <a:prstGeom prst="flowChartPunchedCard">
            <a:avLst/>
          </a:prstGeom>
          <a:solidFill>
            <a:schemeClr val="bg1">
              <a:alpha val="75000"/>
            </a:schemeClr>
          </a:solidFill>
          <a:ln w="9525">
            <a:noFill/>
            <a:round/>
            <a:headEnd/>
            <a:tailEnd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s-CL" sz="1000" dirty="0"/>
          </a:p>
        </p:txBody>
      </p:sp>
      <p:cxnSp>
        <p:nvCxnSpPr>
          <p:cNvPr id="66" name="Straight Connector 65"/>
          <p:cNvCxnSpPr>
            <a:stCxn id="60" idx="3"/>
          </p:cNvCxnSpPr>
          <p:nvPr/>
        </p:nvCxnSpPr>
        <p:spPr>
          <a:xfrm>
            <a:off x="4545575" y="6147034"/>
            <a:ext cx="1013727" cy="0"/>
          </a:xfrm>
          <a:prstGeom prst="line">
            <a:avLst/>
          </a:prstGeom>
          <a:ln w="19050">
            <a:solidFill>
              <a:schemeClr val="accent6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182"/>
          <p:cNvSpPr>
            <a:spLocks noChangeArrowheads="1"/>
          </p:cNvSpPr>
          <p:nvPr/>
        </p:nvSpPr>
        <p:spPr bwMode="gray">
          <a:xfrm>
            <a:off x="7577734" y="2288045"/>
            <a:ext cx="873713" cy="407048"/>
          </a:xfrm>
          <a:prstGeom prst="rect">
            <a:avLst/>
          </a:prstGeom>
          <a:solidFill>
            <a:srgbClr val="0070C0">
              <a:alpha val="50000"/>
            </a:srgbClr>
          </a:solidFill>
          <a:ln w="28575" algn="ctr">
            <a:solidFill>
              <a:srgbClr val="0070C0"/>
            </a:solidFill>
            <a:round/>
            <a:headEnd/>
            <a:tailEnd/>
          </a:ln>
          <a:effectLst/>
          <a:extLst/>
        </p:spPr>
        <p:txBody>
          <a:bodyPr vert="horz" wrap="square" lIns="18366" tIns="36731" rIns="18366" bIns="36731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algn="ctr"/>
            <a:r>
              <a:rPr lang="es-CL" sz="1000" dirty="0">
                <a:latin typeface="+mn-lt"/>
              </a:rPr>
              <a:t>Diálogos de desempeño</a:t>
            </a:r>
          </a:p>
        </p:txBody>
      </p:sp>
      <p:sp>
        <p:nvSpPr>
          <p:cNvPr id="188" name="Rectangle 147"/>
          <p:cNvSpPr>
            <a:spLocks noChangeArrowheads="1"/>
          </p:cNvSpPr>
          <p:nvPr/>
        </p:nvSpPr>
        <p:spPr bwMode="gray">
          <a:xfrm>
            <a:off x="6367763" y="1323917"/>
            <a:ext cx="873713" cy="407048"/>
          </a:xfrm>
          <a:prstGeom prst="rect">
            <a:avLst/>
          </a:prstGeom>
          <a:solidFill>
            <a:srgbClr val="0070C0">
              <a:alpha val="50000"/>
            </a:srgbClr>
          </a:solidFill>
          <a:ln w="28575" algn="ctr">
            <a:solidFill>
              <a:srgbClr val="0070C0"/>
            </a:solidFill>
            <a:round/>
            <a:headEnd/>
            <a:tailEnd/>
          </a:ln>
          <a:effectLst/>
          <a:extLst/>
        </p:spPr>
        <p:txBody>
          <a:bodyPr vert="horz" wrap="square" lIns="18366" tIns="36731" rIns="18366" bIns="36731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algn="ctr"/>
            <a:r>
              <a:rPr lang="es-CL" sz="1000" dirty="0">
                <a:latin typeface="+mn-lt"/>
              </a:rPr>
              <a:t>Indicadores y metas</a:t>
            </a:r>
          </a:p>
        </p:txBody>
      </p:sp>
      <p:sp>
        <p:nvSpPr>
          <p:cNvPr id="149" name="Rectangle 147"/>
          <p:cNvSpPr>
            <a:spLocks noChangeArrowheads="1"/>
          </p:cNvSpPr>
          <p:nvPr/>
        </p:nvSpPr>
        <p:spPr bwMode="gray">
          <a:xfrm>
            <a:off x="5169484" y="2288045"/>
            <a:ext cx="873713" cy="407048"/>
          </a:xfrm>
          <a:prstGeom prst="rect">
            <a:avLst/>
          </a:prstGeom>
          <a:solidFill>
            <a:srgbClr val="0070C0">
              <a:alpha val="50000"/>
            </a:srgbClr>
          </a:solidFill>
          <a:ln w="28575">
            <a:solidFill>
              <a:srgbClr val="0070C0"/>
            </a:solidFill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18366" tIns="36731" rIns="18366" bIns="36731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algn="ctr"/>
            <a:r>
              <a:rPr lang="es-CL" sz="1000" dirty="0">
                <a:solidFill>
                  <a:schemeClr val="tx1"/>
                </a:solidFill>
              </a:rPr>
              <a:t>Aspiración</a:t>
            </a:r>
          </a:p>
        </p:txBody>
      </p:sp>
      <p:grpSp>
        <p:nvGrpSpPr>
          <p:cNvPr id="69" name="68 Grupo"/>
          <p:cNvGrpSpPr/>
          <p:nvPr/>
        </p:nvGrpSpPr>
        <p:grpSpPr>
          <a:xfrm>
            <a:off x="6020970" y="1730965"/>
            <a:ext cx="1567301" cy="1521210"/>
            <a:chOff x="3777217" y="1721807"/>
            <a:chExt cx="1614457" cy="1614459"/>
          </a:xfrm>
        </p:grpSpPr>
        <p:sp>
          <p:nvSpPr>
            <p:cNvPr id="84" name="Oval 83"/>
            <p:cNvSpPr>
              <a:spLocks/>
            </p:cNvSpPr>
            <p:nvPr>
              <p:custDataLst>
                <p:tags r:id="rId6"/>
              </p:custDataLst>
            </p:nvPr>
          </p:nvSpPr>
          <p:spPr>
            <a:xfrm>
              <a:off x="3777217" y="1721807"/>
              <a:ext cx="1614457" cy="1614459"/>
            </a:xfrm>
            <a:prstGeom prst="ellipse">
              <a:avLst/>
            </a:prstGeom>
            <a:solidFill>
              <a:srgbClr val="0066CC"/>
            </a:solidFill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 w="381000" h="381000"/>
              <a:contourClr>
                <a:srgbClr val="006983"/>
              </a:contourClr>
            </a:sp3d>
          </p:spPr>
          <p:txBody>
            <a:bodyPr rtlCol="0" anchor="ctr">
              <a:noAutofit/>
            </a:bodyPr>
            <a:lstStyle/>
            <a:p>
              <a:pPr algn="ctr" defTabSz="9329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000" kern="0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86" name="Text Box 190"/>
            <p:cNvSpPr txBox="1"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3856336" y="2450627"/>
              <a:ext cx="1449081" cy="163321"/>
            </a:xfrm>
            <a:prstGeom prst="rect">
              <a:avLst/>
            </a:prstGeom>
            <a:noFill/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wrap="square" lIns="0" tIns="0" rIns="0" bIns="0" anchor="ctr" anchorCtr="0">
              <a:noAutofit/>
            </a:bodyPr>
            <a:lstStyle>
              <a:lvl1pPr defTabSz="877888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447675" defTabSz="877888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895350" defTabSz="877888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344613" defTabSz="877888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77888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defTabSz="89570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CL" sz="1000" b="1" kern="0" dirty="0">
                  <a:solidFill>
                    <a:srgbClr val="FFFFFF"/>
                  </a:solidFill>
                  <a:latin typeface="+mn-lt"/>
                </a:rPr>
                <a:t>Objetivo Común</a:t>
              </a:r>
            </a:p>
          </p:txBody>
        </p:sp>
        <p:sp>
          <p:nvSpPr>
            <p:cNvPr id="88" name="Arc 189"/>
            <p:cNvSpPr>
              <a:spLocks/>
            </p:cNvSpPr>
            <p:nvPr>
              <p:custDataLst>
                <p:tags r:id="rId8"/>
              </p:custDataLst>
            </p:nvPr>
          </p:nvSpPr>
          <p:spPr bwMode="gray">
            <a:xfrm rot="13467559">
              <a:off x="3816479" y="1766646"/>
              <a:ext cx="1532239" cy="1531285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15486 w 43200"/>
                <a:gd name="T1" fmla="*/ 42317 h 43200"/>
                <a:gd name="T2" fmla="*/ 16178 w 43200"/>
                <a:gd name="T3" fmla="*/ 42508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</a:path>
                <a:path w="43200" h="43200" stroke="0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  <a:lnTo>
                    <a:pt x="21600" y="21600"/>
                  </a:lnTo>
                  <a:close/>
                </a:path>
              </a:pathLst>
            </a:custGeom>
            <a:noFill/>
            <a:ln w="127000">
              <a:solidFill>
                <a:srgbClr val="0066CC"/>
              </a:solidFill>
              <a:round/>
              <a:headEnd/>
              <a:tailEnd type="stealth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wrap="none" anchor="ctr">
              <a:noAutofit/>
            </a:bodyPr>
            <a:lstStyle/>
            <a:p>
              <a:pPr defTabSz="9329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000" kern="0">
                <a:solidFill>
                  <a:schemeClr val="bg1"/>
                </a:solidFill>
                <a:latin typeface="+mn-lt"/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1084037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6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500"/>
                            </p:stCondLst>
                            <p:childTnLst>
                              <p:par>
                                <p:cTn id="3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1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00"/>
                            </p:stCondLst>
                            <p:childTnLst>
                              <p:par>
                                <p:cTn id="5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6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500"/>
                            </p:stCondLst>
                            <p:childTnLst>
                              <p:par>
                                <p:cTn id="6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" fill="hold">
                      <p:stCondLst>
                        <p:cond delay="indefinite"/>
                      </p:stCondLst>
                      <p:childTnLst>
                        <p:par>
                          <p:cTn id="81" fill="hold">
                            <p:stCondLst>
                              <p:cond delay="0"/>
                            </p:stCondLst>
                            <p:childTnLst>
                              <p:par>
                                <p:cTn id="8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4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500"/>
                            </p:stCondLst>
                            <p:childTnLst>
                              <p:par>
                                <p:cTn id="8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1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3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500"/>
                            </p:stCondLst>
                            <p:childTnLst>
                              <p:par>
                                <p:cTn id="9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1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1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1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7" fill="hold">
                      <p:stCondLst>
                        <p:cond delay="indefinite"/>
                      </p:stCondLst>
                      <p:childTnLst>
                        <p:par>
                          <p:cTn id="108" fill="hold">
                            <p:stCondLst>
                              <p:cond delay="0"/>
                            </p:stCondLst>
                            <p:childTnLst>
                              <p:par>
                                <p:cTn id="10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3" grpId="0" animBg="1"/>
      <p:bldP spid="166" grpId="0" animBg="1"/>
      <p:bldP spid="161" grpId="0" animBg="1"/>
      <p:bldP spid="55" grpId="0" animBg="1"/>
      <p:bldP spid="8" grpId="0" animBg="1"/>
      <p:bldP spid="47" grpId="0" animBg="1"/>
      <p:bldP spid="80" grpId="0" animBg="1"/>
      <p:bldP spid="60" grpId="0" animBg="1"/>
      <p:bldP spid="156" grpId="0" animBg="1"/>
      <p:bldP spid="191" grpId="0" animBg="1"/>
      <p:bldP spid="54" grpId="0" animBg="1"/>
      <p:bldP spid="194" grpId="0" animBg="1"/>
      <p:bldP spid="58" grpId="0" animBg="1"/>
      <p:bldP spid="57" grpId="0" animBg="1"/>
      <p:bldP spid="188" grpId="0" animBg="1"/>
      <p:bldP spid="149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28567" name="Object 5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4270" y="1"/>
          <a:ext cx="16197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14" name="Diapositiva de think-cell" r:id="rId13" imgW="360" imgH="360" progId="TCLayout.ActiveDocument.1">
                  <p:embed/>
                </p:oleObj>
              </mc:Choice>
              <mc:Fallback>
                <p:oleObj name="Diapositiva de think-cell" r:id="rId1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270" y="1"/>
                        <a:ext cx="16197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28570" name="Title 1"/>
          <p:cNvSpPr>
            <a:spLocks noGrp="1"/>
          </p:cNvSpPr>
          <p:nvPr>
            <p:ph type="title"/>
          </p:nvPr>
        </p:nvSpPr>
        <p:spPr>
          <a:xfrm>
            <a:off x="2832100" y="397774"/>
            <a:ext cx="9055371" cy="61555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marL="368300"/>
            <a:r>
              <a:rPr lang="es-ES" dirty="0"/>
              <a:t>Los KPI y las metas crean un vínculo entre la aspiración y la ejecución</a:t>
            </a:r>
            <a:br>
              <a:rPr lang="es-ES" dirty="0"/>
            </a:br>
            <a:r>
              <a:rPr lang="es-ES" dirty="0"/>
              <a:t> y una infraestructura que permite un seguimiento simple</a:t>
            </a:r>
          </a:p>
        </p:txBody>
      </p:sp>
      <p:sp>
        <p:nvSpPr>
          <p:cNvPr id="34" name="5. Source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317687" y="6642944"/>
            <a:ext cx="747836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621975" indent="-621975" defTabSz="913526">
              <a:tabLst>
                <a:tab pos="625214" algn="l"/>
              </a:tabLst>
            </a:pPr>
            <a:r>
              <a:rPr lang="es-ES" sz="800" dirty="0">
                <a:solidFill>
                  <a:srgbClr val="808080"/>
                </a:solidFill>
                <a:latin typeface="Arial" panose="020B0604020202020204" pitchFamily="34" charset="0"/>
              </a:rPr>
              <a:t>FUENTE: Análisis </a:t>
            </a:r>
            <a:r>
              <a:rPr lang="es-ES" sz="800" dirty="0" err="1">
                <a:solidFill>
                  <a:srgbClr val="808080"/>
                </a:solidFill>
                <a:latin typeface="Arial" panose="020B0604020202020204" pitchFamily="34" charset="0"/>
              </a:rPr>
              <a:t>McKinsey</a:t>
            </a:r>
            <a:endParaRPr lang="es-ES" sz="800" dirty="0">
              <a:solidFill>
                <a:srgbClr val="808080"/>
              </a:solidFill>
              <a:latin typeface="Arial" panose="020B0604020202020204" pitchFamily="34" charset="0"/>
            </a:endParaRPr>
          </a:p>
        </p:txBody>
      </p:sp>
      <p:sp>
        <p:nvSpPr>
          <p:cNvPr id="40" name="1. On-page tracker"/>
          <p:cNvSpPr>
            <a:spLocks noChangeArrowheads="1"/>
          </p:cNvSpPr>
          <p:nvPr/>
        </p:nvSpPr>
        <p:spPr bwMode="auto">
          <a:xfrm>
            <a:off x="1317688" y="77303"/>
            <a:ext cx="16671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s-ES_tradnl" sz="800" cap="all" dirty="0" smtClean="0">
                <a:solidFill>
                  <a:srgbClr val="808080"/>
                </a:solidFill>
                <a:latin typeface="Arial"/>
              </a:rPr>
              <a:t>KPI</a:t>
            </a:r>
          </a:p>
        </p:txBody>
      </p:sp>
      <p:sp>
        <p:nvSpPr>
          <p:cNvPr id="4" name="Marvintitletrackercircle">
            <a:extLst>
              <a:ext uri="{FF2B5EF4-FFF2-40B4-BE49-F238E27FC236}">
                <a16:creationId xmlns:a16="http://schemas.microsoft.com/office/drawing/2014/main" xmlns="" id="{B301ED28-5139-48F5-8B46-1C8948D3506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819400" y="397774"/>
            <a:ext cx="330200" cy="330200"/>
          </a:xfrm>
          <a:prstGeom prst="ellipse">
            <a:avLst/>
          </a:prstGeom>
          <a:solidFill>
            <a:schemeClr val="accent4"/>
          </a:solidFill>
          <a:ln w="9525">
            <a:noFill/>
          </a:ln>
          <a:effectLst>
            <a:glow>
              <a:schemeClr val="accent1">
                <a:alpha val="40000"/>
              </a:schemeClr>
            </a:glow>
            <a:outerShdw blurRad="101600" sx="64000" sy="64000" rotWithShape="0">
              <a:schemeClr val="tx1"/>
            </a:outerShdw>
          </a:effectLst>
          <a:scene3d>
            <a:camera prst="orthographicFront"/>
            <a:lightRig rig="balanced" dir="t">
              <a:rot lat="0" lon="0" rev="7800000"/>
            </a:lightRig>
          </a:scene3d>
          <a:sp3d>
            <a:bevelT w="254000" h="31750"/>
            <a:bevelB w="0" h="38100"/>
            <a:extrusionClr>
              <a:schemeClr val="bg2"/>
            </a:extrusionClr>
            <a:contourClr>
              <a:schemeClr val="accent3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2000" b="1" dirty="0">
                <a:solidFill>
                  <a:srgbClr val="FFFFFF"/>
                </a:solidFill>
              </a:rPr>
              <a:t>B</a:t>
            </a:r>
          </a:p>
        </p:txBody>
      </p:sp>
      <p:sp>
        <p:nvSpPr>
          <p:cNvPr id="32" name="Rectangle 7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775361" y="1342720"/>
            <a:ext cx="3227749" cy="5056558"/>
          </a:xfrm>
          <a:prstGeom prst="rect">
            <a:avLst/>
          </a:prstGeom>
          <a:solidFill>
            <a:schemeClr val="bg1"/>
          </a:solidFill>
          <a:ln w="19050" cap="flat" cmpd="sng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noAutofit/>
          </a:bodyPr>
          <a:lstStyle>
            <a:defPPr>
              <a:defRPr lang="en-US"/>
            </a:defPPr>
            <a:lvl1pPr>
              <a:defRPr sz="1665"/>
            </a:lvl1pPr>
            <a:lvl2pPr lvl="1">
              <a:defRPr sz="1200">
                <a:latin typeface="+mn-lt"/>
              </a:defRPr>
            </a:lvl2pPr>
            <a:lvl3pPr lvl="2"/>
          </a:lstStyle>
          <a:p>
            <a:pPr marL="932909" lvl="2"/>
            <a:endParaRPr lang="en-US" sz="1632">
              <a:solidFill>
                <a:srgbClr val="000000"/>
              </a:solidFill>
            </a:endParaRPr>
          </a:p>
        </p:txBody>
      </p:sp>
      <p:sp>
        <p:nvSpPr>
          <p:cNvPr id="26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8786327" y="1342720"/>
            <a:ext cx="3216783" cy="386639"/>
          </a:xfrm>
          <a:prstGeom prst="rect">
            <a:avLst/>
          </a:prstGeom>
          <a:solidFill>
            <a:schemeClr val="accent4"/>
          </a:solidFill>
          <a:ln w="19050" algn="ctr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lIns="128559" tIns="93297" rIns="128559" bIns="93297" anchor="ctr"/>
          <a:lstStyle/>
          <a:p>
            <a:r>
              <a:rPr lang="es-ES" sz="1400" b="1" dirty="0">
                <a:solidFill>
                  <a:srgbClr val="FFFFFF"/>
                </a:solidFill>
                <a:cs typeface="Arial" charset="0"/>
              </a:rPr>
              <a:t>¿Para qué sirven?</a:t>
            </a:r>
          </a:p>
        </p:txBody>
      </p:sp>
      <p:sp>
        <p:nvSpPr>
          <p:cNvPr id="36" name="Rectangle 5"/>
          <p:cNvSpPr txBox="1">
            <a:spLocks noChangeArrowheads="1"/>
          </p:cNvSpPr>
          <p:nvPr/>
        </p:nvSpPr>
        <p:spPr>
          <a:xfrm>
            <a:off x="1524269" y="1342720"/>
            <a:ext cx="3550007" cy="2856749"/>
          </a:xfrm>
          <a:prstGeom prst="rect">
            <a:avLst/>
          </a:prstGeom>
          <a:solidFill>
            <a:schemeClr val="bg1"/>
          </a:solidFill>
          <a:ln w="1905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noAutofit/>
          </a:bodyPr>
          <a:lstStyle>
            <a:defPPr>
              <a:defRPr lang="en-US"/>
            </a:defPPr>
            <a:lvl1pPr>
              <a:defRPr sz="1665"/>
            </a:lvl1pPr>
          </a:lstStyle>
          <a:p>
            <a:pPr marL="466454" lvl="1"/>
            <a:endParaRPr lang="en-US" sz="1632" dirty="0">
              <a:solidFill>
                <a:srgbClr val="000000"/>
              </a:solidFill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xmlns="" id="{1072C15F-226B-4021-AE53-CE90E0EA8A76}"/>
              </a:ext>
            </a:extLst>
          </p:cNvPr>
          <p:cNvGrpSpPr>
            <a:grpSpLocks/>
          </p:cNvGrpSpPr>
          <p:nvPr/>
        </p:nvGrpSpPr>
        <p:grpSpPr>
          <a:xfrm>
            <a:off x="1524268" y="1353980"/>
            <a:ext cx="6759839" cy="5056558"/>
            <a:chOff x="2220945" y="1330020"/>
            <a:chExt cx="6759839" cy="5056558"/>
          </a:xfrm>
        </p:grpSpPr>
        <p:sp>
          <p:nvSpPr>
            <p:cNvPr id="42" name="Rectangle 7"/>
            <p:cNvSpPr txBox="1">
              <a:spLocks noChangeArrowheads="1"/>
            </p:cNvSpPr>
            <p:nvPr/>
          </p:nvSpPr>
          <p:spPr>
            <a:xfrm>
              <a:off x="5904192" y="1330020"/>
              <a:ext cx="3076592" cy="1756299"/>
            </a:xfrm>
            <a:prstGeom prst="rect">
              <a:avLst/>
            </a:prstGeom>
            <a:solidFill>
              <a:schemeClr val="bg1"/>
            </a:solidFill>
            <a:ln w="19050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>
              <a:noAutofit/>
            </a:bodyPr>
            <a:lstStyle>
              <a:defPPr>
                <a:defRPr lang="en-US"/>
              </a:defPPr>
              <a:lvl1pPr>
                <a:defRPr sz="1665"/>
              </a:lvl1pPr>
              <a:lvl2pPr lvl="1">
                <a:defRPr sz="1200">
                  <a:latin typeface="+mn-lt"/>
                </a:defRPr>
              </a:lvl2pPr>
            </a:lstStyle>
            <a:p>
              <a:pPr marL="932909" lvl="2"/>
              <a:endParaRPr lang="en-US" sz="1632">
                <a:solidFill>
                  <a:srgbClr val="000000"/>
                </a:solidFill>
              </a:endParaRPr>
            </a:p>
          </p:txBody>
        </p:sp>
        <p:sp>
          <p:nvSpPr>
            <p:cNvPr id="48" name="Rectangle 5"/>
            <p:cNvSpPr txBox="1">
              <a:spLocks noChangeArrowheads="1"/>
            </p:cNvSpPr>
            <p:nvPr/>
          </p:nvSpPr>
          <p:spPr>
            <a:xfrm>
              <a:off x="5902586" y="3669734"/>
              <a:ext cx="3076592" cy="2716843"/>
            </a:xfrm>
            <a:prstGeom prst="rect">
              <a:avLst/>
            </a:prstGeom>
            <a:solidFill>
              <a:schemeClr val="bg1"/>
            </a:solidFill>
            <a:ln w="19050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>
              <a:noAutofit/>
            </a:bodyPr>
            <a:lstStyle>
              <a:defPPr>
                <a:defRPr lang="en-US"/>
              </a:defPPr>
              <a:lvl1pPr>
                <a:defRPr sz="1665"/>
              </a:lvl1pPr>
              <a:lvl2pPr lvl="1">
                <a:defRPr sz="1200">
                  <a:latin typeface="+mn-lt"/>
                </a:defRPr>
              </a:lvl2pPr>
            </a:lstStyle>
            <a:p>
              <a:pPr marL="466454" lvl="1"/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8" name="Rectangle 15"/>
            <p:cNvSpPr txBox="1"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220945" y="4296440"/>
              <a:ext cx="3550008" cy="2090138"/>
            </a:xfrm>
            <a:prstGeom prst="rect">
              <a:avLst/>
            </a:prstGeom>
            <a:solidFill>
              <a:schemeClr val="bg1"/>
            </a:solidFill>
            <a:ln w="19050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>
              <a:noAutofit/>
            </a:bodyPr>
            <a:lstStyle>
              <a:defPPr>
                <a:defRPr lang="en-US"/>
              </a:defPPr>
              <a:lvl1pPr>
                <a:defRPr sz="1665"/>
              </a:lvl1pPr>
              <a:lvl2pPr lvl="1">
                <a:defRPr sz="1200">
                  <a:latin typeface="+mn-lt"/>
                </a:defRPr>
              </a:lvl2pPr>
            </a:lstStyle>
            <a:p>
              <a:pPr marL="466454" lvl="1"/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33" name="DirArrow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6884056" y="3681869"/>
            <a:ext cx="3404349" cy="378261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  <a:extLst/>
        </p:spPr>
        <p:txBody>
          <a:bodyPr lIns="128559" tIns="93297" rIns="128559" bIns="93297" anchor="ctr"/>
          <a:lstStyle/>
          <a:p>
            <a:pPr>
              <a:defRPr/>
            </a:pPr>
            <a:endParaRPr lang="en-US" sz="1400" b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Rectangle 4"/>
          <p:cNvSpPr>
            <a:spLocks noChangeArrowheads="1"/>
          </p:cNvSpPr>
          <p:nvPr/>
        </p:nvSpPr>
        <p:spPr bwMode="gray">
          <a:xfrm>
            <a:off x="1524270" y="1342720"/>
            <a:ext cx="3550007" cy="386638"/>
          </a:xfrm>
          <a:prstGeom prst="rect">
            <a:avLst/>
          </a:prstGeom>
          <a:solidFill>
            <a:schemeClr val="accent1"/>
          </a:solidFill>
          <a:ln w="1905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128559" tIns="93297" rIns="128559" bIns="93297" anchor="ctr"/>
          <a:lstStyle/>
          <a:p>
            <a:r>
              <a:rPr lang="es-ES" sz="1400" b="1" dirty="0">
                <a:solidFill>
                  <a:srgbClr val="009A46"/>
                </a:solidFill>
                <a:cs typeface="Arial" charset="0"/>
              </a:rPr>
              <a:t>¿Qué </a:t>
            </a:r>
            <a:r>
              <a:rPr lang="es-ES" sz="1400" b="1" dirty="0" smtClean="0">
                <a:solidFill>
                  <a:srgbClr val="009A46"/>
                </a:solidFill>
                <a:cs typeface="Arial" charset="0"/>
              </a:rPr>
              <a:t>son?</a:t>
            </a:r>
            <a:endParaRPr lang="es-ES" sz="1400" b="1" dirty="0">
              <a:solidFill>
                <a:srgbClr val="009A46"/>
              </a:solidFill>
              <a:cs typeface="Arial" charset="0"/>
            </a:endParaRPr>
          </a:p>
        </p:txBody>
      </p:sp>
      <p:sp>
        <p:nvSpPr>
          <p:cNvPr id="37" name="Rectangle 14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1524269" y="4311682"/>
            <a:ext cx="3550007" cy="386639"/>
          </a:xfrm>
          <a:prstGeom prst="rect">
            <a:avLst/>
          </a:prstGeom>
          <a:solidFill>
            <a:schemeClr val="accent1"/>
          </a:solidFill>
          <a:ln w="1905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128559" tIns="93297" rIns="128559" bIns="93297" anchor="ctr"/>
          <a:lstStyle/>
          <a:p>
            <a:r>
              <a:rPr lang="es-ES" sz="1400" b="1" dirty="0">
                <a:solidFill>
                  <a:srgbClr val="009A46"/>
                </a:solidFill>
                <a:cs typeface="Arial" charset="0"/>
              </a:rPr>
              <a:t>¿Quién las usa?</a:t>
            </a:r>
          </a:p>
        </p:txBody>
      </p:sp>
      <p:sp>
        <p:nvSpPr>
          <p:cNvPr id="1728590" name="Rectangle 6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031432" y="5249330"/>
            <a:ext cx="209908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0" lvl="1" defTabSz="913526">
              <a:buClr>
                <a:srgbClr val="009A46"/>
              </a:buClr>
              <a:buSzPct val="125000"/>
            </a:pPr>
            <a:endParaRPr lang="es-ES" sz="1400" dirty="0">
              <a:solidFill>
                <a:srgbClr val="000000"/>
              </a:solidFill>
            </a:endParaRPr>
          </a:p>
        </p:txBody>
      </p:sp>
      <p:sp>
        <p:nvSpPr>
          <p:cNvPr id="41" name="Rectangle 6"/>
          <p:cNvSpPr>
            <a:spLocks noChangeArrowheads="1"/>
          </p:cNvSpPr>
          <p:nvPr/>
        </p:nvSpPr>
        <p:spPr bwMode="gray">
          <a:xfrm>
            <a:off x="5218481" y="1342720"/>
            <a:ext cx="3076592" cy="386638"/>
          </a:xfrm>
          <a:prstGeom prst="rect">
            <a:avLst/>
          </a:prstGeom>
          <a:solidFill>
            <a:schemeClr val="accent1"/>
          </a:solidFill>
          <a:ln w="1905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128559" tIns="93297" rIns="128559" bIns="93297" anchor="ctr"/>
          <a:lstStyle/>
          <a:p>
            <a:r>
              <a:rPr lang="es-ES" sz="1400" b="1" dirty="0">
                <a:solidFill>
                  <a:srgbClr val="009A46"/>
                </a:solidFill>
                <a:cs typeface="Arial" charset="0"/>
              </a:rPr>
              <a:t>¿Qué exigen?</a:t>
            </a:r>
          </a:p>
        </p:txBody>
      </p:sp>
      <p:pic>
        <p:nvPicPr>
          <p:cNvPr id="28" name="Picture 77" descr="C:\Users\NATALIA ROMERO\Desktop\Natalia\stuff\icons\1338950449_Magnifier2.png"/>
          <p:cNvPicPr>
            <a:picLocks noChangeAspect="1"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16932" y="1342720"/>
            <a:ext cx="360503" cy="3605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85" descr="C:\Users\NATALIA ROMERO\Desktop\Natalia\stuff\icons\People\Client-Male-Light-256.png"/>
          <p:cNvPicPr>
            <a:picLocks noChangeAspect="1" noChangeArrowheads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01322" y="4316722"/>
            <a:ext cx="391722" cy="391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89" descr="C:\Users\NATALIA ROMERO\Desktop\Natalia\stuff\icons\Going-up-green-256.png"/>
          <p:cNvPicPr>
            <a:picLocks noChangeAspect="1" noChangeArrowheads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382582" y="1294335"/>
            <a:ext cx="485014" cy="4850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Rectangle 4"/>
          <p:cNvSpPr>
            <a:spLocks noChangeArrowheads="1"/>
          </p:cNvSpPr>
          <p:nvPr/>
        </p:nvSpPr>
        <p:spPr bwMode="gray">
          <a:xfrm>
            <a:off x="5207515" y="3201241"/>
            <a:ext cx="3076592" cy="386638"/>
          </a:xfrm>
          <a:prstGeom prst="rect">
            <a:avLst/>
          </a:prstGeom>
          <a:solidFill>
            <a:schemeClr val="accent1"/>
          </a:solidFill>
          <a:ln w="1905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128559" tIns="93297" rIns="128559" bIns="93297" anchor="ctr"/>
          <a:lstStyle/>
          <a:p>
            <a:r>
              <a:rPr lang="es-ES" sz="1400" b="1" dirty="0">
                <a:solidFill>
                  <a:srgbClr val="009A46"/>
                </a:solidFill>
                <a:cs typeface="Arial" charset="0"/>
              </a:rPr>
              <a:t>¿Cómo se usa?</a:t>
            </a:r>
          </a:p>
        </p:txBody>
      </p:sp>
      <p:sp>
        <p:nvSpPr>
          <p:cNvPr id="45" name="Rectangle 6"/>
          <p:cNvSpPr txBox="1">
            <a:spLocks/>
          </p:cNvSpPr>
          <p:nvPr/>
        </p:nvSpPr>
        <p:spPr bwMode="auto">
          <a:xfrm>
            <a:off x="5287245" y="3753995"/>
            <a:ext cx="2935854" cy="267509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lvl="0" indent="0" defTabSz="1218026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="1" baseline="0">
                <a:solidFill>
                  <a:schemeClr val="tx2"/>
                </a:solidFill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="1" baseline="0">
                <a:solidFill>
                  <a:schemeClr val="tx2"/>
                </a:solidFill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9pPr>
          </a:lstStyle>
          <a:p>
            <a:pPr lvl="1">
              <a:spcAft>
                <a:spcPts val="729"/>
              </a:spcAft>
              <a:buClr>
                <a:srgbClr val="009A46"/>
              </a:buClr>
            </a:pPr>
            <a:r>
              <a:rPr lang="es-ES" b="0" dirty="0">
                <a:solidFill>
                  <a:srgbClr val="000000"/>
                </a:solidFill>
              </a:rPr>
              <a:t>Los indicadores pueden caracterizarse como medidas reveladoras diferentes de los reportes gerenciales tradicionales gracias a la selectividad de su enfoque</a:t>
            </a:r>
          </a:p>
          <a:p>
            <a:pPr lvl="1">
              <a:spcAft>
                <a:spcPts val="729"/>
              </a:spcAft>
              <a:buClr>
                <a:srgbClr val="009A46"/>
              </a:buClr>
            </a:pPr>
            <a:r>
              <a:rPr lang="es-ES" b="0" dirty="0">
                <a:solidFill>
                  <a:srgbClr val="000000"/>
                </a:solidFill>
              </a:rPr>
              <a:t>Los indicadores típicamente son generados en forma de un </a:t>
            </a:r>
            <a:r>
              <a:rPr lang="es-ES" b="0" i="1" dirty="0">
                <a:solidFill>
                  <a:srgbClr val="000000"/>
                </a:solidFill>
              </a:rPr>
              <a:t>pack </a:t>
            </a:r>
            <a:r>
              <a:rPr lang="es-ES" b="0" dirty="0">
                <a:solidFill>
                  <a:srgbClr val="000000"/>
                </a:solidFill>
              </a:rPr>
              <a:t>de datos de gestión - i.e., un informe completo o basado en excepciones en papel o electrónico</a:t>
            </a:r>
          </a:p>
        </p:txBody>
      </p:sp>
      <p:sp>
        <p:nvSpPr>
          <p:cNvPr id="46" name="Rectangle 6"/>
          <p:cNvSpPr txBox="1">
            <a:spLocks noChangeArrowheads="1"/>
          </p:cNvSpPr>
          <p:nvPr/>
        </p:nvSpPr>
        <p:spPr bwMode="auto">
          <a:xfrm>
            <a:off x="1606299" y="4756250"/>
            <a:ext cx="3413515" cy="7745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97607" lvl="1" indent="-195987" defTabSz="913526">
              <a:spcBef>
                <a:spcPts val="500"/>
              </a:spcBef>
              <a:buClr>
                <a:srgbClr val="009A46"/>
              </a:buClr>
              <a:buSzPct val="125000"/>
              <a:buFont typeface="Arial" charset="0"/>
              <a:buChar char="▪"/>
            </a:pPr>
            <a:r>
              <a:rPr lang="es-ES" sz="1400" dirty="0" smtClean="0">
                <a:solidFill>
                  <a:srgbClr val="000000"/>
                </a:solidFill>
              </a:rPr>
              <a:t>Vicepresidentes</a:t>
            </a:r>
          </a:p>
          <a:p>
            <a:pPr marL="197607" lvl="1" indent="-195987" defTabSz="913526">
              <a:spcBef>
                <a:spcPts val="500"/>
              </a:spcBef>
              <a:buClr>
                <a:srgbClr val="009A46"/>
              </a:buClr>
              <a:buSzPct val="125000"/>
              <a:buFont typeface="Arial" charset="0"/>
              <a:buChar char="▪"/>
            </a:pPr>
            <a:r>
              <a:rPr lang="es-ES" sz="1400" dirty="0" smtClean="0">
                <a:solidFill>
                  <a:srgbClr val="000000"/>
                </a:solidFill>
              </a:rPr>
              <a:t>Gerentes</a:t>
            </a:r>
          </a:p>
          <a:p>
            <a:pPr marL="197607" lvl="1" indent="-195987" defTabSz="913526">
              <a:spcBef>
                <a:spcPts val="500"/>
              </a:spcBef>
              <a:buClr>
                <a:srgbClr val="009A46"/>
              </a:buClr>
              <a:buSzPct val="125000"/>
              <a:buFont typeface="Arial" charset="0"/>
              <a:buChar char="▪"/>
            </a:pPr>
            <a:r>
              <a:rPr lang="es-ES" sz="1400" dirty="0" smtClean="0">
                <a:solidFill>
                  <a:srgbClr val="000000"/>
                </a:solidFill>
              </a:rPr>
              <a:t>Jefes</a:t>
            </a:r>
            <a:endParaRPr lang="es-ES" sz="1400" dirty="0">
              <a:solidFill>
                <a:srgbClr val="000000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CBC31EB3-570A-4AD1-BF19-F8C0A2B75757}"/>
              </a:ext>
            </a:extLst>
          </p:cNvPr>
          <p:cNvSpPr txBox="1"/>
          <p:nvPr/>
        </p:nvSpPr>
        <p:spPr>
          <a:xfrm>
            <a:off x="8875779" y="1777744"/>
            <a:ext cx="3059333" cy="461664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lvl="1">
              <a:spcAft>
                <a:spcPts val="364"/>
              </a:spcAft>
              <a:buClr>
                <a:srgbClr val="009A46"/>
              </a:buClr>
            </a:pPr>
            <a:r>
              <a:rPr lang="es-ES" sz="1400" b="1" dirty="0">
                <a:solidFill>
                  <a:srgbClr val="009A46"/>
                </a:solidFill>
                <a:cs typeface="Arial" charset="0"/>
              </a:rPr>
              <a:t>Para definir una dirección </a:t>
            </a:r>
            <a:r>
              <a:rPr lang="es-ES" sz="1400" b="1" dirty="0" smtClean="0">
                <a:solidFill>
                  <a:srgbClr val="009A46"/>
                </a:solidFill>
                <a:cs typeface="Arial" charset="0"/>
              </a:rPr>
              <a:t>operacional </a:t>
            </a:r>
            <a:r>
              <a:rPr lang="es-ES" sz="1400" dirty="0" smtClean="0">
                <a:solidFill>
                  <a:srgbClr val="000000"/>
                </a:solidFill>
              </a:rPr>
              <a:t>comprensible </a:t>
            </a:r>
            <a:r>
              <a:rPr lang="es-ES" sz="1400" dirty="0">
                <a:solidFill>
                  <a:srgbClr val="000000"/>
                </a:solidFill>
              </a:rPr>
              <a:t>en todos los niveles a fines de que todos tengan los mismos objetivos</a:t>
            </a:r>
          </a:p>
          <a:p>
            <a:pPr lvl="1">
              <a:spcAft>
                <a:spcPts val="364"/>
              </a:spcAft>
              <a:buClr>
                <a:srgbClr val="009A46"/>
              </a:buClr>
            </a:pPr>
            <a:r>
              <a:rPr lang="es-ES" sz="1400" b="1" dirty="0">
                <a:solidFill>
                  <a:srgbClr val="009A46"/>
                </a:solidFill>
                <a:cs typeface="Arial" charset="0"/>
              </a:rPr>
              <a:t>Para identificar desviaciones de las </a:t>
            </a:r>
            <a:r>
              <a:rPr lang="es-ES" sz="1400" b="1" dirty="0" smtClean="0">
                <a:solidFill>
                  <a:srgbClr val="009A46"/>
                </a:solidFill>
                <a:cs typeface="Arial" charset="0"/>
              </a:rPr>
              <a:t>expectativas, </a:t>
            </a:r>
            <a:r>
              <a:rPr lang="es-ES" sz="1400" dirty="0" smtClean="0">
                <a:solidFill>
                  <a:srgbClr val="000000"/>
                </a:solidFill>
                <a:cs typeface="Arial" charset="0"/>
              </a:rPr>
              <a:t>las cuales </a:t>
            </a:r>
            <a:r>
              <a:rPr lang="es-ES" sz="1400" dirty="0" smtClean="0">
                <a:solidFill>
                  <a:srgbClr val="000000"/>
                </a:solidFill>
              </a:rPr>
              <a:t>están </a:t>
            </a:r>
            <a:r>
              <a:rPr lang="es-ES" sz="1400" dirty="0">
                <a:solidFill>
                  <a:srgbClr val="000000"/>
                </a:solidFill>
              </a:rPr>
              <a:t>íntimamente vinculados con la resolución de problemas para eliminar desviaciones</a:t>
            </a:r>
          </a:p>
          <a:p>
            <a:pPr lvl="1">
              <a:spcAft>
                <a:spcPts val="364"/>
              </a:spcAft>
              <a:buClr>
                <a:srgbClr val="009A46"/>
              </a:buClr>
            </a:pPr>
            <a:r>
              <a:rPr lang="es-ES" sz="1400" b="1" dirty="0">
                <a:solidFill>
                  <a:srgbClr val="009A46"/>
                </a:solidFill>
                <a:cs typeface="Arial" charset="0"/>
              </a:rPr>
              <a:t>Para identificar necesidades de </a:t>
            </a:r>
            <a:r>
              <a:rPr lang="es-ES" sz="1400" b="1" i="1" dirty="0">
                <a:solidFill>
                  <a:srgbClr val="009A46"/>
                </a:solidFill>
                <a:cs typeface="Arial" charset="0"/>
              </a:rPr>
              <a:t>coaching </a:t>
            </a:r>
            <a:r>
              <a:rPr lang="es-ES" sz="1400" b="1" dirty="0" smtClean="0">
                <a:solidFill>
                  <a:srgbClr val="009A46"/>
                </a:solidFill>
                <a:cs typeface="Arial" charset="0"/>
              </a:rPr>
              <a:t>individual: </a:t>
            </a:r>
          </a:p>
          <a:p>
            <a:pPr lvl="1">
              <a:spcAft>
                <a:spcPts val="364"/>
              </a:spcAft>
              <a:buClr>
                <a:srgbClr val="009A46"/>
              </a:buClr>
            </a:pPr>
            <a:r>
              <a:rPr lang="es-ES" sz="1400" dirty="0" smtClean="0">
                <a:solidFill>
                  <a:srgbClr val="000000"/>
                </a:solidFill>
              </a:rPr>
              <a:t>identificar problemas </a:t>
            </a:r>
            <a:r>
              <a:rPr lang="es-ES" sz="1400" dirty="0">
                <a:solidFill>
                  <a:srgbClr val="000000"/>
                </a:solidFill>
              </a:rPr>
              <a:t>de desempeño individuales</a:t>
            </a:r>
          </a:p>
          <a:p>
            <a:pPr lvl="1">
              <a:spcAft>
                <a:spcPts val="364"/>
              </a:spcAft>
              <a:buClr>
                <a:srgbClr val="009A46"/>
              </a:buClr>
            </a:pPr>
            <a:r>
              <a:rPr lang="es-ES" sz="1400" dirty="0">
                <a:solidFill>
                  <a:srgbClr val="000000"/>
                </a:solidFill>
              </a:rPr>
              <a:t>B</a:t>
            </a:r>
            <a:r>
              <a:rPr lang="es-ES" sz="1400" dirty="0" smtClean="0">
                <a:solidFill>
                  <a:srgbClr val="000000"/>
                </a:solidFill>
              </a:rPr>
              <a:t>rindar contexto </a:t>
            </a:r>
            <a:r>
              <a:rPr lang="es-ES" sz="1400" dirty="0">
                <a:solidFill>
                  <a:srgbClr val="000000"/>
                </a:solidFill>
              </a:rPr>
              <a:t>para mejorar los procesos de gestión</a:t>
            </a:r>
          </a:p>
          <a:p>
            <a:pPr lvl="1">
              <a:spcAft>
                <a:spcPts val="364"/>
              </a:spcAft>
              <a:buClr>
                <a:srgbClr val="009A46"/>
              </a:buClr>
            </a:pPr>
            <a:r>
              <a:rPr lang="es-ES" sz="1400" dirty="0">
                <a:solidFill>
                  <a:srgbClr val="000000"/>
                </a:solidFill>
              </a:rPr>
              <a:t>A</a:t>
            </a:r>
            <a:r>
              <a:rPr lang="es-ES" sz="1400" dirty="0" smtClean="0">
                <a:solidFill>
                  <a:srgbClr val="000000"/>
                </a:solidFill>
              </a:rPr>
              <a:t>rticular </a:t>
            </a:r>
            <a:r>
              <a:rPr lang="es-ES" sz="1400" dirty="0">
                <a:solidFill>
                  <a:srgbClr val="000000"/>
                </a:solidFill>
              </a:rPr>
              <a:t>los objetivos de mejora del desempeño</a:t>
            </a:r>
          </a:p>
          <a:p>
            <a:pPr lvl="1">
              <a:spcAft>
                <a:spcPts val="364"/>
              </a:spcAft>
              <a:buClr>
                <a:srgbClr val="009A46"/>
              </a:buClr>
            </a:pPr>
            <a:r>
              <a:rPr lang="es-ES" sz="1400" dirty="0" smtClean="0">
                <a:solidFill>
                  <a:srgbClr val="000000"/>
                </a:solidFill>
              </a:rPr>
              <a:t>Plantear </a:t>
            </a:r>
            <a:r>
              <a:rPr lang="es-ES" sz="1400" dirty="0">
                <a:solidFill>
                  <a:srgbClr val="000000"/>
                </a:solidFill>
              </a:rPr>
              <a:t>cuestiones relevantes sobre las responsabilidades gerenciales</a:t>
            </a:r>
            <a:endParaRPr lang="es-ES" sz="1400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6AF6E677-74A3-4B6B-8FAB-FCF4176BB8BE}"/>
              </a:ext>
            </a:extLst>
          </p:cNvPr>
          <p:cNvSpPr txBox="1">
            <a:spLocks/>
          </p:cNvSpPr>
          <p:nvPr/>
        </p:nvSpPr>
        <p:spPr>
          <a:xfrm>
            <a:off x="5287245" y="1779349"/>
            <a:ext cx="2935854" cy="107721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lvl="0" indent="0" defTabSz="1218026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="1" baseline="0">
                <a:solidFill>
                  <a:schemeClr val="tx2"/>
                </a:solidFill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="1" baseline="0">
                <a:solidFill>
                  <a:schemeClr val="tx2"/>
                </a:solidFill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9pPr>
          </a:lstStyle>
          <a:p>
            <a:pPr lvl="1">
              <a:spcAft>
                <a:spcPts val="729"/>
              </a:spcAft>
              <a:buClr>
                <a:srgbClr val="009A46"/>
              </a:buClr>
            </a:pPr>
            <a:r>
              <a:rPr lang="es-ES" dirty="0">
                <a:solidFill>
                  <a:srgbClr val="009A46"/>
                </a:solidFill>
              </a:rPr>
              <a:t>Un entendimiento exhaustivo de la aspiración y de las palancas operacionales y/o comerciales que los gerentes puedan accionar para hacerla realidad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5CA9A895-045A-4FFE-9555-56BDE3B68005}"/>
              </a:ext>
            </a:extLst>
          </p:cNvPr>
          <p:cNvSpPr txBox="1">
            <a:spLocks/>
          </p:cNvSpPr>
          <p:nvPr/>
        </p:nvSpPr>
        <p:spPr>
          <a:xfrm>
            <a:off x="1606299" y="1779349"/>
            <a:ext cx="3413515" cy="211852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lvl="1">
              <a:spcAft>
                <a:spcPts val="729"/>
              </a:spcAft>
              <a:buClr>
                <a:srgbClr val="009A46"/>
              </a:buClr>
            </a:pPr>
            <a:r>
              <a:rPr lang="es-ES" sz="1400" dirty="0">
                <a:solidFill>
                  <a:srgbClr val="000000"/>
                </a:solidFill>
              </a:rPr>
              <a:t>Es la traducción operacional de la aspiración estratégica en una serie de parámetros cuantificables, simples, medibles y practicables</a:t>
            </a:r>
          </a:p>
          <a:p>
            <a:pPr lvl="1">
              <a:spcAft>
                <a:spcPts val="729"/>
              </a:spcAft>
              <a:buClr>
                <a:srgbClr val="009A46"/>
              </a:buClr>
            </a:pPr>
            <a:r>
              <a:rPr lang="es-ES" sz="1400" dirty="0">
                <a:solidFill>
                  <a:srgbClr val="000000"/>
                </a:solidFill>
              </a:rPr>
              <a:t>Un vehículo para modificar el proceso de administración de un negocio</a:t>
            </a:r>
          </a:p>
          <a:p>
            <a:pPr lvl="1">
              <a:spcAft>
                <a:spcPts val="729"/>
              </a:spcAft>
              <a:buClr>
                <a:srgbClr val="009A46"/>
              </a:buClr>
            </a:pPr>
            <a:r>
              <a:rPr lang="es-ES" sz="1400" dirty="0">
                <a:solidFill>
                  <a:srgbClr val="000000"/>
                </a:solidFill>
              </a:rPr>
              <a:t>Medidas que reflejan cambios en los </a:t>
            </a:r>
            <a:r>
              <a:rPr lang="es-ES" sz="1400" i="1" dirty="0">
                <a:solidFill>
                  <a:srgbClr val="000000"/>
                </a:solidFill>
              </a:rPr>
              <a:t>drivers </a:t>
            </a:r>
            <a:r>
              <a:rPr lang="es-ES" sz="1400" dirty="0">
                <a:solidFill>
                  <a:srgbClr val="000000"/>
                </a:solidFill>
              </a:rPr>
              <a:t>de desempeño clave y ayudan a diagnosticar áreas de acción</a:t>
            </a:r>
          </a:p>
        </p:txBody>
      </p:sp>
      <p:pic>
        <p:nvPicPr>
          <p:cNvPr id="27" name="Picture 73" descr="C:\Users\NATALIA ROMERO\Desktop\Natalia\stuff\icons\SIGNOS (+, -, x,chulos)\1530260834602739804.png"/>
          <p:cNvPicPr>
            <a:picLocks noChangeAspect="1" noChangeArrowheads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49164" y="3120024"/>
            <a:ext cx="494292" cy="5490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93" descr="C:\Users\NATALIA ROMERO\Desktop\Natalia\stuff\icons\1337984302_system-software-update.png"/>
          <p:cNvPicPr>
            <a:picLocks noChangeAspect="1" noChangeArrowheads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53028" y="1347737"/>
            <a:ext cx="390428" cy="3904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6348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9212923"/>
              </p:ext>
            </p:extLst>
          </p:nvPr>
        </p:nvGraphicFramePr>
        <p:xfrm>
          <a:off x="2165" y="1624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038" name="Diapositiva de think-cell" r:id="rId6" imgW="338" imgH="338" progId="TCLayout.ActiveDocument.1">
                  <p:embed/>
                </p:oleObj>
              </mc:Choice>
              <mc:Fallback>
                <p:oleObj name="Diapositiva de think-cell" r:id="rId6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65" y="1624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s-CL" sz="2000" b="1" dirty="0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921049" y="379810"/>
            <a:ext cx="8966425" cy="61555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tabLst/>
            </a:pPr>
            <a:r>
              <a:rPr lang="es-CL" dirty="0"/>
              <a:t>Los </a:t>
            </a:r>
            <a:r>
              <a:rPr lang="es-CL" dirty="0" err="1"/>
              <a:t>KPIs</a:t>
            </a:r>
            <a:r>
              <a:rPr lang="es-CL" dirty="0"/>
              <a:t> seleccionados tienen que ser relevantes para el área y cumplir con cinco criterios clave</a:t>
            </a:r>
          </a:p>
        </p:txBody>
      </p:sp>
      <p:sp>
        <p:nvSpPr>
          <p:cNvPr id="46" name="3. Unit of measure"/>
          <p:cNvSpPr txBox="1">
            <a:spLocks noChangeArrowheads="1"/>
          </p:cNvSpPr>
          <p:nvPr/>
        </p:nvSpPr>
        <p:spPr bwMode="auto">
          <a:xfrm>
            <a:off x="410270" y="1315816"/>
            <a:ext cx="1147720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>
                <a:solidFill>
                  <a:srgbClr val="808080"/>
                </a:solidFill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s-CL" sz="2000" dirty="0" smtClean="0">
                <a:sym typeface="Calibri" panose="020F0502020204030204" pitchFamily="34" charset="0"/>
              </a:rPr>
              <a:t>Criterios </a:t>
            </a:r>
            <a:r>
              <a:rPr lang="es-CL" sz="2000" dirty="0">
                <a:sym typeface="Calibri" panose="020F0502020204030204" pitchFamily="34" charset="0"/>
              </a:rPr>
              <a:t>para selección de </a:t>
            </a:r>
            <a:r>
              <a:rPr lang="es-CL" sz="2000" dirty="0" err="1">
                <a:sym typeface="Calibri" panose="020F0502020204030204" pitchFamily="34" charset="0"/>
              </a:rPr>
              <a:t>KPIs</a:t>
            </a:r>
            <a:endParaRPr lang="es-CL" sz="2000" dirty="0">
              <a:sym typeface="Calibri" panose="020F0502020204030204" pitchFamily="34" charset="0"/>
            </a:endParaRPr>
          </a:p>
        </p:txBody>
      </p:sp>
      <p:sp>
        <p:nvSpPr>
          <p:cNvPr id="72" name="Rectangle 2"/>
          <p:cNvSpPr>
            <a:spLocks noChangeArrowheads="1"/>
          </p:cNvSpPr>
          <p:nvPr/>
        </p:nvSpPr>
        <p:spPr bwMode="gray">
          <a:xfrm>
            <a:off x="410269" y="1712068"/>
            <a:ext cx="11371473" cy="479908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2"/>
            </a:solidFill>
            <a:miter lim="800000"/>
            <a:headEnd/>
            <a:tailEnd/>
          </a:ln>
          <a:effectLst>
            <a:outerShdw dist="53340" dir="2700000" algn="tl" rotWithShape="0">
              <a:schemeClr val="tx1">
                <a:alpha val="8000"/>
              </a:schemeClr>
            </a:outerShdw>
          </a:effectLst>
        </p:spPr>
        <p:txBody>
          <a:bodyPr vert="horz" wrap="square" lIns="111016" tIns="55508" rIns="111016" bIns="55508" numCol="1" anchor="t" anchorCtr="0" compatLnSpc="1">
            <a:prstTxWarp prst="textNoShape">
              <a:avLst/>
            </a:prstTxWarp>
          </a:bodyPr>
          <a:lstStyle/>
          <a:p>
            <a:r>
              <a:rPr lang="es-CL" sz="1700" dirty="0">
                <a:solidFill>
                  <a:srgbClr val="000000"/>
                </a:solidFill>
                <a:latin typeface="Arial"/>
              </a:rPr>
              <a:t> 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2942000" y="1925623"/>
            <a:ext cx="8336077" cy="280077"/>
            <a:chOff x="2162447" y="1403491"/>
            <a:chExt cx="6127234" cy="274505"/>
          </a:xfrm>
        </p:grpSpPr>
        <p:cxnSp>
          <p:nvCxnSpPr>
            <p:cNvPr id="51" name="AutoShape 249"/>
            <p:cNvCxnSpPr>
              <a:cxnSpLocks noChangeShapeType="1"/>
              <a:stCxn id="52" idx="4"/>
              <a:endCxn id="52" idx="6"/>
            </p:cNvCxnSpPr>
            <p:nvPr/>
          </p:nvCxnSpPr>
          <p:spPr bwMode="auto">
            <a:xfrm>
              <a:off x="2162447" y="1677996"/>
              <a:ext cx="6127234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2" name="AutoShape 250"/>
            <p:cNvSpPr>
              <a:spLocks noChangeArrowheads="1"/>
            </p:cNvSpPr>
            <p:nvPr/>
          </p:nvSpPr>
          <p:spPr bwMode="auto">
            <a:xfrm>
              <a:off x="2162447" y="1403491"/>
              <a:ext cx="6127234" cy="27450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s-CL" sz="1700" b="1" dirty="0">
                  <a:solidFill>
                    <a:srgbClr val="009A46"/>
                  </a:solidFill>
                  <a:latin typeface="Arial"/>
                </a:rPr>
                <a:t>Descripción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614360" y="1925623"/>
            <a:ext cx="2116607" cy="280077"/>
            <a:chOff x="451567" y="1403491"/>
            <a:chExt cx="1555761" cy="274505"/>
          </a:xfrm>
        </p:grpSpPr>
        <p:cxnSp>
          <p:nvCxnSpPr>
            <p:cNvPr id="53" name="AutoShape 249"/>
            <p:cNvCxnSpPr>
              <a:cxnSpLocks noChangeShapeType="1"/>
              <a:stCxn id="54" idx="4"/>
              <a:endCxn id="54" idx="6"/>
            </p:cNvCxnSpPr>
            <p:nvPr/>
          </p:nvCxnSpPr>
          <p:spPr bwMode="auto">
            <a:xfrm>
              <a:off x="451567" y="1677996"/>
              <a:ext cx="1555761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4" name="AutoShape 250"/>
            <p:cNvSpPr>
              <a:spLocks noChangeArrowheads="1"/>
            </p:cNvSpPr>
            <p:nvPr/>
          </p:nvSpPr>
          <p:spPr bwMode="auto">
            <a:xfrm>
              <a:off x="451567" y="1403491"/>
              <a:ext cx="1555761" cy="27450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r>
                <a:rPr lang="es-CL" sz="1700" b="1" dirty="0">
                  <a:solidFill>
                    <a:srgbClr val="009A46"/>
                  </a:solidFill>
                  <a:latin typeface="Arial"/>
                </a:rPr>
                <a:t>Criterios</a:t>
              </a:r>
            </a:p>
          </p:txBody>
        </p:sp>
      </p:grpSp>
      <p:grpSp>
        <p:nvGrpSpPr>
          <p:cNvPr id="58" name="Group 57"/>
          <p:cNvGrpSpPr/>
          <p:nvPr/>
        </p:nvGrpSpPr>
        <p:grpSpPr>
          <a:xfrm>
            <a:off x="614481" y="2337620"/>
            <a:ext cx="10663598" cy="570904"/>
            <a:chOff x="254768" y="1632011"/>
            <a:chExt cx="8482832" cy="486778"/>
          </a:xfrm>
        </p:grpSpPr>
        <p:sp>
          <p:nvSpPr>
            <p:cNvPr id="47" name="Rectangle 17"/>
            <p:cNvSpPr>
              <a:spLocks noChangeArrowheads="1"/>
            </p:cNvSpPr>
            <p:nvPr/>
          </p:nvSpPr>
          <p:spPr bwMode="auto">
            <a:xfrm>
              <a:off x="254768" y="1632011"/>
              <a:ext cx="1684338" cy="486778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accent2"/>
              </a:solidFill>
              <a:miter lim="800000"/>
              <a:headEnd/>
              <a:tailEnd/>
            </a:ln>
            <a:effectLst>
              <a:outerShdw dist="50800" dir="2700000" algn="ctr" rotWithShape="0">
                <a:schemeClr val="tx1">
                  <a:alpha val="5000"/>
                </a:schemeClr>
              </a:out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r>
                <a:rPr lang="es-CL" sz="1700" b="1" dirty="0">
                  <a:solidFill>
                    <a:srgbClr val="009A46"/>
                  </a:solidFill>
                  <a:latin typeface="Arial"/>
                  <a:cs typeface="Arial" pitchFamily="34" charset="0"/>
                </a:rPr>
                <a:t>Alineados </a:t>
              </a:r>
            </a:p>
          </p:txBody>
        </p:sp>
        <p:sp>
          <p:nvSpPr>
            <p:cNvPr id="50" name="Rectangle 53"/>
            <p:cNvSpPr txBox="1"/>
            <p:nvPr/>
          </p:nvSpPr>
          <p:spPr>
            <a:xfrm>
              <a:off x="2106297" y="1659956"/>
              <a:ext cx="6631303" cy="4461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>
                <a:buClr>
                  <a:srgbClr val="009A46"/>
                </a:buClr>
              </a:pPr>
              <a:r>
                <a:rPr lang="es-CL" sz="1700" dirty="0">
                  <a:solidFill>
                    <a:srgbClr val="000000"/>
                  </a:solidFill>
                </a:rPr>
                <a:t>Alineados con la aspiración</a:t>
              </a:r>
            </a:p>
            <a:p>
              <a:pPr lvl="1">
                <a:buClr>
                  <a:srgbClr val="009A46"/>
                </a:buClr>
              </a:pPr>
              <a:r>
                <a:rPr lang="es-CL" sz="1700" dirty="0">
                  <a:solidFill>
                    <a:srgbClr val="000000"/>
                  </a:solidFill>
                </a:rPr>
                <a:t>Consistentes con los niveles superiores/inferiores</a:t>
              </a:r>
            </a:p>
          </p:txBody>
        </p:sp>
      </p:grpSp>
      <p:grpSp>
        <p:nvGrpSpPr>
          <p:cNvPr id="57" name="Group 56"/>
          <p:cNvGrpSpPr/>
          <p:nvPr/>
        </p:nvGrpSpPr>
        <p:grpSpPr>
          <a:xfrm>
            <a:off x="614481" y="3041995"/>
            <a:ext cx="10663598" cy="570904"/>
            <a:chOff x="254768" y="2185741"/>
            <a:chExt cx="8482832" cy="486778"/>
          </a:xfrm>
        </p:grpSpPr>
        <p:sp>
          <p:nvSpPr>
            <p:cNvPr id="55" name="Rectangle 17"/>
            <p:cNvSpPr>
              <a:spLocks noChangeArrowheads="1"/>
            </p:cNvSpPr>
            <p:nvPr/>
          </p:nvSpPr>
          <p:spPr bwMode="auto">
            <a:xfrm>
              <a:off x="254768" y="2185741"/>
              <a:ext cx="1684338" cy="486778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accent2"/>
              </a:solidFill>
              <a:miter lim="800000"/>
              <a:headEnd/>
              <a:tailEnd/>
            </a:ln>
            <a:effectLst>
              <a:outerShdw dist="50800" dir="2700000" algn="ctr" rotWithShape="0">
                <a:schemeClr val="tx1">
                  <a:alpha val="5000"/>
                </a:schemeClr>
              </a:out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r>
                <a:rPr lang="es-CL" sz="1700" b="1" dirty="0">
                  <a:solidFill>
                    <a:srgbClr val="009A46"/>
                  </a:solidFill>
                  <a:latin typeface="Arial"/>
                  <a:cs typeface="Arial" pitchFamily="34" charset="0"/>
                </a:rPr>
                <a:t>MECE</a:t>
              </a:r>
            </a:p>
          </p:txBody>
        </p:sp>
        <p:sp>
          <p:nvSpPr>
            <p:cNvPr id="56" name="Rectangle 53"/>
            <p:cNvSpPr txBox="1"/>
            <p:nvPr/>
          </p:nvSpPr>
          <p:spPr>
            <a:xfrm>
              <a:off x="2106297" y="2321408"/>
              <a:ext cx="6631303" cy="2230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>
                <a:buClr>
                  <a:srgbClr val="009A46"/>
                </a:buClr>
              </a:pPr>
              <a:r>
                <a:rPr lang="es-CL" sz="1700" dirty="0">
                  <a:solidFill>
                    <a:srgbClr val="000000"/>
                  </a:solidFill>
                </a:rPr>
                <a:t>MECE: Mutuamente Excluyentes Completamente Exhaustivos</a:t>
              </a:r>
            </a:p>
          </p:txBody>
        </p:sp>
      </p:grpSp>
      <p:grpSp>
        <p:nvGrpSpPr>
          <p:cNvPr id="59" name="Group 58"/>
          <p:cNvGrpSpPr/>
          <p:nvPr/>
        </p:nvGrpSpPr>
        <p:grpSpPr>
          <a:xfrm>
            <a:off x="614481" y="3755306"/>
            <a:ext cx="10663598" cy="570904"/>
            <a:chOff x="254768" y="2226868"/>
            <a:chExt cx="8482832" cy="486778"/>
          </a:xfrm>
        </p:grpSpPr>
        <p:sp>
          <p:nvSpPr>
            <p:cNvPr id="60" name="Rectangle 17"/>
            <p:cNvSpPr>
              <a:spLocks noChangeArrowheads="1"/>
            </p:cNvSpPr>
            <p:nvPr/>
          </p:nvSpPr>
          <p:spPr bwMode="auto">
            <a:xfrm>
              <a:off x="254768" y="2226868"/>
              <a:ext cx="1684338" cy="486778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accent2"/>
              </a:solidFill>
              <a:miter lim="800000"/>
              <a:headEnd/>
              <a:tailEnd/>
            </a:ln>
            <a:effectLst>
              <a:outerShdw dist="50800" dir="2700000" algn="ctr" rotWithShape="0">
                <a:schemeClr val="tx1">
                  <a:alpha val="5000"/>
                </a:schemeClr>
              </a:out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r>
                <a:rPr lang="es-CL" sz="1700" b="1" dirty="0">
                  <a:solidFill>
                    <a:srgbClr val="009A46"/>
                  </a:solidFill>
                  <a:latin typeface="Arial"/>
                  <a:cs typeface="Arial" pitchFamily="34" charset="0"/>
                </a:rPr>
                <a:t>SMART</a:t>
              </a:r>
            </a:p>
          </p:txBody>
        </p:sp>
        <p:sp>
          <p:nvSpPr>
            <p:cNvPr id="61" name="Rectangle 53"/>
            <p:cNvSpPr txBox="1"/>
            <p:nvPr/>
          </p:nvSpPr>
          <p:spPr>
            <a:xfrm>
              <a:off x="2106297" y="2254814"/>
              <a:ext cx="6631303" cy="4461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>
                <a:buClr>
                  <a:srgbClr val="009A46"/>
                </a:buClr>
              </a:pPr>
              <a:r>
                <a:rPr lang="es-CL" sz="1700" dirty="0">
                  <a:solidFill>
                    <a:srgbClr val="000000"/>
                  </a:solidFill>
                </a:rPr>
                <a:t>SMART: </a:t>
              </a:r>
              <a:r>
                <a:rPr lang="es-CL" sz="1700" dirty="0" err="1">
                  <a:solidFill>
                    <a:srgbClr val="000000"/>
                  </a:solidFill>
                </a:rPr>
                <a:t>eSpecíficos</a:t>
              </a:r>
              <a:r>
                <a:rPr lang="es-CL" sz="1700" dirty="0">
                  <a:solidFill>
                    <a:srgbClr val="000000"/>
                  </a:solidFill>
                </a:rPr>
                <a:t>, Medibles, Accionables, Realistas, Time-</a:t>
              </a:r>
              <a:r>
                <a:rPr lang="es-CL" sz="1700" dirty="0" err="1">
                  <a:solidFill>
                    <a:srgbClr val="000000"/>
                  </a:solidFill>
                </a:rPr>
                <a:t>bound</a:t>
              </a:r>
              <a:r>
                <a:rPr lang="es-CL" sz="1700" dirty="0">
                  <a:solidFill>
                    <a:srgbClr val="000000"/>
                  </a:solidFill>
                </a:rPr>
                <a:t> (restringidos en tiempo)</a:t>
              </a:r>
            </a:p>
          </p:txBody>
        </p:sp>
      </p:grpSp>
      <p:grpSp>
        <p:nvGrpSpPr>
          <p:cNvPr id="62" name="Group 61"/>
          <p:cNvGrpSpPr/>
          <p:nvPr/>
        </p:nvGrpSpPr>
        <p:grpSpPr>
          <a:xfrm>
            <a:off x="626446" y="4490615"/>
            <a:ext cx="10651637" cy="570904"/>
            <a:chOff x="264283" y="2212117"/>
            <a:chExt cx="8473317" cy="486778"/>
          </a:xfrm>
        </p:grpSpPr>
        <p:sp>
          <p:nvSpPr>
            <p:cNvPr id="63" name="Rectangle 17"/>
            <p:cNvSpPr>
              <a:spLocks noChangeArrowheads="1"/>
            </p:cNvSpPr>
            <p:nvPr/>
          </p:nvSpPr>
          <p:spPr bwMode="auto">
            <a:xfrm>
              <a:off x="264283" y="2212117"/>
              <a:ext cx="1684338" cy="486778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accent2"/>
              </a:solidFill>
              <a:miter lim="800000"/>
              <a:headEnd/>
              <a:tailEnd/>
            </a:ln>
            <a:effectLst>
              <a:outerShdw dist="50800" dir="2700000" algn="ctr" rotWithShape="0">
                <a:schemeClr val="tx1">
                  <a:alpha val="5000"/>
                </a:schemeClr>
              </a:out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r>
                <a:rPr lang="es-CL" sz="1700" b="1" dirty="0">
                  <a:solidFill>
                    <a:srgbClr val="009A46"/>
                  </a:solidFill>
                  <a:latin typeface="Arial"/>
                  <a:cs typeface="Arial" pitchFamily="34" charset="0"/>
                </a:rPr>
                <a:t>Limitados</a:t>
              </a:r>
            </a:p>
          </p:txBody>
        </p:sp>
        <p:sp>
          <p:nvSpPr>
            <p:cNvPr id="64" name="Rectangle 53"/>
            <p:cNvSpPr txBox="1"/>
            <p:nvPr/>
          </p:nvSpPr>
          <p:spPr>
            <a:xfrm>
              <a:off x="2106297" y="2347784"/>
              <a:ext cx="6631303" cy="2230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>
                <a:buClr>
                  <a:srgbClr val="009A46"/>
                </a:buClr>
              </a:pPr>
              <a:r>
                <a:rPr lang="es-CL" sz="1700" dirty="0">
                  <a:solidFill>
                    <a:srgbClr val="000000"/>
                  </a:solidFill>
                </a:rPr>
                <a:t>Limitados en número, se aconseja unos 5 por rol</a:t>
              </a:r>
            </a:p>
          </p:txBody>
        </p:sp>
      </p:grpSp>
      <p:grpSp>
        <p:nvGrpSpPr>
          <p:cNvPr id="65" name="Group 64"/>
          <p:cNvGrpSpPr/>
          <p:nvPr/>
        </p:nvGrpSpPr>
        <p:grpSpPr>
          <a:xfrm>
            <a:off x="614480" y="5257209"/>
            <a:ext cx="10916791" cy="1010708"/>
            <a:chOff x="254768" y="2224035"/>
            <a:chExt cx="8684245" cy="861774"/>
          </a:xfrm>
        </p:grpSpPr>
        <p:sp>
          <p:nvSpPr>
            <p:cNvPr id="66" name="Rectangle 17"/>
            <p:cNvSpPr>
              <a:spLocks noChangeArrowheads="1"/>
            </p:cNvSpPr>
            <p:nvPr/>
          </p:nvSpPr>
          <p:spPr bwMode="auto">
            <a:xfrm>
              <a:off x="254768" y="2229701"/>
              <a:ext cx="1684338" cy="856108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accent2"/>
              </a:solidFill>
              <a:miter lim="800000"/>
              <a:headEnd/>
              <a:tailEnd/>
            </a:ln>
            <a:effectLst>
              <a:outerShdw dist="50800" dir="2700000" algn="ctr" rotWithShape="0">
                <a:schemeClr val="tx1">
                  <a:alpha val="5000"/>
                </a:schemeClr>
              </a:out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r>
                <a:rPr lang="es-CL" sz="1700" b="1" dirty="0">
                  <a:solidFill>
                    <a:srgbClr val="009A46"/>
                  </a:solidFill>
                  <a:latin typeface="Arial"/>
                  <a:cs typeface="Arial" pitchFamily="34" charset="0"/>
                </a:rPr>
                <a:t>Balanceados </a:t>
              </a:r>
            </a:p>
          </p:txBody>
        </p:sp>
        <p:sp>
          <p:nvSpPr>
            <p:cNvPr id="67" name="Rectangle 53"/>
            <p:cNvSpPr txBox="1"/>
            <p:nvPr/>
          </p:nvSpPr>
          <p:spPr>
            <a:xfrm>
              <a:off x="2106297" y="2224035"/>
              <a:ext cx="6832716" cy="6691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>
                <a:buClr>
                  <a:srgbClr val="009A46"/>
                </a:buClr>
              </a:pPr>
              <a:r>
                <a:rPr lang="es-CL" sz="1700" dirty="0">
                  <a:solidFill>
                    <a:srgbClr val="000000"/>
                  </a:solidFill>
                </a:rPr>
                <a:t>Balancear indicadores de proceso (</a:t>
              </a:r>
              <a:r>
                <a:rPr lang="es-CL" sz="1700" i="1" dirty="0" err="1">
                  <a:solidFill>
                    <a:srgbClr val="000000"/>
                  </a:solidFill>
                </a:rPr>
                <a:t>leading</a:t>
              </a:r>
              <a:r>
                <a:rPr lang="es-CL" sz="1700" i="1" dirty="0">
                  <a:solidFill>
                    <a:srgbClr val="000000"/>
                  </a:solidFill>
                </a:rPr>
                <a:t> </a:t>
              </a:r>
              <a:r>
                <a:rPr lang="es-CL" sz="1700" i="1" dirty="0" err="1">
                  <a:solidFill>
                    <a:srgbClr val="000000"/>
                  </a:solidFill>
                </a:rPr>
                <a:t>indicators</a:t>
              </a:r>
              <a:r>
                <a:rPr lang="es-CL" sz="1700" dirty="0">
                  <a:solidFill>
                    <a:srgbClr val="000000"/>
                  </a:solidFill>
                </a:rPr>
                <a:t>) con indicadores de resultado (</a:t>
              </a:r>
              <a:r>
                <a:rPr lang="es-CL" sz="1700" i="1" dirty="0" err="1">
                  <a:solidFill>
                    <a:srgbClr val="000000"/>
                  </a:solidFill>
                </a:rPr>
                <a:t>lagging</a:t>
              </a:r>
              <a:r>
                <a:rPr lang="es-CL" sz="1700" i="1" dirty="0">
                  <a:solidFill>
                    <a:srgbClr val="000000"/>
                  </a:solidFill>
                </a:rPr>
                <a:t> </a:t>
              </a:r>
              <a:r>
                <a:rPr lang="es-CL" sz="1700" i="1" dirty="0" err="1">
                  <a:solidFill>
                    <a:srgbClr val="000000"/>
                  </a:solidFill>
                </a:rPr>
                <a:t>indicators</a:t>
              </a:r>
              <a:r>
                <a:rPr lang="es-CL" sz="1700" dirty="0">
                  <a:solidFill>
                    <a:srgbClr val="000000"/>
                  </a:solidFill>
                </a:rPr>
                <a:t>)</a:t>
              </a:r>
            </a:p>
            <a:p>
              <a:pPr lvl="1">
                <a:buClr>
                  <a:srgbClr val="009A46"/>
                </a:buClr>
              </a:pPr>
              <a:r>
                <a:rPr lang="es-CL" sz="1700" dirty="0">
                  <a:solidFill>
                    <a:srgbClr val="000000"/>
                  </a:solidFill>
                </a:rPr>
                <a:t>Cubrir las distintas categorías relevantes (</a:t>
              </a:r>
              <a:r>
                <a:rPr lang="es-CL" sz="1700" dirty="0" err="1">
                  <a:solidFill>
                    <a:srgbClr val="000000"/>
                  </a:solidFill>
                </a:rPr>
                <a:t>ej</a:t>
              </a:r>
              <a:r>
                <a:rPr lang="es-CL" sz="1700" dirty="0">
                  <a:solidFill>
                    <a:srgbClr val="000000"/>
                  </a:solidFill>
                </a:rPr>
                <a:t>: productividad, costo, seguridad, otros)</a:t>
              </a:r>
            </a:p>
          </p:txBody>
        </p:sp>
      </p:grpSp>
      <p:sp>
        <p:nvSpPr>
          <p:cNvPr id="68" name="Line 26"/>
          <p:cNvSpPr>
            <a:spLocks noChangeShapeType="1"/>
          </p:cNvSpPr>
          <p:nvPr/>
        </p:nvSpPr>
        <p:spPr bwMode="auto">
          <a:xfrm>
            <a:off x="2942005" y="2999373"/>
            <a:ext cx="8357033" cy="0"/>
          </a:xfrm>
          <a:prstGeom prst="line">
            <a:avLst/>
          </a:prstGeom>
          <a:noFill/>
          <a:ln w="6350">
            <a:solidFill>
              <a:schemeClr val="accent6">
                <a:lumMod val="40000"/>
                <a:lumOff val="60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11016" tIns="55508" rIns="111016" bIns="55508" numCol="1" anchor="t" anchorCtr="0" compatLnSpc="1">
            <a:prstTxWarp prst="textNoShape">
              <a:avLst/>
            </a:prstTxWarp>
          </a:bodyPr>
          <a:lstStyle/>
          <a:p>
            <a:endParaRPr lang="es-CL" sz="17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Line 26"/>
          <p:cNvSpPr>
            <a:spLocks noChangeShapeType="1"/>
          </p:cNvSpPr>
          <p:nvPr/>
        </p:nvSpPr>
        <p:spPr bwMode="auto">
          <a:xfrm>
            <a:off x="2942005" y="4417062"/>
            <a:ext cx="8357033" cy="0"/>
          </a:xfrm>
          <a:prstGeom prst="line">
            <a:avLst/>
          </a:prstGeom>
          <a:noFill/>
          <a:ln w="6350">
            <a:solidFill>
              <a:schemeClr val="accent6">
                <a:lumMod val="40000"/>
                <a:lumOff val="60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11016" tIns="55508" rIns="111016" bIns="55508" numCol="1" anchor="t" anchorCtr="0" compatLnSpc="1">
            <a:prstTxWarp prst="textNoShape">
              <a:avLst/>
            </a:prstTxWarp>
          </a:bodyPr>
          <a:lstStyle/>
          <a:p>
            <a:endParaRPr lang="es-CL" sz="17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Line 26"/>
          <p:cNvSpPr>
            <a:spLocks noChangeShapeType="1"/>
          </p:cNvSpPr>
          <p:nvPr/>
        </p:nvSpPr>
        <p:spPr bwMode="auto">
          <a:xfrm>
            <a:off x="2942005" y="5169672"/>
            <a:ext cx="8357033" cy="0"/>
          </a:xfrm>
          <a:prstGeom prst="line">
            <a:avLst/>
          </a:prstGeom>
          <a:noFill/>
          <a:ln w="6350">
            <a:solidFill>
              <a:schemeClr val="accent6">
                <a:lumMod val="40000"/>
                <a:lumOff val="60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11016" tIns="55508" rIns="111016" bIns="55508" numCol="1" anchor="t" anchorCtr="0" compatLnSpc="1">
            <a:prstTxWarp prst="textNoShape">
              <a:avLst/>
            </a:prstTxWarp>
          </a:bodyPr>
          <a:lstStyle/>
          <a:p>
            <a:endParaRPr lang="es-CL" sz="17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Line 26"/>
          <p:cNvSpPr>
            <a:spLocks noChangeShapeType="1"/>
          </p:cNvSpPr>
          <p:nvPr/>
        </p:nvSpPr>
        <p:spPr bwMode="auto">
          <a:xfrm>
            <a:off x="2921049" y="3664452"/>
            <a:ext cx="8357033" cy="0"/>
          </a:xfrm>
          <a:prstGeom prst="line">
            <a:avLst/>
          </a:prstGeom>
          <a:noFill/>
          <a:ln w="6350">
            <a:solidFill>
              <a:schemeClr val="accent6">
                <a:lumMod val="40000"/>
                <a:lumOff val="60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11016" tIns="55508" rIns="111016" bIns="55508" numCol="1" anchor="t" anchorCtr="0" compatLnSpc="1">
            <a:prstTxWarp prst="textNoShape">
              <a:avLst/>
            </a:prstTxWarp>
          </a:bodyPr>
          <a:lstStyle/>
          <a:p>
            <a:endParaRPr lang="es-CL" sz="17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556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28567" name="Object 5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4270" y="1"/>
          <a:ext cx="16197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062" name="Diapositiva de think-cell" r:id="rId11" imgW="360" imgH="360" progId="TCLayout.ActiveDocument.1">
                  <p:embed/>
                </p:oleObj>
              </mc:Choice>
              <mc:Fallback>
                <p:oleObj name="Diapositiva de think-cell" r:id="rId11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270" y="1"/>
                        <a:ext cx="16197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28570" name="Title 1"/>
          <p:cNvSpPr>
            <a:spLocks noGrp="1"/>
          </p:cNvSpPr>
          <p:nvPr>
            <p:ph type="title"/>
          </p:nvPr>
        </p:nvSpPr>
        <p:spPr>
          <a:xfrm>
            <a:off x="2913196" y="371005"/>
            <a:ext cx="9055371" cy="61555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marL="368300"/>
            <a:r>
              <a:rPr lang="es-CL" dirty="0"/>
              <a:t>Los diálogos de desempeño son una de dos herramientas utilizadas para detectar desviaciones de la aspiración</a:t>
            </a:r>
            <a:endParaRPr lang="es-ES" dirty="0"/>
          </a:p>
        </p:txBody>
      </p:sp>
      <p:sp>
        <p:nvSpPr>
          <p:cNvPr id="40" name="1. On-page tracker"/>
          <p:cNvSpPr>
            <a:spLocks noChangeArrowheads="1"/>
          </p:cNvSpPr>
          <p:nvPr/>
        </p:nvSpPr>
        <p:spPr bwMode="auto">
          <a:xfrm>
            <a:off x="1317688" y="77303"/>
            <a:ext cx="1497846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s-ES_tradnl" sz="800" cap="all">
                <a:solidFill>
                  <a:srgbClr val="808080"/>
                </a:solidFill>
                <a:latin typeface="Arial"/>
              </a:rPr>
              <a:t>ASPIRACIÓN</a:t>
            </a:r>
            <a:endParaRPr lang="es-ES_tradnl" sz="800" cap="all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4" name="Marvintitletrackercircle">
            <a:extLst>
              <a:ext uri="{FF2B5EF4-FFF2-40B4-BE49-F238E27FC236}">
                <a16:creationId xmlns:a16="http://schemas.microsoft.com/office/drawing/2014/main" xmlns="" id="{B301ED28-5139-48F5-8B46-1C8948D3506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821971" y="382531"/>
            <a:ext cx="330200" cy="330200"/>
          </a:xfrm>
          <a:prstGeom prst="ellipse">
            <a:avLst/>
          </a:prstGeom>
          <a:solidFill>
            <a:schemeClr val="accent4"/>
          </a:solidFill>
          <a:ln w="9525">
            <a:noFill/>
          </a:ln>
          <a:effectLst>
            <a:glow>
              <a:schemeClr val="accent1">
                <a:alpha val="40000"/>
              </a:schemeClr>
            </a:glow>
            <a:outerShdw blurRad="101600" sx="64000" sy="64000" rotWithShape="0">
              <a:schemeClr val="tx1"/>
            </a:outerShdw>
          </a:effectLst>
          <a:scene3d>
            <a:camera prst="orthographicFront"/>
            <a:lightRig rig="balanced" dir="t">
              <a:rot lat="0" lon="0" rev="7800000"/>
            </a:lightRig>
          </a:scene3d>
          <a:sp3d>
            <a:bevelT w="254000" h="31750"/>
            <a:bevelB w="0" h="38100"/>
            <a:extrusionClr>
              <a:schemeClr val="bg2"/>
            </a:extrusionClr>
            <a:contourClr>
              <a:schemeClr val="accent3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2000" b="1" dirty="0">
                <a:solidFill>
                  <a:srgbClr val="FFFFFF"/>
                </a:solidFill>
              </a:rPr>
              <a:t>C</a:t>
            </a:r>
          </a:p>
        </p:txBody>
      </p:sp>
      <p:sp>
        <p:nvSpPr>
          <p:cNvPr id="39" name="Rectangle 4"/>
          <p:cNvSpPr>
            <a:spLocks noChangeArrowheads="1"/>
          </p:cNvSpPr>
          <p:nvPr/>
        </p:nvSpPr>
        <p:spPr bwMode="auto">
          <a:xfrm>
            <a:off x="2419940" y="1374481"/>
            <a:ext cx="4384166" cy="5121333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lIns="86855" tIns="43457" rIns="86855" bIns="43457" anchor="ctr"/>
          <a:lstStyle/>
          <a:p>
            <a:pPr defTabSz="868494">
              <a:defRPr/>
            </a:pPr>
            <a:endParaRPr lang="es-CL" sz="1300">
              <a:solidFill>
                <a:srgbClr val="000000"/>
              </a:solidFill>
            </a:endParaRPr>
          </a:p>
          <a:p>
            <a:pPr defTabSz="868494">
              <a:defRPr/>
            </a:pPr>
            <a:endParaRPr lang="es-CL" sz="1300">
              <a:solidFill>
                <a:srgbClr val="000000"/>
              </a:solidFill>
            </a:endParaRPr>
          </a:p>
          <a:p>
            <a:pPr defTabSz="868494">
              <a:defRPr/>
            </a:pPr>
            <a:endParaRPr lang="es-CL" sz="1300">
              <a:solidFill>
                <a:srgbClr val="000000"/>
              </a:solidFill>
            </a:endParaRPr>
          </a:p>
          <a:p>
            <a:pPr defTabSz="868494">
              <a:defRPr/>
            </a:pPr>
            <a:endParaRPr lang="es-CL" sz="1300">
              <a:solidFill>
                <a:srgbClr val="000000"/>
              </a:solidFill>
            </a:endParaRPr>
          </a:p>
          <a:p>
            <a:pPr defTabSz="868494">
              <a:defRPr/>
            </a:pPr>
            <a:endParaRPr lang="es-CL" sz="1300">
              <a:solidFill>
                <a:srgbClr val="000000"/>
              </a:solidFill>
            </a:endParaRPr>
          </a:p>
          <a:p>
            <a:pPr defTabSz="868494">
              <a:defRPr/>
            </a:pPr>
            <a:endParaRPr lang="es-CL" sz="1300">
              <a:solidFill>
                <a:srgbClr val="000000"/>
              </a:solidFill>
            </a:endParaRPr>
          </a:p>
          <a:p>
            <a:pPr defTabSz="868494">
              <a:defRPr/>
            </a:pPr>
            <a:endParaRPr lang="es-CL" sz="1300">
              <a:solidFill>
                <a:srgbClr val="000000"/>
              </a:solidFill>
            </a:endParaRPr>
          </a:p>
          <a:p>
            <a:pPr defTabSz="868494">
              <a:defRPr/>
            </a:pPr>
            <a:endParaRPr lang="es-CL" sz="1300">
              <a:solidFill>
                <a:srgbClr val="000000"/>
              </a:solidFill>
            </a:endParaRPr>
          </a:p>
          <a:p>
            <a:pPr defTabSz="868494">
              <a:defRPr/>
            </a:pPr>
            <a:endParaRPr lang="es-CL" sz="1300">
              <a:solidFill>
                <a:srgbClr val="000000"/>
              </a:solidFill>
            </a:endParaRPr>
          </a:p>
          <a:p>
            <a:pPr defTabSz="868494">
              <a:defRPr/>
            </a:pPr>
            <a:endParaRPr lang="es-CL" sz="1300">
              <a:solidFill>
                <a:srgbClr val="000000"/>
              </a:solidFill>
            </a:endParaRPr>
          </a:p>
          <a:p>
            <a:pPr defTabSz="868494">
              <a:defRPr/>
            </a:pPr>
            <a:endParaRPr lang="es-CL" sz="1300">
              <a:solidFill>
                <a:srgbClr val="000000"/>
              </a:solidFill>
            </a:endParaRPr>
          </a:p>
          <a:p>
            <a:pPr defTabSz="868494">
              <a:defRPr/>
            </a:pPr>
            <a:endParaRPr lang="es-CL" sz="1300">
              <a:solidFill>
                <a:srgbClr val="000000"/>
              </a:solidFill>
            </a:endParaRPr>
          </a:p>
          <a:p>
            <a:pPr defTabSz="868494">
              <a:defRPr/>
            </a:pPr>
            <a:endParaRPr lang="es-CL" sz="1300">
              <a:solidFill>
                <a:srgbClr val="000000"/>
              </a:solidFill>
            </a:endParaRPr>
          </a:p>
        </p:txBody>
      </p:sp>
      <p:sp>
        <p:nvSpPr>
          <p:cNvPr id="44" name="Rectangle 4"/>
          <p:cNvSpPr>
            <a:spLocks noChangeArrowheads="1"/>
          </p:cNvSpPr>
          <p:nvPr/>
        </p:nvSpPr>
        <p:spPr bwMode="auto">
          <a:xfrm>
            <a:off x="2419940" y="1373625"/>
            <a:ext cx="4384166" cy="32833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  <a:extLst/>
        </p:spPr>
        <p:txBody>
          <a:bodyPr wrap="none" lIns="86855" tIns="43457" rIns="86855" bIns="43457"/>
          <a:lstStyle/>
          <a:p>
            <a:pPr algn="ctr" defTabSz="868494">
              <a:defRPr/>
            </a:pPr>
            <a:endParaRPr lang="es-CL" sz="1300" b="1">
              <a:solidFill>
                <a:srgbClr val="009A46"/>
              </a:solidFill>
              <a:latin typeface="Arial"/>
            </a:endParaRPr>
          </a:p>
          <a:p>
            <a:pPr algn="ctr" defTabSz="868494">
              <a:defRPr/>
            </a:pPr>
            <a:endParaRPr lang="es-CL" sz="1300" b="1">
              <a:solidFill>
                <a:srgbClr val="009A46"/>
              </a:solidFill>
              <a:latin typeface="Arial"/>
            </a:endParaRPr>
          </a:p>
          <a:p>
            <a:pPr algn="ctr" defTabSz="868494">
              <a:defRPr/>
            </a:pPr>
            <a:endParaRPr lang="es-CL" sz="1300" b="1">
              <a:solidFill>
                <a:srgbClr val="009A46"/>
              </a:solidFill>
              <a:latin typeface="Arial"/>
            </a:endParaRPr>
          </a:p>
          <a:p>
            <a:pPr algn="ctr" defTabSz="868494">
              <a:defRPr/>
            </a:pPr>
            <a:endParaRPr lang="es-CL" sz="1300" b="1">
              <a:solidFill>
                <a:srgbClr val="009A46"/>
              </a:solidFill>
              <a:latin typeface="Arial"/>
            </a:endParaRPr>
          </a:p>
          <a:p>
            <a:pPr algn="ctr" defTabSz="868494">
              <a:defRPr/>
            </a:pPr>
            <a:endParaRPr lang="es-CL" sz="1300" b="1">
              <a:solidFill>
                <a:srgbClr val="009A46"/>
              </a:solidFill>
              <a:latin typeface="Arial"/>
            </a:endParaRPr>
          </a:p>
          <a:p>
            <a:pPr algn="ctr" defTabSz="868494">
              <a:defRPr/>
            </a:pPr>
            <a:endParaRPr lang="es-CL" sz="1300" b="1">
              <a:solidFill>
                <a:srgbClr val="009A46"/>
              </a:solidFill>
              <a:latin typeface="Arial"/>
            </a:endParaRPr>
          </a:p>
          <a:p>
            <a:pPr algn="ctr" defTabSz="868494">
              <a:defRPr/>
            </a:pPr>
            <a:endParaRPr lang="es-CL" sz="1300" b="1">
              <a:solidFill>
                <a:srgbClr val="009A46"/>
              </a:solidFill>
              <a:latin typeface="Arial"/>
            </a:endParaRPr>
          </a:p>
          <a:p>
            <a:pPr algn="ctr" defTabSz="868494">
              <a:defRPr/>
            </a:pPr>
            <a:endParaRPr lang="es-CL" sz="1300" b="1">
              <a:solidFill>
                <a:srgbClr val="009A46"/>
              </a:solidFill>
              <a:latin typeface="Arial"/>
            </a:endParaRPr>
          </a:p>
          <a:p>
            <a:pPr algn="ctr" defTabSz="868494">
              <a:defRPr/>
            </a:pPr>
            <a:endParaRPr lang="es-CL" sz="1300" b="1">
              <a:solidFill>
                <a:srgbClr val="009A46"/>
              </a:solidFill>
              <a:latin typeface="Arial"/>
            </a:endParaRPr>
          </a:p>
          <a:p>
            <a:pPr algn="ctr" defTabSz="868494">
              <a:defRPr/>
            </a:pPr>
            <a:endParaRPr lang="es-CL" sz="1300" b="1">
              <a:solidFill>
                <a:srgbClr val="009A46"/>
              </a:solidFill>
              <a:latin typeface="Arial"/>
            </a:endParaRPr>
          </a:p>
          <a:p>
            <a:pPr algn="ctr" defTabSz="868494">
              <a:defRPr/>
            </a:pPr>
            <a:endParaRPr lang="es-CL" sz="1300" b="1">
              <a:solidFill>
                <a:srgbClr val="009A46"/>
              </a:solidFill>
              <a:latin typeface="Arial"/>
            </a:endParaRPr>
          </a:p>
          <a:p>
            <a:pPr algn="ctr" defTabSz="868494">
              <a:defRPr/>
            </a:pPr>
            <a:endParaRPr lang="es-CL" sz="1300" b="1">
              <a:solidFill>
                <a:srgbClr val="009A46"/>
              </a:solidFill>
              <a:latin typeface="Arial"/>
            </a:endParaRPr>
          </a:p>
          <a:p>
            <a:pPr algn="ctr" defTabSz="868494">
              <a:defRPr/>
            </a:pPr>
            <a:endParaRPr lang="es-CL" sz="1300" b="1">
              <a:solidFill>
                <a:srgbClr val="009A46"/>
              </a:solidFill>
              <a:latin typeface="Arial"/>
            </a:endParaRPr>
          </a:p>
        </p:txBody>
      </p:sp>
      <p:sp>
        <p:nvSpPr>
          <p:cNvPr id="47" name="Rectangle 6"/>
          <p:cNvSpPr>
            <a:spLocks noChangeArrowheads="1"/>
          </p:cNvSpPr>
          <p:nvPr/>
        </p:nvSpPr>
        <p:spPr bwMode="gray">
          <a:xfrm>
            <a:off x="2526502" y="1417486"/>
            <a:ext cx="867458" cy="2406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50403">
              <a:buClr>
                <a:srgbClr val="002960"/>
              </a:buClr>
              <a:defRPr/>
            </a:pPr>
            <a:r>
              <a:rPr lang="es-CL" b="1">
                <a:solidFill>
                  <a:srgbClr val="009A46"/>
                </a:solidFill>
                <a:latin typeface="Arial"/>
              </a:rPr>
              <a:t>Ilustración</a:t>
            </a:r>
          </a:p>
        </p:txBody>
      </p:sp>
      <p:sp>
        <p:nvSpPr>
          <p:cNvPr id="49" name="Rectangle 3"/>
          <p:cNvSpPr>
            <a:spLocks noChangeArrowheads="1"/>
          </p:cNvSpPr>
          <p:nvPr/>
        </p:nvSpPr>
        <p:spPr bwMode="auto">
          <a:xfrm>
            <a:off x="6969855" y="1373605"/>
            <a:ext cx="4063316" cy="5121334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lIns="86855" tIns="43457" rIns="86855" bIns="43457" anchor="ctr"/>
          <a:lstStyle/>
          <a:p>
            <a:pPr defTabSz="868494">
              <a:defRPr/>
            </a:pPr>
            <a:endParaRPr lang="es-CL" sz="1300">
              <a:solidFill>
                <a:srgbClr val="000000"/>
              </a:solidFill>
            </a:endParaRPr>
          </a:p>
        </p:txBody>
      </p:sp>
      <p:sp>
        <p:nvSpPr>
          <p:cNvPr id="50" name="Rectangle 3"/>
          <p:cNvSpPr>
            <a:spLocks noChangeArrowheads="1"/>
          </p:cNvSpPr>
          <p:nvPr/>
        </p:nvSpPr>
        <p:spPr bwMode="auto">
          <a:xfrm>
            <a:off x="6969855" y="1373625"/>
            <a:ext cx="4063316" cy="32833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  <a:extLst/>
        </p:spPr>
        <p:txBody>
          <a:bodyPr wrap="none" lIns="86855" tIns="43457" rIns="86855" bIns="43457"/>
          <a:lstStyle/>
          <a:p>
            <a:pPr algn="ctr" defTabSz="868494">
              <a:defRPr/>
            </a:pPr>
            <a:endParaRPr lang="es-CL" sz="1632" b="1">
              <a:solidFill>
                <a:srgbClr val="009A46"/>
              </a:solidFill>
              <a:latin typeface="Arial"/>
            </a:endParaRPr>
          </a:p>
        </p:txBody>
      </p:sp>
      <p:sp>
        <p:nvSpPr>
          <p:cNvPr id="51" name="Rectangle 7"/>
          <p:cNvSpPr>
            <a:spLocks noChangeArrowheads="1"/>
          </p:cNvSpPr>
          <p:nvPr/>
        </p:nvSpPr>
        <p:spPr bwMode="gray">
          <a:xfrm>
            <a:off x="7063834" y="1421885"/>
            <a:ext cx="144516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50403">
              <a:buClr>
                <a:srgbClr val="002960"/>
              </a:buClr>
              <a:defRPr/>
            </a:pPr>
            <a:r>
              <a:rPr lang="es-CL" b="1">
                <a:solidFill>
                  <a:srgbClr val="009A46"/>
                </a:solidFill>
                <a:latin typeface="Arial"/>
              </a:rPr>
              <a:t>Descripción</a:t>
            </a:r>
          </a:p>
        </p:txBody>
      </p:sp>
      <p:pic>
        <p:nvPicPr>
          <p:cNvPr id="52" name="Picture 85"/>
          <p:cNvPicPr>
            <a:picLocks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1581" y="2962522"/>
            <a:ext cx="688083" cy="1037176"/>
          </a:xfrm>
          <a:prstGeom prst="rect">
            <a:avLst/>
          </a:prstGeom>
        </p:spPr>
      </p:pic>
      <p:grpSp>
        <p:nvGrpSpPr>
          <p:cNvPr id="53" name="Group 31"/>
          <p:cNvGrpSpPr>
            <a:grpSpLocks/>
          </p:cNvGrpSpPr>
          <p:nvPr/>
        </p:nvGrpSpPr>
        <p:grpSpPr>
          <a:xfrm>
            <a:off x="3637017" y="2668147"/>
            <a:ext cx="1430704" cy="1464659"/>
            <a:chOff x="2509932" y="2314820"/>
            <a:chExt cx="1286789" cy="1408851"/>
          </a:xfrm>
        </p:grpSpPr>
        <p:pic>
          <p:nvPicPr>
            <p:cNvPr id="54" name="Picture 96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73959" y="2314820"/>
              <a:ext cx="695422" cy="961687"/>
            </a:xfrm>
            <a:prstGeom prst="rect">
              <a:avLst/>
            </a:prstGeom>
          </p:spPr>
        </p:pic>
        <p:pic>
          <p:nvPicPr>
            <p:cNvPr id="55" name="Picture 154"/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27131" y="2798548"/>
              <a:ext cx="381252" cy="7078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56" name="Picture 154"/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28361" y="2798548"/>
              <a:ext cx="381252" cy="7078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57" name="Picture 154"/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09932" y="3015808"/>
              <a:ext cx="381252" cy="7078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58" name="Picture 123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304167" y="2948291"/>
              <a:ext cx="492554" cy="7740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59" name="Group 34"/>
          <p:cNvGrpSpPr/>
          <p:nvPr/>
        </p:nvGrpSpPr>
        <p:grpSpPr>
          <a:xfrm>
            <a:off x="2562069" y="1916054"/>
            <a:ext cx="1074951" cy="703580"/>
            <a:chOff x="581576" y="2313408"/>
            <a:chExt cx="1059559" cy="622141"/>
          </a:xfrm>
        </p:grpSpPr>
        <p:sp>
          <p:nvSpPr>
            <p:cNvPr id="60" name="Rectangle 1"/>
            <p:cNvSpPr>
              <a:spLocks/>
            </p:cNvSpPr>
            <p:nvPr/>
          </p:nvSpPr>
          <p:spPr>
            <a:xfrm>
              <a:off x="581576" y="2313408"/>
              <a:ext cx="1059559" cy="622141"/>
            </a:xfrm>
            <a:custGeom>
              <a:avLst/>
              <a:gdLst>
                <a:gd name="connsiteX0" fmla="*/ 0 w 2441576"/>
                <a:gd name="connsiteY0" fmla="*/ 0 h 900906"/>
                <a:gd name="connsiteX1" fmla="*/ 94270 w 2441576"/>
                <a:gd name="connsiteY1" fmla="*/ 0 h 900906"/>
                <a:gd name="connsiteX2" fmla="*/ 185400 w 2441576"/>
                <a:gd name="connsiteY2" fmla="*/ 0 h 900906"/>
                <a:gd name="connsiteX3" fmla="*/ 188541 w 2441576"/>
                <a:gd name="connsiteY3" fmla="*/ 0 h 900906"/>
                <a:gd name="connsiteX4" fmla="*/ 282811 w 2441576"/>
                <a:gd name="connsiteY4" fmla="*/ 0 h 900906"/>
                <a:gd name="connsiteX5" fmla="*/ 377080 w 2441576"/>
                <a:gd name="connsiteY5" fmla="*/ 0 h 900906"/>
                <a:gd name="connsiteX6" fmla="*/ 470246 w 2441576"/>
                <a:gd name="connsiteY6" fmla="*/ 0 h 900906"/>
                <a:gd name="connsiteX7" fmla="*/ 471351 w 2441576"/>
                <a:gd name="connsiteY7" fmla="*/ 0 h 900906"/>
                <a:gd name="connsiteX8" fmla="*/ 581332 w 2441576"/>
                <a:gd name="connsiteY8" fmla="*/ 0 h 900906"/>
                <a:gd name="connsiteX9" fmla="*/ 685028 w 2441576"/>
                <a:gd name="connsiteY9" fmla="*/ 0 h 900906"/>
                <a:gd name="connsiteX10" fmla="*/ 755093 w 2441576"/>
                <a:gd name="connsiteY10" fmla="*/ 0 h 900906"/>
                <a:gd name="connsiteX11" fmla="*/ 969874 w 2441576"/>
                <a:gd name="connsiteY11" fmla="*/ 0 h 900906"/>
                <a:gd name="connsiteX12" fmla="*/ 1039939 w 2441576"/>
                <a:gd name="connsiteY12" fmla="*/ 0 h 900906"/>
                <a:gd name="connsiteX13" fmla="*/ 1254721 w 2441576"/>
                <a:gd name="connsiteY13" fmla="*/ 0 h 900906"/>
                <a:gd name="connsiteX14" fmla="*/ 1324785 w 2441576"/>
                <a:gd name="connsiteY14" fmla="*/ 0 h 900906"/>
                <a:gd name="connsiteX15" fmla="*/ 1539566 w 2441576"/>
                <a:gd name="connsiteY15" fmla="*/ 0 h 900906"/>
                <a:gd name="connsiteX16" fmla="*/ 1609632 w 2441576"/>
                <a:gd name="connsiteY16" fmla="*/ 0 h 900906"/>
                <a:gd name="connsiteX17" fmla="*/ 1824412 w 2441576"/>
                <a:gd name="connsiteY17" fmla="*/ 0 h 900906"/>
                <a:gd name="connsiteX18" fmla="*/ 1941949 w 2441576"/>
                <a:gd name="connsiteY18" fmla="*/ 0 h 900906"/>
                <a:gd name="connsiteX19" fmla="*/ 2094866 w 2441576"/>
                <a:gd name="connsiteY19" fmla="*/ 0 h 900906"/>
                <a:gd name="connsiteX20" fmla="*/ 2176781 w 2441576"/>
                <a:gd name="connsiteY20" fmla="*/ 0 h 900906"/>
                <a:gd name="connsiteX21" fmla="*/ 2258696 w 2441576"/>
                <a:gd name="connsiteY21" fmla="*/ 0 h 900906"/>
                <a:gd name="connsiteX22" fmla="*/ 2321561 w 2441576"/>
                <a:gd name="connsiteY22" fmla="*/ 0 h 900906"/>
                <a:gd name="connsiteX23" fmla="*/ 2403476 w 2441576"/>
                <a:gd name="connsiteY23" fmla="*/ 0 h 900906"/>
                <a:gd name="connsiteX24" fmla="*/ 2441576 w 2441576"/>
                <a:gd name="connsiteY24" fmla="*/ 0 h 900906"/>
                <a:gd name="connsiteX25" fmla="*/ 2441576 w 2441576"/>
                <a:gd name="connsiteY25" fmla="*/ 83444 h 900906"/>
                <a:gd name="connsiteX26" fmla="*/ 2441576 w 2441576"/>
                <a:gd name="connsiteY26" fmla="*/ 152052 h 900906"/>
                <a:gd name="connsiteX27" fmla="*/ 2441576 w 2441576"/>
                <a:gd name="connsiteY27" fmla="*/ 235496 h 900906"/>
                <a:gd name="connsiteX28" fmla="*/ 2441576 w 2441576"/>
                <a:gd name="connsiteY28" fmla="*/ 304104 h 900906"/>
                <a:gd name="connsiteX29" fmla="*/ 2441576 w 2441576"/>
                <a:gd name="connsiteY29" fmla="*/ 387548 h 900906"/>
                <a:gd name="connsiteX30" fmla="*/ 2441576 w 2441576"/>
                <a:gd name="connsiteY30" fmla="*/ 456156 h 900906"/>
                <a:gd name="connsiteX31" fmla="*/ 2441576 w 2441576"/>
                <a:gd name="connsiteY31" fmla="*/ 539600 h 900906"/>
                <a:gd name="connsiteX32" fmla="*/ 2441576 w 2441576"/>
                <a:gd name="connsiteY32" fmla="*/ 608208 h 900906"/>
                <a:gd name="connsiteX33" fmla="*/ 2441576 w 2441576"/>
                <a:gd name="connsiteY33" fmla="*/ 691652 h 900906"/>
                <a:gd name="connsiteX34" fmla="*/ 2441576 w 2441576"/>
                <a:gd name="connsiteY34" fmla="*/ 748854 h 900906"/>
                <a:gd name="connsiteX35" fmla="*/ 2441576 w 2441576"/>
                <a:gd name="connsiteY35" fmla="*/ 760260 h 900906"/>
                <a:gd name="connsiteX36" fmla="*/ 2441576 w 2441576"/>
                <a:gd name="connsiteY36" fmla="*/ 832298 h 900906"/>
                <a:gd name="connsiteX37" fmla="*/ 2441576 w 2441576"/>
                <a:gd name="connsiteY37" fmla="*/ 900906 h 900906"/>
                <a:gd name="connsiteX38" fmla="*/ 2403476 w 2441576"/>
                <a:gd name="connsiteY38" fmla="*/ 900906 h 900906"/>
                <a:gd name="connsiteX39" fmla="*/ 2321561 w 2441576"/>
                <a:gd name="connsiteY39" fmla="*/ 900906 h 900906"/>
                <a:gd name="connsiteX40" fmla="*/ 2239646 w 2441576"/>
                <a:gd name="connsiteY40" fmla="*/ 900906 h 900906"/>
                <a:gd name="connsiteX41" fmla="*/ 2176781 w 2441576"/>
                <a:gd name="connsiteY41" fmla="*/ 900906 h 900906"/>
                <a:gd name="connsiteX42" fmla="*/ 2109259 w 2441576"/>
                <a:gd name="connsiteY42" fmla="*/ 900906 h 900906"/>
                <a:gd name="connsiteX43" fmla="*/ 2094866 w 2441576"/>
                <a:gd name="connsiteY43" fmla="*/ 900906 h 900906"/>
                <a:gd name="connsiteX44" fmla="*/ 1941949 w 2441576"/>
                <a:gd name="connsiteY44" fmla="*/ 900906 h 900906"/>
                <a:gd name="connsiteX45" fmla="*/ 1824412 w 2441576"/>
                <a:gd name="connsiteY45" fmla="*/ 900906 h 900906"/>
                <a:gd name="connsiteX46" fmla="*/ 1609632 w 2441576"/>
                <a:gd name="connsiteY46" fmla="*/ 900906 h 900906"/>
                <a:gd name="connsiteX47" fmla="*/ 1539566 w 2441576"/>
                <a:gd name="connsiteY47" fmla="*/ 900906 h 900906"/>
                <a:gd name="connsiteX48" fmla="*/ 1324785 w 2441576"/>
                <a:gd name="connsiteY48" fmla="*/ 900906 h 900906"/>
                <a:gd name="connsiteX49" fmla="*/ 1254721 w 2441576"/>
                <a:gd name="connsiteY49" fmla="*/ 900906 h 900906"/>
                <a:gd name="connsiteX50" fmla="*/ 1039939 w 2441576"/>
                <a:gd name="connsiteY50" fmla="*/ 900906 h 900906"/>
                <a:gd name="connsiteX51" fmla="*/ 969874 w 2441576"/>
                <a:gd name="connsiteY51" fmla="*/ 900906 h 900906"/>
                <a:gd name="connsiteX52" fmla="*/ 755093 w 2441576"/>
                <a:gd name="connsiteY52" fmla="*/ 900906 h 900906"/>
                <a:gd name="connsiteX53" fmla="*/ 685028 w 2441576"/>
                <a:gd name="connsiteY53" fmla="*/ 900906 h 900906"/>
                <a:gd name="connsiteX54" fmla="*/ 581332 w 2441576"/>
                <a:gd name="connsiteY54" fmla="*/ 900906 h 900906"/>
                <a:gd name="connsiteX55" fmla="*/ 471351 w 2441576"/>
                <a:gd name="connsiteY55" fmla="*/ 900906 h 900906"/>
                <a:gd name="connsiteX56" fmla="*/ 470246 w 2441576"/>
                <a:gd name="connsiteY56" fmla="*/ 900906 h 900906"/>
                <a:gd name="connsiteX57" fmla="*/ 377080 w 2441576"/>
                <a:gd name="connsiteY57" fmla="*/ 900906 h 900906"/>
                <a:gd name="connsiteX58" fmla="*/ 282811 w 2441576"/>
                <a:gd name="connsiteY58" fmla="*/ 900906 h 900906"/>
                <a:gd name="connsiteX59" fmla="*/ 188541 w 2441576"/>
                <a:gd name="connsiteY59" fmla="*/ 900906 h 900906"/>
                <a:gd name="connsiteX60" fmla="*/ 185400 w 2441576"/>
                <a:gd name="connsiteY60" fmla="*/ 900906 h 900906"/>
                <a:gd name="connsiteX61" fmla="*/ 94270 w 2441576"/>
                <a:gd name="connsiteY61" fmla="*/ 900906 h 900906"/>
                <a:gd name="connsiteX62" fmla="*/ 0 w 2441576"/>
                <a:gd name="connsiteY62" fmla="*/ 900906 h 900906"/>
                <a:gd name="connsiteX63" fmla="*/ 0 w 2441576"/>
                <a:gd name="connsiteY63" fmla="*/ 832298 h 900906"/>
                <a:gd name="connsiteX64" fmla="*/ 0 w 2441576"/>
                <a:gd name="connsiteY64" fmla="*/ 760260 h 900906"/>
                <a:gd name="connsiteX65" fmla="*/ 0 w 2441576"/>
                <a:gd name="connsiteY65" fmla="*/ 748854 h 900906"/>
                <a:gd name="connsiteX66" fmla="*/ 0 w 2441576"/>
                <a:gd name="connsiteY66" fmla="*/ 691652 h 900906"/>
                <a:gd name="connsiteX67" fmla="*/ 0 w 2441576"/>
                <a:gd name="connsiteY67" fmla="*/ 608208 h 900906"/>
                <a:gd name="connsiteX68" fmla="*/ 0 w 2441576"/>
                <a:gd name="connsiteY68" fmla="*/ 539600 h 900906"/>
                <a:gd name="connsiteX69" fmla="*/ 0 w 2441576"/>
                <a:gd name="connsiteY69" fmla="*/ 456156 h 900906"/>
                <a:gd name="connsiteX70" fmla="*/ 0 w 2441576"/>
                <a:gd name="connsiteY70" fmla="*/ 387548 h 900906"/>
                <a:gd name="connsiteX71" fmla="*/ 0 w 2441576"/>
                <a:gd name="connsiteY71" fmla="*/ 304104 h 900906"/>
                <a:gd name="connsiteX72" fmla="*/ 0 w 2441576"/>
                <a:gd name="connsiteY72" fmla="*/ 235496 h 900906"/>
                <a:gd name="connsiteX73" fmla="*/ 0 w 2441576"/>
                <a:gd name="connsiteY73" fmla="*/ 152052 h 900906"/>
                <a:gd name="connsiteX74" fmla="*/ 0 w 2441576"/>
                <a:gd name="connsiteY74" fmla="*/ 83444 h 900906"/>
                <a:gd name="connsiteX75" fmla="*/ 0 w 2441576"/>
                <a:gd name="connsiteY75" fmla="*/ 0 h 900906"/>
                <a:gd name="connsiteX0" fmla="*/ 0 w 2441576"/>
                <a:gd name="connsiteY0" fmla="*/ 0 h 900906"/>
                <a:gd name="connsiteX1" fmla="*/ 94270 w 2441576"/>
                <a:gd name="connsiteY1" fmla="*/ 0 h 900906"/>
                <a:gd name="connsiteX2" fmla="*/ 185400 w 2441576"/>
                <a:gd name="connsiteY2" fmla="*/ 0 h 900906"/>
                <a:gd name="connsiteX3" fmla="*/ 188541 w 2441576"/>
                <a:gd name="connsiteY3" fmla="*/ 0 h 900906"/>
                <a:gd name="connsiteX4" fmla="*/ 282811 w 2441576"/>
                <a:gd name="connsiteY4" fmla="*/ 0 h 900906"/>
                <a:gd name="connsiteX5" fmla="*/ 377080 w 2441576"/>
                <a:gd name="connsiteY5" fmla="*/ 0 h 900906"/>
                <a:gd name="connsiteX6" fmla="*/ 470246 w 2441576"/>
                <a:gd name="connsiteY6" fmla="*/ 0 h 900906"/>
                <a:gd name="connsiteX7" fmla="*/ 471351 w 2441576"/>
                <a:gd name="connsiteY7" fmla="*/ 0 h 900906"/>
                <a:gd name="connsiteX8" fmla="*/ 581332 w 2441576"/>
                <a:gd name="connsiteY8" fmla="*/ 0 h 900906"/>
                <a:gd name="connsiteX9" fmla="*/ 685028 w 2441576"/>
                <a:gd name="connsiteY9" fmla="*/ 0 h 900906"/>
                <a:gd name="connsiteX10" fmla="*/ 755093 w 2441576"/>
                <a:gd name="connsiteY10" fmla="*/ 0 h 900906"/>
                <a:gd name="connsiteX11" fmla="*/ 969874 w 2441576"/>
                <a:gd name="connsiteY11" fmla="*/ 0 h 900906"/>
                <a:gd name="connsiteX12" fmla="*/ 1039939 w 2441576"/>
                <a:gd name="connsiteY12" fmla="*/ 0 h 900906"/>
                <a:gd name="connsiteX13" fmla="*/ 1254721 w 2441576"/>
                <a:gd name="connsiteY13" fmla="*/ 0 h 900906"/>
                <a:gd name="connsiteX14" fmla="*/ 1324785 w 2441576"/>
                <a:gd name="connsiteY14" fmla="*/ 0 h 900906"/>
                <a:gd name="connsiteX15" fmla="*/ 1539566 w 2441576"/>
                <a:gd name="connsiteY15" fmla="*/ 0 h 900906"/>
                <a:gd name="connsiteX16" fmla="*/ 1609632 w 2441576"/>
                <a:gd name="connsiteY16" fmla="*/ 0 h 900906"/>
                <a:gd name="connsiteX17" fmla="*/ 1824412 w 2441576"/>
                <a:gd name="connsiteY17" fmla="*/ 0 h 900906"/>
                <a:gd name="connsiteX18" fmla="*/ 1941949 w 2441576"/>
                <a:gd name="connsiteY18" fmla="*/ 0 h 900906"/>
                <a:gd name="connsiteX19" fmla="*/ 2094866 w 2441576"/>
                <a:gd name="connsiteY19" fmla="*/ 0 h 900906"/>
                <a:gd name="connsiteX20" fmla="*/ 2176781 w 2441576"/>
                <a:gd name="connsiteY20" fmla="*/ 0 h 900906"/>
                <a:gd name="connsiteX21" fmla="*/ 2258696 w 2441576"/>
                <a:gd name="connsiteY21" fmla="*/ 0 h 900906"/>
                <a:gd name="connsiteX22" fmla="*/ 2321561 w 2441576"/>
                <a:gd name="connsiteY22" fmla="*/ 0 h 900906"/>
                <a:gd name="connsiteX23" fmla="*/ 2403476 w 2441576"/>
                <a:gd name="connsiteY23" fmla="*/ 0 h 900906"/>
                <a:gd name="connsiteX24" fmla="*/ 2441576 w 2441576"/>
                <a:gd name="connsiteY24" fmla="*/ 0 h 900906"/>
                <a:gd name="connsiteX25" fmla="*/ 2441576 w 2441576"/>
                <a:gd name="connsiteY25" fmla="*/ 83444 h 900906"/>
                <a:gd name="connsiteX26" fmla="*/ 2441576 w 2441576"/>
                <a:gd name="connsiteY26" fmla="*/ 152052 h 900906"/>
                <a:gd name="connsiteX27" fmla="*/ 2441576 w 2441576"/>
                <a:gd name="connsiteY27" fmla="*/ 235496 h 900906"/>
                <a:gd name="connsiteX28" fmla="*/ 2441576 w 2441576"/>
                <a:gd name="connsiteY28" fmla="*/ 304104 h 900906"/>
                <a:gd name="connsiteX29" fmla="*/ 2441576 w 2441576"/>
                <a:gd name="connsiteY29" fmla="*/ 387548 h 900906"/>
                <a:gd name="connsiteX30" fmla="*/ 2441576 w 2441576"/>
                <a:gd name="connsiteY30" fmla="*/ 456156 h 900906"/>
                <a:gd name="connsiteX31" fmla="*/ 2441576 w 2441576"/>
                <a:gd name="connsiteY31" fmla="*/ 539600 h 900906"/>
                <a:gd name="connsiteX32" fmla="*/ 2441576 w 2441576"/>
                <a:gd name="connsiteY32" fmla="*/ 608208 h 900906"/>
                <a:gd name="connsiteX33" fmla="*/ 2441576 w 2441576"/>
                <a:gd name="connsiteY33" fmla="*/ 691652 h 900906"/>
                <a:gd name="connsiteX34" fmla="*/ 2441576 w 2441576"/>
                <a:gd name="connsiteY34" fmla="*/ 748854 h 900906"/>
                <a:gd name="connsiteX35" fmla="*/ 2441576 w 2441576"/>
                <a:gd name="connsiteY35" fmla="*/ 760260 h 900906"/>
                <a:gd name="connsiteX36" fmla="*/ 2441576 w 2441576"/>
                <a:gd name="connsiteY36" fmla="*/ 832298 h 900906"/>
                <a:gd name="connsiteX37" fmla="*/ 2441576 w 2441576"/>
                <a:gd name="connsiteY37" fmla="*/ 900906 h 900906"/>
                <a:gd name="connsiteX38" fmla="*/ 2403476 w 2441576"/>
                <a:gd name="connsiteY38" fmla="*/ 900906 h 900906"/>
                <a:gd name="connsiteX39" fmla="*/ 2321561 w 2441576"/>
                <a:gd name="connsiteY39" fmla="*/ 900906 h 900906"/>
                <a:gd name="connsiteX40" fmla="*/ 2239646 w 2441576"/>
                <a:gd name="connsiteY40" fmla="*/ 900906 h 900906"/>
                <a:gd name="connsiteX41" fmla="*/ 2176781 w 2441576"/>
                <a:gd name="connsiteY41" fmla="*/ 900906 h 900906"/>
                <a:gd name="connsiteX42" fmla="*/ 2109259 w 2441576"/>
                <a:gd name="connsiteY42" fmla="*/ 900906 h 900906"/>
                <a:gd name="connsiteX43" fmla="*/ 1941949 w 2441576"/>
                <a:gd name="connsiteY43" fmla="*/ 900906 h 900906"/>
                <a:gd name="connsiteX44" fmla="*/ 1824412 w 2441576"/>
                <a:gd name="connsiteY44" fmla="*/ 900906 h 900906"/>
                <a:gd name="connsiteX45" fmla="*/ 1609632 w 2441576"/>
                <a:gd name="connsiteY45" fmla="*/ 900906 h 900906"/>
                <a:gd name="connsiteX46" fmla="*/ 1539566 w 2441576"/>
                <a:gd name="connsiteY46" fmla="*/ 900906 h 900906"/>
                <a:gd name="connsiteX47" fmla="*/ 1324785 w 2441576"/>
                <a:gd name="connsiteY47" fmla="*/ 900906 h 900906"/>
                <a:gd name="connsiteX48" fmla="*/ 1254721 w 2441576"/>
                <a:gd name="connsiteY48" fmla="*/ 900906 h 900906"/>
                <a:gd name="connsiteX49" fmla="*/ 1039939 w 2441576"/>
                <a:gd name="connsiteY49" fmla="*/ 900906 h 900906"/>
                <a:gd name="connsiteX50" fmla="*/ 969874 w 2441576"/>
                <a:gd name="connsiteY50" fmla="*/ 900906 h 900906"/>
                <a:gd name="connsiteX51" fmla="*/ 755093 w 2441576"/>
                <a:gd name="connsiteY51" fmla="*/ 900906 h 900906"/>
                <a:gd name="connsiteX52" fmla="*/ 685028 w 2441576"/>
                <a:gd name="connsiteY52" fmla="*/ 900906 h 900906"/>
                <a:gd name="connsiteX53" fmla="*/ 581332 w 2441576"/>
                <a:gd name="connsiteY53" fmla="*/ 900906 h 900906"/>
                <a:gd name="connsiteX54" fmla="*/ 471351 w 2441576"/>
                <a:gd name="connsiteY54" fmla="*/ 900906 h 900906"/>
                <a:gd name="connsiteX55" fmla="*/ 470246 w 2441576"/>
                <a:gd name="connsiteY55" fmla="*/ 900906 h 900906"/>
                <a:gd name="connsiteX56" fmla="*/ 377080 w 2441576"/>
                <a:gd name="connsiteY56" fmla="*/ 900906 h 900906"/>
                <a:gd name="connsiteX57" fmla="*/ 282811 w 2441576"/>
                <a:gd name="connsiteY57" fmla="*/ 900906 h 900906"/>
                <a:gd name="connsiteX58" fmla="*/ 188541 w 2441576"/>
                <a:gd name="connsiteY58" fmla="*/ 900906 h 900906"/>
                <a:gd name="connsiteX59" fmla="*/ 185400 w 2441576"/>
                <a:gd name="connsiteY59" fmla="*/ 900906 h 900906"/>
                <a:gd name="connsiteX60" fmla="*/ 94270 w 2441576"/>
                <a:gd name="connsiteY60" fmla="*/ 900906 h 900906"/>
                <a:gd name="connsiteX61" fmla="*/ 0 w 2441576"/>
                <a:gd name="connsiteY61" fmla="*/ 900906 h 900906"/>
                <a:gd name="connsiteX62" fmla="*/ 0 w 2441576"/>
                <a:gd name="connsiteY62" fmla="*/ 832298 h 900906"/>
                <a:gd name="connsiteX63" fmla="*/ 0 w 2441576"/>
                <a:gd name="connsiteY63" fmla="*/ 760260 h 900906"/>
                <a:gd name="connsiteX64" fmla="*/ 0 w 2441576"/>
                <a:gd name="connsiteY64" fmla="*/ 748854 h 900906"/>
                <a:gd name="connsiteX65" fmla="*/ 0 w 2441576"/>
                <a:gd name="connsiteY65" fmla="*/ 691652 h 900906"/>
                <a:gd name="connsiteX66" fmla="*/ 0 w 2441576"/>
                <a:gd name="connsiteY66" fmla="*/ 608208 h 900906"/>
                <a:gd name="connsiteX67" fmla="*/ 0 w 2441576"/>
                <a:gd name="connsiteY67" fmla="*/ 539600 h 900906"/>
                <a:gd name="connsiteX68" fmla="*/ 0 w 2441576"/>
                <a:gd name="connsiteY68" fmla="*/ 456156 h 900906"/>
                <a:gd name="connsiteX69" fmla="*/ 0 w 2441576"/>
                <a:gd name="connsiteY69" fmla="*/ 387548 h 900906"/>
                <a:gd name="connsiteX70" fmla="*/ 0 w 2441576"/>
                <a:gd name="connsiteY70" fmla="*/ 304104 h 900906"/>
                <a:gd name="connsiteX71" fmla="*/ 0 w 2441576"/>
                <a:gd name="connsiteY71" fmla="*/ 235496 h 900906"/>
                <a:gd name="connsiteX72" fmla="*/ 0 w 2441576"/>
                <a:gd name="connsiteY72" fmla="*/ 152052 h 900906"/>
                <a:gd name="connsiteX73" fmla="*/ 0 w 2441576"/>
                <a:gd name="connsiteY73" fmla="*/ 83444 h 900906"/>
                <a:gd name="connsiteX74" fmla="*/ 0 w 2441576"/>
                <a:gd name="connsiteY74" fmla="*/ 0 h 900906"/>
                <a:gd name="connsiteX0" fmla="*/ 0 w 2441576"/>
                <a:gd name="connsiteY0" fmla="*/ 0 h 900906"/>
                <a:gd name="connsiteX1" fmla="*/ 94270 w 2441576"/>
                <a:gd name="connsiteY1" fmla="*/ 0 h 900906"/>
                <a:gd name="connsiteX2" fmla="*/ 185400 w 2441576"/>
                <a:gd name="connsiteY2" fmla="*/ 0 h 900906"/>
                <a:gd name="connsiteX3" fmla="*/ 188541 w 2441576"/>
                <a:gd name="connsiteY3" fmla="*/ 0 h 900906"/>
                <a:gd name="connsiteX4" fmla="*/ 282811 w 2441576"/>
                <a:gd name="connsiteY4" fmla="*/ 0 h 900906"/>
                <a:gd name="connsiteX5" fmla="*/ 377080 w 2441576"/>
                <a:gd name="connsiteY5" fmla="*/ 0 h 900906"/>
                <a:gd name="connsiteX6" fmla="*/ 470246 w 2441576"/>
                <a:gd name="connsiteY6" fmla="*/ 0 h 900906"/>
                <a:gd name="connsiteX7" fmla="*/ 471351 w 2441576"/>
                <a:gd name="connsiteY7" fmla="*/ 0 h 900906"/>
                <a:gd name="connsiteX8" fmla="*/ 581332 w 2441576"/>
                <a:gd name="connsiteY8" fmla="*/ 0 h 900906"/>
                <a:gd name="connsiteX9" fmla="*/ 685028 w 2441576"/>
                <a:gd name="connsiteY9" fmla="*/ 0 h 900906"/>
                <a:gd name="connsiteX10" fmla="*/ 755093 w 2441576"/>
                <a:gd name="connsiteY10" fmla="*/ 0 h 900906"/>
                <a:gd name="connsiteX11" fmla="*/ 969874 w 2441576"/>
                <a:gd name="connsiteY11" fmla="*/ 0 h 900906"/>
                <a:gd name="connsiteX12" fmla="*/ 1039939 w 2441576"/>
                <a:gd name="connsiteY12" fmla="*/ 0 h 900906"/>
                <a:gd name="connsiteX13" fmla="*/ 1254721 w 2441576"/>
                <a:gd name="connsiteY13" fmla="*/ 0 h 900906"/>
                <a:gd name="connsiteX14" fmla="*/ 1324785 w 2441576"/>
                <a:gd name="connsiteY14" fmla="*/ 0 h 900906"/>
                <a:gd name="connsiteX15" fmla="*/ 1539566 w 2441576"/>
                <a:gd name="connsiteY15" fmla="*/ 0 h 900906"/>
                <a:gd name="connsiteX16" fmla="*/ 1609632 w 2441576"/>
                <a:gd name="connsiteY16" fmla="*/ 0 h 900906"/>
                <a:gd name="connsiteX17" fmla="*/ 1824412 w 2441576"/>
                <a:gd name="connsiteY17" fmla="*/ 0 h 900906"/>
                <a:gd name="connsiteX18" fmla="*/ 1941949 w 2441576"/>
                <a:gd name="connsiteY18" fmla="*/ 0 h 900906"/>
                <a:gd name="connsiteX19" fmla="*/ 2094866 w 2441576"/>
                <a:gd name="connsiteY19" fmla="*/ 0 h 900906"/>
                <a:gd name="connsiteX20" fmla="*/ 2176781 w 2441576"/>
                <a:gd name="connsiteY20" fmla="*/ 0 h 900906"/>
                <a:gd name="connsiteX21" fmla="*/ 2258696 w 2441576"/>
                <a:gd name="connsiteY21" fmla="*/ 0 h 900906"/>
                <a:gd name="connsiteX22" fmla="*/ 2321561 w 2441576"/>
                <a:gd name="connsiteY22" fmla="*/ 0 h 900906"/>
                <a:gd name="connsiteX23" fmla="*/ 2441576 w 2441576"/>
                <a:gd name="connsiteY23" fmla="*/ 0 h 900906"/>
                <a:gd name="connsiteX24" fmla="*/ 2441576 w 2441576"/>
                <a:gd name="connsiteY24" fmla="*/ 83444 h 900906"/>
                <a:gd name="connsiteX25" fmla="*/ 2441576 w 2441576"/>
                <a:gd name="connsiteY25" fmla="*/ 152052 h 900906"/>
                <a:gd name="connsiteX26" fmla="*/ 2441576 w 2441576"/>
                <a:gd name="connsiteY26" fmla="*/ 235496 h 900906"/>
                <a:gd name="connsiteX27" fmla="*/ 2441576 w 2441576"/>
                <a:gd name="connsiteY27" fmla="*/ 304104 h 900906"/>
                <a:gd name="connsiteX28" fmla="*/ 2441576 w 2441576"/>
                <a:gd name="connsiteY28" fmla="*/ 387548 h 900906"/>
                <a:gd name="connsiteX29" fmla="*/ 2441576 w 2441576"/>
                <a:gd name="connsiteY29" fmla="*/ 456156 h 900906"/>
                <a:gd name="connsiteX30" fmla="*/ 2441576 w 2441576"/>
                <a:gd name="connsiteY30" fmla="*/ 539600 h 900906"/>
                <a:gd name="connsiteX31" fmla="*/ 2441576 w 2441576"/>
                <a:gd name="connsiteY31" fmla="*/ 608208 h 900906"/>
                <a:gd name="connsiteX32" fmla="*/ 2441576 w 2441576"/>
                <a:gd name="connsiteY32" fmla="*/ 691652 h 900906"/>
                <a:gd name="connsiteX33" fmla="*/ 2441576 w 2441576"/>
                <a:gd name="connsiteY33" fmla="*/ 748854 h 900906"/>
                <a:gd name="connsiteX34" fmla="*/ 2441576 w 2441576"/>
                <a:gd name="connsiteY34" fmla="*/ 760260 h 900906"/>
                <a:gd name="connsiteX35" fmla="*/ 2441576 w 2441576"/>
                <a:gd name="connsiteY35" fmla="*/ 832298 h 900906"/>
                <a:gd name="connsiteX36" fmla="*/ 2441576 w 2441576"/>
                <a:gd name="connsiteY36" fmla="*/ 900906 h 900906"/>
                <a:gd name="connsiteX37" fmla="*/ 2403476 w 2441576"/>
                <a:gd name="connsiteY37" fmla="*/ 900906 h 900906"/>
                <a:gd name="connsiteX38" fmla="*/ 2321561 w 2441576"/>
                <a:gd name="connsiteY38" fmla="*/ 900906 h 900906"/>
                <a:gd name="connsiteX39" fmla="*/ 2239646 w 2441576"/>
                <a:gd name="connsiteY39" fmla="*/ 900906 h 900906"/>
                <a:gd name="connsiteX40" fmla="*/ 2176781 w 2441576"/>
                <a:gd name="connsiteY40" fmla="*/ 900906 h 900906"/>
                <a:gd name="connsiteX41" fmla="*/ 2109259 w 2441576"/>
                <a:gd name="connsiteY41" fmla="*/ 900906 h 900906"/>
                <a:gd name="connsiteX42" fmla="*/ 1941949 w 2441576"/>
                <a:gd name="connsiteY42" fmla="*/ 900906 h 900906"/>
                <a:gd name="connsiteX43" fmla="*/ 1824412 w 2441576"/>
                <a:gd name="connsiteY43" fmla="*/ 900906 h 900906"/>
                <a:gd name="connsiteX44" fmla="*/ 1609632 w 2441576"/>
                <a:gd name="connsiteY44" fmla="*/ 900906 h 900906"/>
                <a:gd name="connsiteX45" fmla="*/ 1539566 w 2441576"/>
                <a:gd name="connsiteY45" fmla="*/ 900906 h 900906"/>
                <a:gd name="connsiteX46" fmla="*/ 1324785 w 2441576"/>
                <a:gd name="connsiteY46" fmla="*/ 900906 h 900906"/>
                <a:gd name="connsiteX47" fmla="*/ 1254721 w 2441576"/>
                <a:gd name="connsiteY47" fmla="*/ 900906 h 900906"/>
                <a:gd name="connsiteX48" fmla="*/ 1039939 w 2441576"/>
                <a:gd name="connsiteY48" fmla="*/ 900906 h 900906"/>
                <a:gd name="connsiteX49" fmla="*/ 969874 w 2441576"/>
                <a:gd name="connsiteY49" fmla="*/ 900906 h 900906"/>
                <a:gd name="connsiteX50" fmla="*/ 755093 w 2441576"/>
                <a:gd name="connsiteY50" fmla="*/ 900906 h 900906"/>
                <a:gd name="connsiteX51" fmla="*/ 685028 w 2441576"/>
                <a:gd name="connsiteY51" fmla="*/ 900906 h 900906"/>
                <a:gd name="connsiteX52" fmla="*/ 581332 w 2441576"/>
                <a:gd name="connsiteY52" fmla="*/ 900906 h 900906"/>
                <a:gd name="connsiteX53" fmla="*/ 471351 w 2441576"/>
                <a:gd name="connsiteY53" fmla="*/ 900906 h 900906"/>
                <a:gd name="connsiteX54" fmla="*/ 470246 w 2441576"/>
                <a:gd name="connsiteY54" fmla="*/ 900906 h 900906"/>
                <a:gd name="connsiteX55" fmla="*/ 377080 w 2441576"/>
                <a:gd name="connsiteY55" fmla="*/ 900906 h 900906"/>
                <a:gd name="connsiteX56" fmla="*/ 282811 w 2441576"/>
                <a:gd name="connsiteY56" fmla="*/ 900906 h 900906"/>
                <a:gd name="connsiteX57" fmla="*/ 188541 w 2441576"/>
                <a:gd name="connsiteY57" fmla="*/ 900906 h 900906"/>
                <a:gd name="connsiteX58" fmla="*/ 185400 w 2441576"/>
                <a:gd name="connsiteY58" fmla="*/ 900906 h 900906"/>
                <a:gd name="connsiteX59" fmla="*/ 94270 w 2441576"/>
                <a:gd name="connsiteY59" fmla="*/ 900906 h 900906"/>
                <a:gd name="connsiteX60" fmla="*/ 0 w 2441576"/>
                <a:gd name="connsiteY60" fmla="*/ 900906 h 900906"/>
                <a:gd name="connsiteX61" fmla="*/ 0 w 2441576"/>
                <a:gd name="connsiteY61" fmla="*/ 832298 h 900906"/>
                <a:gd name="connsiteX62" fmla="*/ 0 w 2441576"/>
                <a:gd name="connsiteY62" fmla="*/ 760260 h 900906"/>
                <a:gd name="connsiteX63" fmla="*/ 0 w 2441576"/>
                <a:gd name="connsiteY63" fmla="*/ 748854 h 900906"/>
                <a:gd name="connsiteX64" fmla="*/ 0 w 2441576"/>
                <a:gd name="connsiteY64" fmla="*/ 691652 h 900906"/>
                <a:gd name="connsiteX65" fmla="*/ 0 w 2441576"/>
                <a:gd name="connsiteY65" fmla="*/ 608208 h 900906"/>
                <a:gd name="connsiteX66" fmla="*/ 0 w 2441576"/>
                <a:gd name="connsiteY66" fmla="*/ 539600 h 900906"/>
                <a:gd name="connsiteX67" fmla="*/ 0 w 2441576"/>
                <a:gd name="connsiteY67" fmla="*/ 456156 h 900906"/>
                <a:gd name="connsiteX68" fmla="*/ 0 w 2441576"/>
                <a:gd name="connsiteY68" fmla="*/ 387548 h 900906"/>
                <a:gd name="connsiteX69" fmla="*/ 0 w 2441576"/>
                <a:gd name="connsiteY69" fmla="*/ 304104 h 900906"/>
                <a:gd name="connsiteX70" fmla="*/ 0 w 2441576"/>
                <a:gd name="connsiteY70" fmla="*/ 235496 h 900906"/>
                <a:gd name="connsiteX71" fmla="*/ 0 w 2441576"/>
                <a:gd name="connsiteY71" fmla="*/ 152052 h 900906"/>
                <a:gd name="connsiteX72" fmla="*/ 0 w 2441576"/>
                <a:gd name="connsiteY72" fmla="*/ 83444 h 900906"/>
                <a:gd name="connsiteX73" fmla="*/ 0 w 2441576"/>
                <a:gd name="connsiteY73" fmla="*/ 0 h 900906"/>
                <a:gd name="connsiteX0" fmla="*/ 0 w 2441576"/>
                <a:gd name="connsiteY0" fmla="*/ 0 h 900906"/>
                <a:gd name="connsiteX1" fmla="*/ 94270 w 2441576"/>
                <a:gd name="connsiteY1" fmla="*/ 0 h 900906"/>
                <a:gd name="connsiteX2" fmla="*/ 185400 w 2441576"/>
                <a:gd name="connsiteY2" fmla="*/ 0 h 900906"/>
                <a:gd name="connsiteX3" fmla="*/ 188541 w 2441576"/>
                <a:gd name="connsiteY3" fmla="*/ 0 h 900906"/>
                <a:gd name="connsiteX4" fmla="*/ 282811 w 2441576"/>
                <a:gd name="connsiteY4" fmla="*/ 0 h 900906"/>
                <a:gd name="connsiteX5" fmla="*/ 377080 w 2441576"/>
                <a:gd name="connsiteY5" fmla="*/ 0 h 900906"/>
                <a:gd name="connsiteX6" fmla="*/ 470246 w 2441576"/>
                <a:gd name="connsiteY6" fmla="*/ 0 h 900906"/>
                <a:gd name="connsiteX7" fmla="*/ 471351 w 2441576"/>
                <a:gd name="connsiteY7" fmla="*/ 0 h 900906"/>
                <a:gd name="connsiteX8" fmla="*/ 581332 w 2441576"/>
                <a:gd name="connsiteY8" fmla="*/ 0 h 900906"/>
                <a:gd name="connsiteX9" fmla="*/ 685028 w 2441576"/>
                <a:gd name="connsiteY9" fmla="*/ 0 h 900906"/>
                <a:gd name="connsiteX10" fmla="*/ 755093 w 2441576"/>
                <a:gd name="connsiteY10" fmla="*/ 0 h 900906"/>
                <a:gd name="connsiteX11" fmla="*/ 969874 w 2441576"/>
                <a:gd name="connsiteY11" fmla="*/ 0 h 900906"/>
                <a:gd name="connsiteX12" fmla="*/ 1039939 w 2441576"/>
                <a:gd name="connsiteY12" fmla="*/ 0 h 900906"/>
                <a:gd name="connsiteX13" fmla="*/ 1254721 w 2441576"/>
                <a:gd name="connsiteY13" fmla="*/ 0 h 900906"/>
                <a:gd name="connsiteX14" fmla="*/ 1324785 w 2441576"/>
                <a:gd name="connsiteY14" fmla="*/ 0 h 900906"/>
                <a:gd name="connsiteX15" fmla="*/ 1539566 w 2441576"/>
                <a:gd name="connsiteY15" fmla="*/ 0 h 900906"/>
                <a:gd name="connsiteX16" fmla="*/ 1609632 w 2441576"/>
                <a:gd name="connsiteY16" fmla="*/ 0 h 900906"/>
                <a:gd name="connsiteX17" fmla="*/ 1824412 w 2441576"/>
                <a:gd name="connsiteY17" fmla="*/ 0 h 900906"/>
                <a:gd name="connsiteX18" fmla="*/ 1941949 w 2441576"/>
                <a:gd name="connsiteY18" fmla="*/ 0 h 900906"/>
                <a:gd name="connsiteX19" fmla="*/ 2094866 w 2441576"/>
                <a:gd name="connsiteY19" fmla="*/ 0 h 900906"/>
                <a:gd name="connsiteX20" fmla="*/ 2176781 w 2441576"/>
                <a:gd name="connsiteY20" fmla="*/ 0 h 900906"/>
                <a:gd name="connsiteX21" fmla="*/ 2258696 w 2441576"/>
                <a:gd name="connsiteY21" fmla="*/ 0 h 900906"/>
                <a:gd name="connsiteX22" fmla="*/ 2321561 w 2441576"/>
                <a:gd name="connsiteY22" fmla="*/ 0 h 900906"/>
                <a:gd name="connsiteX23" fmla="*/ 2441576 w 2441576"/>
                <a:gd name="connsiteY23" fmla="*/ 0 h 900906"/>
                <a:gd name="connsiteX24" fmla="*/ 2441576 w 2441576"/>
                <a:gd name="connsiteY24" fmla="*/ 83444 h 900906"/>
                <a:gd name="connsiteX25" fmla="*/ 2441576 w 2441576"/>
                <a:gd name="connsiteY25" fmla="*/ 152052 h 900906"/>
                <a:gd name="connsiteX26" fmla="*/ 2441576 w 2441576"/>
                <a:gd name="connsiteY26" fmla="*/ 235496 h 900906"/>
                <a:gd name="connsiteX27" fmla="*/ 2441576 w 2441576"/>
                <a:gd name="connsiteY27" fmla="*/ 304104 h 900906"/>
                <a:gd name="connsiteX28" fmla="*/ 2441576 w 2441576"/>
                <a:gd name="connsiteY28" fmla="*/ 387548 h 900906"/>
                <a:gd name="connsiteX29" fmla="*/ 2441576 w 2441576"/>
                <a:gd name="connsiteY29" fmla="*/ 456156 h 900906"/>
                <a:gd name="connsiteX30" fmla="*/ 2441576 w 2441576"/>
                <a:gd name="connsiteY30" fmla="*/ 539600 h 900906"/>
                <a:gd name="connsiteX31" fmla="*/ 2441576 w 2441576"/>
                <a:gd name="connsiteY31" fmla="*/ 608208 h 900906"/>
                <a:gd name="connsiteX32" fmla="*/ 2441576 w 2441576"/>
                <a:gd name="connsiteY32" fmla="*/ 691652 h 900906"/>
                <a:gd name="connsiteX33" fmla="*/ 2441576 w 2441576"/>
                <a:gd name="connsiteY33" fmla="*/ 748854 h 900906"/>
                <a:gd name="connsiteX34" fmla="*/ 2441576 w 2441576"/>
                <a:gd name="connsiteY34" fmla="*/ 760260 h 900906"/>
                <a:gd name="connsiteX35" fmla="*/ 2441576 w 2441576"/>
                <a:gd name="connsiteY35" fmla="*/ 832298 h 900906"/>
                <a:gd name="connsiteX36" fmla="*/ 2441576 w 2441576"/>
                <a:gd name="connsiteY36" fmla="*/ 900906 h 900906"/>
                <a:gd name="connsiteX37" fmla="*/ 2321561 w 2441576"/>
                <a:gd name="connsiteY37" fmla="*/ 900906 h 900906"/>
                <a:gd name="connsiteX38" fmla="*/ 2239646 w 2441576"/>
                <a:gd name="connsiteY38" fmla="*/ 900906 h 900906"/>
                <a:gd name="connsiteX39" fmla="*/ 2176781 w 2441576"/>
                <a:gd name="connsiteY39" fmla="*/ 900906 h 900906"/>
                <a:gd name="connsiteX40" fmla="*/ 2109259 w 2441576"/>
                <a:gd name="connsiteY40" fmla="*/ 900906 h 900906"/>
                <a:gd name="connsiteX41" fmla="*/ 1941949 w 2441576"/>
                <a:gd name="connsiteY41" fmla="*/ 900906 h 900906"/>
                <a:gd name="connsiteX42" fmla="*/ 1824412 w 2441576"/>
                <a:gd name="connsiteY42" fmla="*/ 900906 h 900906"/>
                <a:gd name="connsiteX43" fmla="*/ 1609632 w 2441576"/>
                <a:gd name="connsiteY43" fmla="*/ 900906 h 900906"/>
                <a:gd name="connsiteX44" fmla="*/ 1539566 w 2441576"/>
                <a:gd name="connsiteY44" fmla="*/ 900906 h 900906"/>
                <a:gd name="connsiteX45" fmla="*/ 1324785 w 2441576"/>
                <a:gd name="connsiteY45" fmla="*/ 900906 h 900906"/>
                <a:gd name="connsiteX46" fmla="*/ 1254721 w 2441576"/>
                <a:gd name="connsiteY46" fmla="*/ 900906 h 900906"/>
                <a:gd name="connsiteX47" fmla="*/ 1039939 w 2441576"/>
                <a:gd name="connsiteY47" fmla="*/ 900906 h 900906"/>
                <a:gd name="connsiteX48" fmla="*/ 969874 w 2441576"/>
                <a:gd name="connsiteY48" fmla="*/ 900906 h 900906"/>
                <a:gd name="connsiteX49" fmla="*/ 755093 w 2441576"/>
                <a:gd name="connsiteY49" fmla="*/ 900906 h 900906"/>
                <a:gd name="connsiteX50" fmla="*/ 685028 w 2441576"/>
                <a:gd name="connsiteY50" fmla="*/ 900906 h 900906"/>
                <a:gd name="connsiteX51" fmla="*/ 581332 w 2441576"/>
                <a:gd name="connsiteY51" fmla="*/ 900906 h 900906"/>
                <a:gd name="connsiteX52" fmla="*/ 471351 w 2441576"/>
                <a:gd name="connsiteY52" fmla="*/ 900906 h 900906"/>
                <a:gd name="connsiteX53" fmla="*/ 470246 w 2441576"/>
                <a:gd name="connsiteY53" fmla="*/ 900906 h 900906"/>
                <a:gd name="connsiteX54" fmla="*/ 377080 w 2441576"/>
                <a:gd name="connsiteY54" fmla="*/ 900906 h 900906"/>
                <a:gd name="connsiteX55" fmla="*/ 282811 w 2441576"/>
                <a:gd name="connsiteY55" fmla="*/ 900906 h 900906"/>
                <a:gd name="connsiteX56" fmla="*/ 188541 w 2441576"/>
                <a:gd name="connsiteY56" fmla="*/ 900906 h 900906"/>
                <a:gd name="connsiteX57" fmla="*/ 185400 w 2441576"/>
                <a:gd name="connsiteY57" fmla="*/ 900906 h 900906"/>
                <a:gd name="connsiteX58" fmla="*/ 94270 w 2441576"/>
                <a:gd name="connsiteY58" fmla="*/ 900906 h 900906"/>
                <a:gd name="connsiteX59" fmla="*/ 0 w 2441576"/>
                <a:gd name="connsiteY59" fmla="*/ 900906 h 900906"/>
                <a:gd name="connsiteX60" fmla="*/ 0 w 2441576"/>
                <a:gd name="connsiteY60" fmla="*/ 832298 h 900906"/>
                <a:gd name="connsiteX61" fmla="*/ 0 w 2441576"/>
                <a:gd name="connsiteY61" fmla="*/ 760260 h 900906"/>
                <a:gd name="connsiteX62" fmla="*/ 0 w 2441576"/>
                <a:gd name="connsiteY62" fmla="*/ 748854 h 900906"/>
                <a:gd name="connsiteX63" fmla="*/ 0 w 2441576"/>
                <a:gd name="connsiteY63" fmla="*/ 691652 h 900906"/>
                <a:gd name="connsiteX64" fmla="*/ 0 w 2441576"/>
                <a:gd name="connsiteY64" fmla="*/ 608208 h 900906"/>
                <a:gd name="connsiteX65" fmla="*/ 0 w 2441576"/>
                <a:gd name="connsiteY65" fmla="*/ 539600 h 900906"/>
                <a:gd name="connsiteX66" fmla="*/ 0 w 2441576"/>
                <a:gd name="connsiteY66" fmla="*/ 456156 h 900906"/>
                <a:gd name="connsiteX67" fmla="*/ 0 w 2441576"/>
                <a:gd name="connsiteY67" fmla="*/ 387548 h 900906"/>
                <a:gd name="connsiteX68" fmla="*/ 0 w 2441576"/>
                <a:gd name="connsiteY68" fmla="*/ 304104 h 900906"/>
                <a:gd name="connsiteX69" fmla="*/ 0 w 2441576"/>
                <a:gd name="connsiteY69" fmla="*/ 235496 h 900906"/>
                <a:gd name="connsiteX70" fmla="*/ 0 w 2441576"/>
                <a:gd name="connsiteY70" fmla="*/ 152052 h 900906"/>
                <a:gd name="connsiteX71" fmla="*/ 0 w 2441576"/>
                <a:gd name="connsiteY71" fmla="*/ 83444 h 900906"/>
                <a:gd name="connsiteX72" fmla="*/ 0 w 2441576"/>
                <a:gd name="connsiteY72" fmla="*/ 0 h 900906"/>
                <a:gd name="connsiteX0" fmla="*/ 0 w 2441576"/>
                <a:gd name="connsiteY0" fmla="*/ 0 h 900906"/>
                <a:gd name="connsiteX1" fmla="*/ 94270 w 2441576"/>
                <a:gd name="connsiteY1" fmla="*/ 0 h 900906"/>
                <a:gd name="connsiteX2" fmla="*/ 185400 w 2441576"/>
                <a:gd name="connsiteY2" fmla="*/ 0 h 900906"/>
                <a:gd name="connsiteX3" fmla="*/ 188541 w 2441576"/>
                <a:gd name="connsiteY3" fmla="*/ 0 h 900906"/>
                <a:gd name="connsiteX4" fmla="*/ 282811 w 2441576"/>
                <a:gd name="connsiteY4" fmla="*/ 0 h 900906"/>
                <a:gd name="connsiteX5" fmla="*/ 377080 w 2441576"/>
                <a:gd name="connsiteY5" fmla="*/ 0 h 900906"/>
                <a:gd name="connsiteX6" fmla="*/ 470246 w 2441576"/>
                <a:gd name="connsiteY6" fmla="*/ 0 h 900906"/>
                <a:gd name="connsiteX7" fmla="*/ 471351 w 2441576"/>
                <a:gd name="connsiteY7" fmla="*/ 0 h 900906"/>
                <a:gd name="connsiteX8" fmla="*/ 581332 w 2441576"/>
                <a:gd name="connsiteY8" fmla="*/ 0 h 900906"/>
                <a:gd name="connsiteX9" fmla="*/ 685028 w 2441576"/>
                <a:gd name="connsiteY9" fmla="*/ 0 h 900906"/>
                <a:gd name="connsiteX10" fmla="*/ 755093 w 2441576"/>
                <a:gd name="connsiteY10" fmla="*/ 0 h 900906"/>
                <a:gd name="connsiteX11" fmla="*/ 969874 w 2441576"/>
                <a:gd name="connsiteY11" fmla="*/ 0 h 900906"/>
                <a:gd name="connsiteX12" fmla="*/ 1039939 w 2441576"/>
                <a:gd name="connsiteY12" fmla="*/ 0 h 900906"/>
                <a:gd name="connsiteX13" fmla="*/ 1254721 w 2441576"/>
                <a:gd name="connsiteY13" fmla="*/ 0 h 900906"/>
                <a:gd name="connsiteX14" fmla="*/ 1324785 w 2441576"/>
                <a:gd name="connsiteY14" fmla="*/ 0 h 900906"/>
                <a:gd name="connsiteX15" fmla="*/ 1539566 w 2441576"/>
                <a:gd name="connsiteY15" fmla="*/ 0 h 900906"/>
                <a:gd name="connsiteX16" fmla="*/ 1609632 w 2441576"/>
                <a:gd name="connsiteY16" fmla="*/ 0 h 900906"/>
                <a:gd name="connsiteX17" fmla="*/ 1824412 w 2441576"/>
                <a:gd name="connsiteY17" fmla="*/ 0 h 900906"/>
                <a:gd name="connsiteX18" fmla="*/ 1941949 w 2441576"/>
                <a:gd name="connsiteY18" fmla="*/ 0 h 900906"/>
                <a:gd name="connsiteX19" fmla="*/ 2094866 w 2441576"/>
                <a:gd name="connsiteY19" fmla="*/ 0 h 900906"/>
                <a:gd name="connsiteX20" fmla="*/ 2176781 w 2441576"/>
                <a:gd name="connsiteY20" fmla="*/ 0 h 900906"/>
                <a:gd name="connsiteX21" fmla="*/ 2258696 w 2441576"/>
                <a:gd name="connsiteY21" fmla="*/ 0 h 900906"/>
                <a:gd name="connsiteX22" fmla="*/ 2321561 w 2441576"/>
                <a:gd name="connsiteY22" fmla="*/ 0 h 900906"/>
                <a:gd name="connsiteX23" fmla="*/ 2441576 w 2441576"/>
                <a:gd name="connsiteY23" fmla="*/ 0 h 900906"/>
                <a:gd name="connsiteX24" fmla="*/ 2441576 w 2441576"/>
                <a:gd name="connsiteY24" fmla="*/ 83444 h 900906"/>
                <a:gd name="connsiteX25" fmla="*/ 2441576 w 2441576"/>
                <a:gd name="connsiteY25" fmla="*/ 152052 h 900906"/>
                <a:gd name="connsiteX26" fmla="*/ 2441576 w 2441576"/>
                <a:gd name="connsiteY26" fmla="*/ 235496 h 900906"/>
                <a:gd name="connsiteX27" fmla="*/ 2441576 w 2441576"/>
                <a:gd name="connsiteY27" fmla="*/ 304104 h 900906"/>
                <a:gd name="connsiteX28" fmla="*/ 2441576 w 2441576"/>
                <a:gd name="connsiteY28" fmla="*/ 387548 h 900906"/>
                <a:gd name="connsiteX29" fmla="*/ 2441576 w 2441576"/>
                <a:gd name="connsiteY29" fmla="*/ 456156 h 900906"/>
                <a:gd name="connsiteX30" fmla="*/ 2441576 w 2441576"/>
                <a:gd name="connsiteY30" fmla="*/ 539600 h 900906"/>
                <a:gd name="connsiteX31" fmla="*/ 2441576 w 2441576"/>
                <a:gd name="connsiteY31" fmla="*/ 608208 h 900906"/>
                <a:gd name="connsiteX32" fmla="*/ 2441576 w 2441576"/>
                <a:gd name="connsiteY32" fmla="*/ 691652 h 900906"/>
                <a:gd name="connsiteX33" fmla="*/ 2441576 w 2441576"/>
                <a:gd name="connsiteY33" fmla="*/ 760260 h 900906"/>
                <a:gd name="connsiteX34" fmla="*/ 2441576 w 2441576"/>
                <a:gd name="connsiteY34" fmla="*/ 832298 h 900906"/>
                <a:gd name="connsiteX35" fmla="*/ 2441576 w 2441576"/>
                <a:gd name="connsiteY35" fmla="*/ 900906 h 900906"/>
                <a:gd name="connsiteX36" fmla="*/ 2321561 w 2441576"/>
                <a:gd name="connsiteY36" fmla="*/ 900906 h 900906"/>
                <a:gd name="connsiteX37" fmla="*/ 2239646 w 2441576"/>
                <a:gd name="connsiteY37" fmla="*/ 900906 h 900906"/>
                <a:gd name="connsiteX38" fmla="*/ 2176781 w 2441576"/>
                <a:gd name="connsiteY38" fmla="*/ 900906 h 900906"/>
                <a:gd name="connsiteX39" fmla="*/ 2109259 w 2441576"/>
                <a:gd name="connsiteY39" fmla="*/ 900906 h 900906"/>
                <a:gd name="connsiteX40" fmla="*/ 1941949 w 2441576"/>
                <a:gd name="connsiteY40" fmla="*/ 900906 h 900906"/>
                <a:gd name="connsiteX41" fmla="*/ 1824412 w 2441576"/>
                <a:gd name="connsiteY41" fmla="*/ 900906 h 900906"/>
                <a:gd name="connsiteX42" fmla="*/ 1609632 w 2441576"/>
                <a:gd name="connsiteY42" fmla="*/ 900906 h 900906"/>
                <a:gd name="connsiteX43" fmla="*/ 1539566 w 2441576"/>
                <a:gd name="connsiteY43" fmla="*/ 900906 h 900906"/>
                <a:gd name="connsiteX44" fmla="*/ 1324785 w 2441576"/>
                <a:gd name="connsiteY44" fmla="*/ 900906 h 900906"/>
                <a:gd name="connsiteX45" fmla="*/ 1254721 w 2441576"/>
                <a:gd name="connsiteY45" fmla="*/ 900906 h 900906"/>
                <a:gd name="connsiteX46" fmla="*/ 1039939 w 2441576"/>
                <a:gd name="connsiteY46" fmla="*/ 900906 h 900906"/>
                <a:gd name="connsiteX47" fmla="*/ 969874 w 2441576"/>
                <a:gd name="connsiteY47" fmla="*/ 900906 h 900906"/>
                <a:gd name="connsiteX48" fmla="*/ 755093 w 2441576"/>
                <a:gd name="connsiteY48" fmla="*/ 900906 h 900906"/>
                <a:gd name="connsiteX49" fmla="*/ 685028 w 2441576"/>
                <a:gd name="connsiteY49" fmla="*/ 900906 h 900906"/>
                <a:gd name="connsiteX50" fmla="*/ 581332 w 2441576"/>
                <a:gd name="connsiteY50" fmla="*/ 900906 h 900906"/>
                <a:gd name="connsiteX51" fmla="*/ 471351 w 2441576"/>
                <a:gd name="connsiteY51" fmla="*/ 900906 h 900906"/>
                <a:gd name="connsiteX52" fmla="*/ 470246 w 2441576"/>
                <a:gd name="connsiteY52" fmla="*/ 900906 h 900906"/>
                <a:gd name="connsiteX53" fmla="*/ 377080 w 2441576"/>
                <a:gd name="connsiteY53" fmla="*/ 900906 h 900906"/>
                <a:gd name="connsiteX54" fmla="*/ 282811 w 2441576"/>
                <a:gd name="connsiteY54" fmla="*/ 900906 h 900906"/>
                <a:gd name="connsiteX55" fmla="*/ 188541 w 2441576"/>
                <a:gd name="connsiteY55" fmla="*/ 900906 h 900906"/>
                <a:gd name="connsiteX56" fmla="*/ 185400 w 2441576"/>
                <a:gd name="connsiteY56" fmla="*/ 900906 h 900906"/>
                <a:gd name="connsiteX57" fmla="*/ 94270 w 2441576"/>
                <a:gd name="connsiteY57" fmla="*/ 900906 h 900906"/>
                <a:gd name="connsiteX58" fmla="*/ 0 w 2441576"/>
                <a:gd name="connsiteY58" fmla="*/ 900906 h 900906"/>
                <a:gd name="connsiteX59" fmla="*/ 0 w 2441576"/>
                <a:gd name="connsiteY59" fmla="*/ 832298 h 900906"/>
                <a:gd name="connsiteX60" fmla="*/ 0 w 2441576"/>
                <a:gd name="connsiteY60" fmla="*/ 760260 h 900906"/>
                <a:gd name="connsiteX61" fmla="*/ 0 w 2441576"/>
                <a:gd name="connsiteY61" fmla="*/ 748854 h 900906"/>
                <a:gd name="connsiteX62" fmla="*/ 0 w 2441576"/>
                <a:gd name="connsiteY62" fmla="*/ 691652 h 900906"/>
                <a:gd name="connsiteX63" fmla="*/ 0 w 2441576"/>
                <a:gd name="connsiteY63" fmla="*/ 608208 h 900906"/>
                <a:gd name="connsiteX64" fmla="*/ 0 w 2441576"/>
                <a:gd name="connsiteY64" fmla="*/ 539600 h 900906"/>
                <a:gd name="connsiteX65" fmla="*/ 0 w 2441576"/>
                <a:gd name="connsiteY65" fmla="*/ 456156 h 900906"/>
                <a:gd name="connsiteX66" fmla="*/ 0 w 2441576"/>
                <a:gd name="connsiteY66" fmla="*/ 387548 h 900906"/>
                <a:gd name="connsiteX67" fmla="*/ 0 w 2441576"/>
                <a:gd name="connsiteY67" fmla="*/ 304104 h 900906"/>
                <a:gd name="connsiteX68" fmla="*/ 0 w 2441576"/>
                <a:gd name="connsiteY68" fmla="*/ 235496 h 900906"/>
                <a:gd name="connsiteX69" fmla="*/ 0 w 2441576"/>
                <a:gd name="connsiteY69" fmla="*/ 152052 h 900906"/>
                <a:gd name="connsiteX70" fmla="*/ 0 w 2441576"/>
                <a:gd name="connsiteY70" fmla="*/ 83444 h 900906"/>
                <a:gd name="connsiteX71" fmla="*/ 0 w 2441576"/>
                <a:gd name="connsiteY71" fmla="*/ 0 h 900906"/>
                <a:gd name="connsiteX0" fmla="*/ 0 w 2441576"/>
                <a:gd name="connsiteY0" fmla="*/ 0 h 900906"/>
                <a:gd name="connsiteX1" fmla="*/ 94270 w 2441576"/>
                <a:gd name="connsiteY1" fmla="*/ 0 h 900906"/>
                <a:gd name="connsiteX2" fmla="*/ 185400 w 2441576"/>
                <a:gd name="connsiteY2" fmla="*/ 0 h 900906"/>
                <a:gd name="connsiteX3" fmla="*/ 188541 w 2441576"/>
                <a:gd name="connsiteY3" fmla="*/ 0 h 900906"/>
                <a:gd name="connsiteX4" fmla="*/ 282811 w 2441576"/>
                <a:gd name="connsiteY4" fmla="*/ 0 h 900906"/>
                <a:gd name="connsiteX5" fmla="*/ 377080 w 2441576"/>
                <a:gd name="connsiteY5" fmla="*/ 0 h 900906"/>
                <a:gd name="connsiteX6" fmla="*/ 470246 w 2441576"/>
                <a:gd name="connsiteY6" fmla="*/ 0 h 900906"/>
                <a:gd name="connsiteX7" fmla="*/ 471351 w 2441576"/>
                <a:gd name="connsiteY7" fmla="*/ 0 h 900906"/>
                <a:gd name="connsiteX8" fmla="*/ 581332 w 2441576"/>
                <a:gd name="connsiteY8" fmla="*/ 0 h 900906"/>
                <a:gd name="connsiteX9" fmla="*/ 685028 w 2441576"/>
                <a:gd name="connsiteY9" fmla="*/ 0 h 900906"/>
                <a:gd name="connsiteX10" fmla="*/ 755093 w 2441576"/>
                <a:gd name="connsiteY10" fmla="*/ 0 h 900906"/>
                <a:gd name="connsiteX11" fmla="*/ 969874 w 2441576"/>
                <a:gd name="connsiteY11" fmla="*/ 0 h 900906"/>
                <a:gd name="connsiteX12" fmla="*/ 1039939 w 2441576"/>
                <a:gd name="connsiteY12" fmla="*/ 0 h 900906"/>
                <a:gd name="connsiteX13" fmla="*/ 1254721 w 2441576"/>
                <a:gd name="connsiteY13" fmla="*/ 0 h 900906"/>
                <a:gd name="connsiteX14" fmla="*/ 1324785 w 2441576"/>
                <a:gd name="connsiteY14" fmla="*/ 0 h 900906"/>
                <a:gd name="connsiteX15" fmla="*/ 1539566 w 2441576"/>
                <a:gd name="connsiteY15" fmla="*/ 0 h 900906"/>
                <a:gd name="connsiteX16" fmla="*/ 1609632 w 2441576"/>
                <a:gd name="connsiteY16" fmla="*/ 0 h 900906"/>
                <a:gd name="connsiteX17" fmla="*/ 1824412 w 2441576"/>
                <a:gd name="connsiteY17" fmla="*/ 0 h 900906"/>
                <a:gd name="connsiteX18" fmla="*/ 1941949 w 2441576"/>
                <a:gd name="connsiteY18" fmla="*/ 0 h 900906"/>
                <a:gd name="connsiteX19" fmla="*/ 2094866 w 2441576"/>
                <a:gd name="connsiteY19" fmla="*/ 0 h 900906"/>
                <a:gd name="connsiteX20" fmla="*/ 2176781 w 2441576"/>
                <a:gd name="connsiteY20" fmla="*/ 0 h 900906"/>
                <a:gd name="connsiteX21" fmla="*/ 2258696 w 2441576"/>
                <a:gd name="connsiteY21" fmla="*/ 0 h 900906"/>
                <a:gd name="connsiteX22" fmla="*/ 2321561 w 2441576"/>
                <a:gd name="connsiteY22" fmla="*/ 0 h 900906"/>
                <a:gd name="connsiteX23" fmla="*/ 2441576 w 2441576"/>
                <a:gd name="connsiteY23" fmla="*/ 0 h 900906"/>
                <a:gd name="connsiteX24" fmla="*/ 2441576 w 2441576"/>
                <a:gd name="connsiteY24" fmla="*/ 83444 h 900906"/>
                <a:gd name="connsiteX25" fmla="*/ 2441576 w 2441576"/>
                <a:gd name="connsiteY25" fmla="*/ 152052 h 900906"/>
                <a:gd name="connsiteX26" fmla="*/ 2441576 w 2441576"/>
                <a:gd name="connsiteY26" fmla="*/ 235496 h 900906"/>
                <a:gd name="connsiteX27" fmla="*/ 2441576 w 2441576"/>
                <a:gd name="connsiteY27" fmla="*/ 304104 h 900906"/>
                <a:gd name="connsiteX28" fmla="*/ 2441576 w 2441576"/>
                <a:gd name="connsiteY28" fmla="*/ 387548 h 900906"/>
                <a:gd name="connsiteX29" fmla="*/ 2441576 w 2441576"/>
                <a:gd name="connsiteY29" fmla="*/ 456156 h 900906"/>
                <a:gd name="connsiteX30" fmla="*/ 2441576 w 2441576"/>
                <a:gd name="connsiteY30" fmla="*/ 539600 h 900906"/>
                <a:gd name="connsiteX31" fmla="*/ 2441576 w 2441576"/>
                <a:gd name="connsiteY31" fmla="*/ 608208 h 900906"/>
                <a:gd name="connsiteX32" fmla="*/ 2441576 w 2441576"/>
                <a:gd name="connsiteY32" fmla="*/ 691652 h 900906"/>
                <a:gd name="connsiteX33" fmla="*/ 2441576 w 2441576"/>
                <a:gd name="connsiteY33" fmla="*/ 760260 h 900906"/>
                <a:gd name="connsiteX34" fmla="*/ 2441576 w 2441576"/>
                <a:gd name="connsiteY34" fmla="*/ 832298 h 900906"/>
                <a:gd name="connsiteX35" fmla="*/ 2441576 w 2441576"/>
                <a:gd name="connsiteY35" fmla="*/ 900906 h 900906"/>
                <a:gd name="connsiteX36" fmla="*/ 2321561 w 2441576"/>
                <a:gd name="connsiteY36" fmla="*/ 900906 h 900906"/>
                <a:gd name="connsiteX37" fmla="*/ 2239646 w 2441576"/>
                <a:gd name="connsiteY37" fmla="*/ 900906 h 900906"/>
                <a:gd name="connsiteX38" fmla="*/ 2176781 w 2441576"/>
                <a:gd name="connsiteY38" fmla="*/ 900906 h 900906"/>
                <a:gd name="connsiteX39" fmla="*/ 2109259 w 2441576"/>
                <a:gd name="connsiteY39" fmla="*/ 900906 h 900906"/>
                <a:gd name="connsiteX40" fmla="*/ 1941949 w 2441576"/>
                <a:gd name="connsiteY40" fmla="*/ 900906 h 900906"/>
                <a:gd name="connsiteX41" fmla="*/ 1824412 w 2441576"/>
                <a:gd name="connsiteY41" fmla="*/ 900906 h 900906"/>
                <a:gd name="connsiteX42" fmla="*/ 1609632 w 2441576"/>
                <a:gd name="connsiteY42" fmla="*/ 900906 h 900906"/>
                <a:gd name="connsiteX43" fmla="*/ 1539566 w 2441576"/>
                <a:gd name="connsiteY43" fmla="*/ 900906 h 900906"/>
                <a:gd name="connsiteX44" fmla="*/ 1324785 w 2441576"/>
                <a:gd name="connsiteY44" fmla="*/ 900906 h 900906"/>
                <a:gd name="connsiteX45" fmla="*/ 1254721 w 2441576"/>
                <a:gd name="connsiteY45" fmla="*/ 900906 h 900906"/>
                <a:gd name="connsiteX46" fmla="*/ 1039939 w 2441576"/>
                <a:gd name="connsiteY46" fmla="*/ 900906 h 900906"/>
                <a:gd name="connsiteX47" fmla="*/ 969874 w 2441576"/>
                <a:gd name="connsiteY47" fmla="*/ 900906 h 900906"/>
                <a:gd name="connsiteX48" fmla="*/ 755093 w 2441576"/>
                <a:gd name="connsiteY48" fmla="*/ 900906 h 900906"/>
                <a:gd name="connsiteX49" fmla="*/ 685028 w 2441576"/>
                <a:gd name="connsiteY49" fmla="*/ 900906 h 900906"/>
                <a:gd name="connsiteX50" fmla="*/ 581332 w 2441576"/>
                <a:gd name="connsiteY50" fmla="*/ 900906 h 900906"/>
                <a:gd name="connsiteX51" fmla="*/ 471351 w 2441576"/>
                <a:gd name="connsiteY51" fmla="*/ 900906 h 900906"/>
                <a:gd name="connsiteX52" fmla="*/ 470246 w 2441576"/>
                <a:gd name="connsiteY52" fmla="*/ 900906 h 900906"/>
                <a:gd name="connsiteX53" fmla="*/ 377080 w 2441576"/>
                <a:gd name="connsiteY53" fmla="*/ 900906 h 900906"/>
                <a:gd name="connsiteX54" fmla="*/ 282811 w 2441576"/>
                <a:gd name="connsiteY54" fmla="*/ 900906 h 900906"/>
                <a:gd name="connsiteX55" fmla="*/ 188541 w 2441576"/>
                <a:gd name="connsiteY55" fmla="*/ 900906 h 900906"/>
                <a:gd name="connsiteX56" fmla="*/ 185400 w 2441576"/>
                <a:gd name="connsiteY56" fmla="*/ 900906 h 900906"/>
                <a:gd name="connsiteX57" fmla="*/ 94270 w 2441576"/>
                <a:gd name="connsiteY57" fmla="*/ 900906 h 900906"/>
                <a:gd name="connsiteX58" fmla="*/ 0 w 2441576"/>
                <a:gd name="connsiteY58" fmla="*/ 900906 h 900906"/>
                <a:gd name="connsiteX59" fmla="*/ 0 w 2441576"/>
                <a:gd name="connsiteY59" fmla="*/ 832298 h 900906"/>
                <a:gd name="connsiteX60" fmla="*/ 0 w 2441576"/>
                <a:gd name="connsiteY60" fmla="*/ 760260 h 900906"/>
                <a:gd name="connsiteX61" fmla="*/ 0 w 2441576"/>
                <a:gd name="connsiteY61" fmla="*/ 691652 h 900906"/>
                <a:gd name="connsiteX62" fmla="*/ 0 w 2441576"/>
                <a:gd name="connsiteY62" fmla="*/ 608208 h 900906"/>
                <a:gd name="connsiteX63" fmla="*/ 0 w 2441576"/>
                <a:gd name="connsiteY63" fmla="*/ 539600 h 900906"/>
                <a:gd name="connsiteX64" fmla="*/ 0 w 2441576"/>
                <a:gd name="connsiteY64" fmla="*/ 456156 h 900906"/>
                <a:gd name="connsiteX65" fmla="*/ 0 w 2441576"/>
                <a:gd name="connsiteY65" fmla="*/ 387548 h 900906"/>
                <a:gd name="connsiteX66" fmla="*/ 0 w 2441576"/>
                <a:gd name="connsiteY66" fmla="*/ 304104 h 900906"/>
                <a:gd name="connsiteX67" fmla="*/ 0 w 2441576"/>
                <a:gd name="connsiteY67" fmla="*/ 235496 h 900906"/>
                <a:gd name="connsiteX68" fmla="*/ 0 w 2441576"/>
                <a:gd name="connsiteY68" fmla="*/ 152052 h 900906"/>
                <a:gd name="connsiteX69" fmla="*/ 0 w 2441576"/>
                <a:gd name="connsiteY69" fmla="*/ 83444 h 900906"/>
                <a:gd name="connsiteX70" fmla="*/ 0 w 2441576"/>
                <a:gd name="connsiteY70" fmla="*/ 0 h 900906"/>
                <a:gd name="connsiteX0" fmla="*/ 0 w 2441576"/>
                <a:gd name="connsiteY0" fmla="*/ 247 h 901153"/>
                <a:gd name="connsiteX1" fmla="*/ 94270 w 2441576"/>
                <a:gd name="connsiteY1" fmla="*/ 247 h 901153"/>
                <a:gd name="connsiteX2" fmla="*/ 185400 w 2441576"/>
                <a:gd name="connsiteY2" fmla="*/ 247 h 901153"/>
                <a:gd name="connsiteX3" fmla="*/ 188541 w 2441576"/>
                <a:gd name="connsiteY3" fmla="*/ 247 h 901153"/>
                <a:gd name="connsiteX4" fmla="*/ 282811 w 2441576"/>
                <a:gd name="connsiteY4" fmla="*/ 247 h 901153"/>
                <a:gd name="connsiteX5" fmla="*/ 377080 w 2441576"/>
                <a:gd name="connsiteY5" fmla="*/ 247 h 901153"/>
                <a:gd name="connsiteX6" fmla="*/ 470246 w 2441576"/>
                <a:gd name="connsiteY6" fmla="*/ 247 h 901153"/>
                <a:gd name="connsiteX7" fmla="*/ 471351 w 2441576"/>
                <a:gd name="connsiteY7" fmla="*/ 247 h 901153"/>
                <a:gd name="connsiteX8" fmla="*/ 581332 w 2441576"/>
                <a:gd name="connsiteY8" fmla="*/ 247 h 901153"/>
                <a:gd name="connsiteX9" fmla="*/ 685028 w 2441576"/>
                <a:gd name="connsiteY9" fmla="*/ 247 h 901153"/>
                <a:gd name="connsiteX10" fmla="*/ 755093 w 2441576"/>
                <a:gd name="connsiteY10" fmla="*/ 247 h 901153"/>
                <a:gd name="connsiteX11" fmla="*/ 969874 w 2441576"/>
                <a:gd name="connsiteY11" fmla="*/ 247 h 901153"/>
                <a:gd name="connsiteX12" fmla="*/ 1039939 w 2441576"/>
                <a:gd name="connsiteY12" fmla="*/ 247 h 901153"/>
                <a:gd name="connsiteX13" fmla="*/ 1254721 w 2441576"/>
                <a:gd name="connsiteY13" fmla="*/ 247 h 901153"/>
                <a:gd name="connsiteX14" fmla="*/ 1324785 w 2441576"/>
                <a:gd name="connsiteY14" fmla="*/ 247 h 901153"/>
                <a:gd name="connsiteX15" fmla="*/ 1430031 w 2441576"/>
                <a:gd name="connsiteY15" fmla="*/ 0 h 901153"/>
                <a:gd name="connsiteX16" fmla="*/ 1539566 w 2441576"/>
                <a:gd name="connsiteY16" fmla="*/ 247 h 901153"/>
                <a:gd name="connsiteX17" fmla="*/ 1609632 w 2441576"/>
                <a:gd name="connsiteY17" fmla="*/ 247 h 901153"/>
                <a:gd name="connsiteX18" fmla="*/ 1824412 w 2441576"/>
                <a:gd name="connsiteY18" fmla="*/ 247 h 901153"/>
                <a:gd name="connsiteX19" fmla="*/ 1941949 w 2441576"/>
                <a:gd name="connsiteY19" fmla="*/ 247 h 901153"/>
                <a:gd name="connsiteX20" fmla="*/ 2094866 w 2441576"/>
                <a:gd name="connsiteY20" fmla="*/ 247 h 901153"/>
                <a:gd name="connsiteX21" fmla="*/ 2176781 w 2441576"/>
                <a:gd name="connsiteY21" fmla="*/ 247 h 901153"/>
                <a:gd name="connsiteX22" fmla="*/ 2258696 w 2441576"/>
                <a:gd name="connsiteY22" fmla="*/ 247 h 901153"/>
                <a:gd name="connsiteX23" fmla="*/ 2321561 w 2441576"/>
                <a:gd name="connsiteY23" fmla="*/ 247 h 901153"/>
                <a:gd name="connsiteX24" fmla="*/ 2441576 w 2441576"/>
                <a:gd name="connsiteY24" fmla="*/ 247 h 901153"/>
                <a:gd name="connsiteX25" fmla="*/ 2441576 w 2441576"/>
                <a:gd name="connsiteY25" fmla="*/ 83691 h 901153"/>
                <a:gd name="connsiteX26" fmla="*/ 2441576 w 2441576"/>
                <a:gd name="connsiteY26" fmla="*/ 152299 h 901153"/>
                <a:gd name="connsiteX27" fmla="*/ 2441576 w 2441576"/>
                <a:gd name="connsiteY27" fmla="*/ 235743 h 901153"/>
                <a:gd name="connsiteX28" fmla="*/ 2441576 w 2441576"/>
                <a:gd name="connsiteY28" fmla="*/ 304351 h 901153"/>
                <a:gd name="connsiteX29" fmla="*/ 2441576 w 2441576"/>
                <a:gd name="connsiteY29" fmla="*/ 387795 h 901153"/>
                <a:gd name="connsiteX30" fmla="*/ 2441576 w 2441576"/>
                <a:gd name="connsiteY30" fmla="*/ 456403 h 901153"/>
                <a:gd name="connsiteX31" fmla="*/ 2441576 w 2441576"/>
                <a:gd name="connsiteY31" fmla="*/ 539847 h 901153"/>
                <a:gd name="connsiteX32" fmla="*/ 2441576 w 2441576"/>
                <a:gd name="connsiteY32" fmla="*/ 608455 h 901153"/>
                <a:gd name="connsiteX33" fmla="*/ 2441576 w 2441576"/>
                <a:gd name="connsiteY33" fmla="*/ 691899 h 901153"/>
                <a:gd name="connsiteX34" fmla="*/ 2441576 w 2441576"/>
                <a:gd name="connsiteY34" fmla="*/ 760507 h 901153"/>
                <a:gd name="connsiteX35" fmla="*/ 2441576 w 2441576"/>
                <a:gd name="connsiteY35" fmla="*/ 832545 h 901153"/>
                <a:gd name="connsiteX36" fmla="*/ 2441576 w 2441576"/>
                <a:gd name="connsiteY36" fmla="*/ 901153 h 901153"/>
                <a:gd name="connsiteX37" fmla="*/ 2321561 w 2441576"/>
                <a:gd name="connsiteY37" fmla="*/ 901153 h 901153"/>
                <a:gd name="connsiteX38" fmla="*/ 2239646 w 2441576"/>
                <a:gd name="connsiteY38" fmla="*/ 901153 h 901153"/>
                <a:gd name="connsiteX39" fmla="*/ 2176781 w 2441576"/>
                <a:gd name="connsiteY39" fmla="*/ 901153 h 901153"/>
                <a:gd name="connsiteX40" fmla="*/ 2109259 w 2441576"/>
                <a:gd name="connsiteY40" fmla="*/ 901153 h 901153"/>
                <a:gd name="connsiteX41" fmla="*/ 1941949 w 2441576"/>
                <a:gd name="connsiteY41" fmla="*/ 901153 h 901153"/>
                <a:gd name="connsiteX42" fmla="*/ 1824412 w 2441576"/>
                <a:gd name="connsiteY42" fmla="*/ 901153 h 901153"/>
                <a:gd name="connsiteX43" fmla="*/ 1609632 w 2441576"/>
                <a:gd name="connsiteY43" fmla="*/ 901153 h 901153"/>
                <a:gd name="connsiteX44" fmla="*/ 1539566 w 2441576"/>
                <a:gd name="connsiteY44" fmla="*/ 901153 h 901153"/>
                <a:gd name="connsiteX45" fmla="*/ 1324785 w 2441576"/>
                <a:gd name="connsiteY45" fmla="*/ 901153 h 901153"/>
                <a:gd name="connsiteX46" fmla="*/ 1254721 w 2441576"/>
                <a:gd name="connsiteY46" fmla="*/ 901153 h 901153"/>
                <a:gd name="connsiteX47" fmla="*/ 1039939 w 2441576"/>
                <a:gd name="connsiteY47" fmla="*/ 901153 h 901153"/>
                <a:gd name="connsiteX48" fmla="*/ 969874 w 2441576"/>
                <a:gd name="connsiteY48" fmla="*/ 901153 h 901153"/>
                <a:gd name="connsiteX49" fmla="*/ 755093 w 2441576"/>
                <a:gd name="connsiteY49" fmla="*/ 901153 h 901153"/>
                <a:gd name="connsiteX50" fmla="*/ 685028 w 2441576"/>
                <a:gd name="connsiteY50" fmla="*/ 901153 h 901153"/>
                <a:gd name="connsiteX51" fmla="*/ 581332 w 2441576"/>
                <a:gd name="connsiteY51" fmla="*/ 901153 h 901153"/>
                <a:gd name="connsiteX52" fmla="*/ 471351 w 2441576"/>
                <a:gd name="connsiteY52" fmla="*/ 901153 h 901153"/>
                <a:gd name="connsiteX53" fmla="*/ 470246 w 2441576"/>
                <a:gd name="connsiteY53" fmla="*/ 901153 h 901153"/>
                <a:gd name="connsiteX54" fmla="*/ 377080 w 2441576"/>
                <a:gd name="connsiteY54" fmla="*/ 901153 h 901153"/>
                <a:gd name="connsiteX55" fmla="*/ 282811 w 2441576"/>
                <a:gd name="connsiteY55" fmla="*/ 901153 h 901153"/>
                <a:gd name="connsiteX56" fmla="*/ 188541 w 2441576"/>
                <a:gd name="connsiteY56" fmla="*/ 901153 h 901153"/>
                <a:gd name="connsiteX57" fmla="*/ 185400 w 2441576"/>
                <a:gd name="connsiteY57" fmla="*/ 901153 h 901153"/>
                <a:gd name="connsiteX58" fmla="*/ 94270 w 2441576"/>
                <a:gd name="connsiteY58" fmla="*/ 901153 h 901153"/>
                <a:gd name="connsiteX59" fmla="*/ 0 w 2441576"/>
                <a:gd name="connsiteY59" fmla="*/ 901153 h 901153"/>
                <a:gd name="connsiteX60" fmla="*/ 0 w 2441576"/>
                <a:gd name="connsiteY60" fmla="*/ 832545 h 901153"/>
                <a:gd name="connsiteX61" fmla="*/ 0 w 2441576"/>
                <a:gd name="connsiteY61" fmla="*/ 760507 h 901153"/>
                <a:gd name="connsiteX62" fmla="*/ 0 w 2441576"/>
                <a:gd name="connsiteY62" fmla="*/ 691899 h 901153"/>
                <a:gd name="connsiteX63" fmla="*/ 0 w 2441576"/>
                <a:gd name="connsiteY63" fmla="*/ 608455 h 901153"/>
                <a:gd name="connsiteX64" fmla="*/ 0 w 2441576"/>
                <a:gd name="connsiteY64" fmla="*/ 539847 h 901153"/>
                <a:gd name="connsiteX65" fmla="*/ 0 w 2441576"/>
                <a:gd name="connsiteY65" fmla="*/ 456403 h 901153"/>
                <a:gd name="connsiteX66" fmla="*/ 0 w 2441576"/>
                <a:gd name="connsiteY66" fmla="*/ 387795 h 901153"/>
                <a:gd name="connsiteX67" fmla="*/ 0 w 2441576"/>
                <a:gd name="connsiteY67" fmla="*/ 304351 h 901153"/>
                <a:gd name="connsiteX68" fmla="*/ 0 w 2441576"/>
                <a:gd name="connsiteY68" fmla="*/ 235743 h 901153"/>
                <a:gd name="connsiteX69" fmla="*/ 0 w 2441576"/>
                <a:gd name="connsiteY69" fmla="*/ 152299 h 901153"/>
                <a:gd name="connsiteX70" fmla="*/ 0 w 2441576"/>
                <a:gd name="connsiteY70" fmla="*/ 83691 h 901153"/>
                <a:gd name="connsiteX71" fmla="*/ 0 w 2441576"/>
                <a:gd name="connsiteY71" fmla="*/ 247 h 901153"/>
                <a:gd name="connsiteX0" fmla="*/ 0 w 2441576"/>
                <a:gd name="connsiteY0" fmla="*/ 247 h 901154"/>
                <a:gd name="connsiteX1" fmla="*/ 94270 w 2441576"/>
                <a:gd name="connsiteY1" fmla="*/ 247 h 901154"/>
                <a:gd name="connsiteX2" fmla="*/ 185400 w 2441576"/>
                <a:gd name="connsiteY2" fmla="*/ 247 h 901154"/>
                <a:gd name="connsiteX3" fmla="*/ 188541 w 2441576"/>
                <a:gd name="connsiteY3" fmla="*/ 247 h 901154"/>
                <a:gd name="connsiteX4" fmla="*/ 282811 w 2441576"/>
                <a:gd name="connsiteY4" fmla="*/ 247 h 901154"/>
                <a:gd name="connsiteX5" fmla="*/ 377080 w 2441576"/>
                <a:gd name="connsiteY5" fmla="*/ 247 h 901154"/>
                <a:gd name="connsiteX6" fmla="*/ 470246 w 2441576"/>
                <a:gd name="connsiteY6" fmla="*/ 247 h 901154"/>
                <a:gd name="connsiteX7" fmla="*/ 471351 w 2441576"/>
                <a:gd name="connsiteY7" fmla="*/ 247 h 901154"/>
                <a:gd name="connsiteX8" fmla="*/ 581332 w 2441576"/>
                <a:gd name="connsiteY8" fmla="*/ 247 h 901154"/>
                <a:gd name="connsiteX9" fmla="*/ 685028 w 2441576"/>
                <a:gd name="connsiteY9" fmla="*/ 247 h 901154"/>
                <a:gd name="connsiteX10" fmla="*/ 755093 w 2441576"/>
                <a:gd name="connsiteY10" fmla="*/ 247 h 901154"/>
                <a:gd name="connsiteX11" fmla="*/ 969874 w 2441576"/>
                <a:gd name="connsiteY11" fmla="*/ 247 h 901154"/>
                <a:gd name="connsiteX12" fmla="*/ 1039939 w 2441576"/>
                <a:gd name="connsiteY12" fmla="*/ 247 h 901154"/>
                <a:gd name="connsiteX13" fmla="*/ 1254721 w 2441576"/>
                <a:gd name="connsiteY13" fmla="*/ 247 h 901154"/>
                <a:gd name="connsiteX14" fmla="*/ 1324785 w 2441576"/>
                <a:gd name="connsiteY14" fmla="*/ 247 h 901154"/>
                <a:gd name="connsiteX15" fmla="*/ 1430031 w 2441576"/>
                <a:gd name="connsiteY15" fmla="*/ 0 h 901154"/>
                <a:gd name="connsiteX16" fmla="*/ 1539566 w 2441576"/>
                <a:gd name="connsiteY16" fmla="*/ 247 h 901154"/>
                <a:gd name="connsiteX17" fmla="*/ 1609632 w 2441576"/>
                <a:gd name="connsiteY17" fmla="*/ 247 h 901154"/>
                <a:gd name="connsiteX18" fmla="*/ 1824412 w 2441576"/>
                <a:gd name="connsiteY18" fmla="*/ 247 h 901154"/>
                <a:gd name="connsiteX19" fmla="*/ 1941949 w 2441576"/>
                <a:gd name="connsiteY19" fmla="*/ 247 h 901154"/>
                <a:gd name="connsiteX20" fmla="*/ 2094866 w 2441576"/>
                <a:gd name="connsiteY20" fmla="*/ 247 h 901154"/>
                <a:gd name="connsiteX21" fmla="*/ 2176781 w 2441576"/>
                <a:gd name="connsiteY21" fmla="*/ 247 h 901154"/>
                <a:gd name="connsiteX22" fmla="*/ 2258696 w 2441576"/>
                <a:gd name="connsiteY22" fmla="*/ 247 h 901154"/>
                <a:gd name="connsiteX23" fmla="*/ 2321561 w 2441576"/>
                <a:gd name="connsiteY23" fmla="*/ 247 h 901154"/>
                <a:gd name="connsiteX24" fmla="*/ 2441576 w 2441576"/>
                <a:gd name="connsiteY24" fmla="*/ 247 h 901154"/>
                <a:gd name="connsiteX25" fmla="*/ 2441576 w 2441576"/>
                <a:gd name="connsiteY25" fmla="*/ 83691 h 901154"/>
                <a:gd name="connsiteX26" fmla="*/ 2441576 w 2441576"/>
                <a:gd name="connsiteY26" fmla="*/ 152299 h 901154"/>
                <a:gd name="connsiteX27" fmla="*/ 2441576 w 2441576"/>
                <a:gd name="connsiteY27" fmla="*/ 235743 h 901154"/>
                <a:gd name="connsiteX28" fmla="*/ 2441576 w 2441576"/>
                <a:gd name="connsiteY28" fmla="*/ 304351 h 901154"/>
                <a:gd name="connsiteX29" fmla="*/ 2441576 w 2441576"/>
                <a:gd name="connsiteY29" fmla="*/ 387795 h 901154"/>
                <a:gd name="connsiteX30" fmla="*/ 2441576 w 2441576"/>
                <a:gd name="connsiteY30" fmla="*/ 456403 h 901154"/>
                <a:gd name="connsiteX31" fmla="*/ 2441576 w 2441576"/>
                <a:gd name="connsiteY31" fmla="*/ 539847 h 901154"/>
                <a:gd name="connsiteX32" fmla="*/ 2441576 w 2441576"/>
                <a:gd name="connsiteY32" fmla="*/ 608455 h 901154"/>
                <a:gd name="connsiteX33" fmla="*/ 2441576 w 2441576"/>
                <a:gd name="connsiteY33" fmla="*/ 691899 h 901154"/>
                <a:gd name="connsiteX34" fmla="*/ 2441576 w 2441576"/>
                <a:gd name="connsiteY34" fmla="*/ 760507 h 901154"/>
                <a:gd name="connsiteX35" fmla="*/ 2441576 w 2441576"/>
                <a:gd name="connsiteY35" fmla="*/ 832545 h 901154"/>
                <a:gd name="connsiteX36" fmla="*/ 2441576 w 2441576"/>
                <a:gd name="connsiteY36" fmla="*/ 901153 h 901154"/>
                <a:gd name="connsiteX37" fmla="*/ 2321561 w 2441576"/>
                <a:gd name="connsiteY37" fmla="*/ 901153 h 901154"/>
                <a:gd name="connsiteX38" fmla="*/ 2239646 w 2441576"/>
                <a:gd name="connsiteY38" fmla="*/ 901153 h 901154"/>
                <a:gd name="connsiteX39" fmla="*/ 2176781 w 2441576"/>
                <a:gd name="connsiteY39" fmla="*/ 901153 h 901154"/>
                <a:gd name="connsiteX40" fmla="*/ 2109259 w 2441576"/>
                <a:gd name="connsiteY40" fmla="*/ 901153 h 901154"/>
                <a:gd name="connsiteX41" fmla="*/ 1941949 w 2441576"/>
                <a:gd name="connsiteY41" fmla="*/ 901153 h 901154"/>
                <a:gd name="connsiteX42" fmla="*/ 1824412 w 2441576"/>
                <a:gd name="connsiteY42" fmla="*/ 901153 h 901154"/>
                <a:gd name="connsiteX43" fmla="*/ 1609632 w 2441576"/>
                <a:gd name="connsiteY43" fmla="*/ 901153 h 901154"/>
                <a:gd name="connsiteX44" fmla="*/ 1539566 w 2441576"/>
                <a:gd name="connsiteY44" fmla="*/ 901153 h 901154"/>
                <a:gd name="connsiteX45" fmla="*/ 1324785 w 2441576"/>
                <a:gd name="connsiteY45" fmla="*/ 901153 h 901154"/>
                <a:gd name="connsiteX46" fmla="*/ 1254721 w 2441576"/>
                <a:gd name="connsiteY46" fmla="*/ 901153 h 901154"/>
                <a:gd name="connsiteX47" fmla="*/ 1039939 w 2441576"/>
                <a:gd name="connsiteY47" fmla="*/ 901153 h 901154"/>
                <a:gd name="connsiteX48" fmla="*/ 969874 w 2441576"/>
                <a:gd name="connsiteY48" fmla="*/ 901153 h 901154"/>
                <a:gd name="connsiteX49" fmla="*/ 864820 w 2441576"/>
                <a:gd name="connsiteY49" fmla="*/ 901154 h 901154"/>
                <a:gd name="connsiteX50" fmla="*/ 755093 w 2441576"/>
                <a:gd name="connsiteY50" fmla="*/ 901153 h 901154"/>
                <a:gd name="connsiteX51" fmla="*/ 685028 w 2441576"/>
                <a:gd name="connsiteY51" fmla="*/ 901153 h 901154"/>
                <a:gd name="connsiteX52" fmla="*/ 581332 w 2441576"/>
                <a:gd name="connsiteY52" fmla="*/ 901153 h 901154"/>
                <a:gd name="connsiteX53" fmla="*/ 471351 w 2441576"/>
                <a:gd name="connsiteY53" fmla="*/ 901153 h 901154"/>
                <a:gd name="connsiteX54" fmla="*/ 470246 w 2441576"/>
                <a:gd name="connsiteY54" fmla="*/ 901153 h 901154"/>
                <a:gd name="connsiteX55" fmla="*/ 377080 w 2441576"/>
                <a:gd name="connsiteY55" fmla="*/ 901153 h 901154"/>
                <a:gd name="connsiteX56" fmla="*/ 282811 w 2441576"/>
                <a:gd name="connsiteY56" fmla="*/ 901153 h 901154"/>
                <a:gd name="connsiteX57" fmla="*/ 188541 w 2441576"/>
                <a:gd name="connsiteY57" fmla="*/ 901153 h 901154"/>
                <a:gd name="connsiteX58" fmla="*/ 185400 w 2441576"/>
                <a:gd name="connsiteY58" fmla="*/ 901153 h 901154"/>
                <a:gd name="connsiteX59" fmla="*/ 94270 w 2441576"/>
                <a:gd name="connsiteY59" fmla="*/ 901153 h 901154"/>
                <a:gd name="connsiteX60" fmla="*/ 0 w 2441576"/>
                <a:gd name="connsiteY60" fmla="*/ 901153 h 901154"/>
                <a:gd name="connsiteX61" fmla="*/ 0 w 2441576"/>
                <a:gd name="connsiteY61" fmla="*/ 832545 h 901154"/>
                <a:gd name="connsiteX62" fmla="*/ 0 w 2441576"/>
                <a:gd name="connsiteY62" fmla="*/ 760507 h 901154"/>
                <a:gd name="connsiteX63" fmla="*/ 0 w 2441576"/>
                <a:gd name="connsiteY63" fmla="*/ 691899 h 901154"/>
                <a:gd name="connsiteX64" fmla="*/ 0 w 2441576"/>
                <a:gd name="connsiteY64" fmla="*/ 608455 h 901154"/>
                <a:gd name="connsiteX65" fmla="*/ 0 w 2441576"/>
                <a:gd name="connsiteY65" fmla="*/ 539847 h 901154"/>
                <a:gd name="connsiteX66" fmla="*/ 0 w 2441576"/>
                <a:gd name="connsiteY66" fmla="*/ 456403 h 901154"/>
                <a:gd name="connsiteX67" fmla="*/ 0 w 2441576"/>
                <a:gd name="connsiteY67" fmla="*/ 387795 h 901154"/>
                <a:gd name="connsiteX68" fmla="*/ 0 w 2441576"/>
                <a:gd name="connsiteY68" fmla="*/ 304351 h 901154"/>
                <a:gd name="connsiteX69" fmla="*/ 0 w 2441576"/>
                <a:gd name="connsiteY69" fmla="*/ 235743 h 901154"/>
                <a:gd name="connsiteX70" fmla="*/ 0 w 2441576"/>
                <a:gd name="connsiteY70" fmla="*/ 152299 h 901154"/>
                <a:gd name="connsiteX71" fmla="*/ 0 w 2441576"/>
                <a:gd name="connsiteY71" fmla="*/ 83691 h 901154"/>
                <a:gd name="connsiteX72" fmla="*/ 0 w 2441576"/>
                <a:gd name="connsiteY72" fmla="*/ 247 h 901154"/>
                <a:gd name="connsiteX0" fmla="*/ 0 w 2441576"/>
                <a:gd name="connsiteY0" fmla="*/ 247 h 901154"/>
                <a:gd name="connsiteX1" fmla="*/ 94270 w 2441576"/>
                <a:gd name="connsiteY1" fmla="*/ 247 h 901154"/>
                <a:gd name="connsiteX2" fmla="*/ 185400 w 2441576"/>
                <a:gd name="connsiteY2" fmla="*/ 247 h 901154"/>
                <a:gd name="connsiteX3" fmla="*/ 188541 w 2441576"/>
                <a:gd name="connsiteY3" fmla="*/ 247 h 901154"/>
                <a:gd name="connsiteX4" fmla="*/ 282811 w 2441576"/>
                <a:gd name="connsiteY4" fmla="*/ 247 h 901154"/>
                <a:gd name="connsiteX5" fmla="*/ 377080 w 2441576"/>
                <a:gd name="connsiteY5" fmla="*/ 247 h 901154"/>
                <a:gd name="connsiteX6" fmla="*/ 470246 w 2441576"/>
                <a:gd name="connsiteY6" fmla="*/ 247 h 901154"/>
                <a:gd name="connsiteX7" fmla="*/ 471351 w 2441576"/>
                <a:gd name="connsiteY7" fmla="*/ 247 h 901154"/>
                <a:gd name="connsiteX8" fmla="*/ 581332 w 2441576"/>
                <a:gd name="connsiteY8" fmla="*/ 247 h 901154"/>
                <a:gd name="connsiteX9" fmla="*/ 685028 w 2441576"/>
                <a:gd name="connsiteY9" fmla="*/ 247 h 901154"/>
                <a:gd name="connsiteX10" fmla="*/ 755093 w 2441576"/>
                <a:gd name="connsiteY10" fmla="*/ 247 h 901154"/>
                <a:gd name="connsiteX11" fmla="*/ 969874 w 2441576"/>
                <a:gd name="connsiteY11" fmla="*/ 247 h 901154"/>
                <a:gd name="connsiteX12" fmla="*/ 1039939 w 2441576"/>
                <a:gd name="connsiteY12" fmla="*/ 247 h 901154"/>
                <a:gd name="connsiteX13" fmla="*/ 1254721 w 2441576"/>
                <a:gd name="connsiteY13" fmla="*/ 247 h 901154"/>
                <a:gd name="connsiteX14" fmla="*/ 1324785 w 2441576"/>
                <a:gd name="connsiteY14" fmla="*/ 247 h 901154"/>
                <a:gd name="connsiteX15" fmla="*/ 1430031 w 2441576"/>
                <a:gd name="connsiteY15" fmla="*/ 0 h 901154"/>
                <a:gd name="connsiteX16" fmla="*/ 1539566 w 2441576"/>
                <a:gd name="connsiteY16" fmla="*/ 247 h 901154"/>
                <a:gd name="connsiteX17" fmla="*/ 1609632 w 2441576"/>
                <a:gd name="connsiteY17" fmla="*/ 247 h 901154"/>
                <a:gd name="connsiteX18" fmla="*/ 1824412 w 2441576"/>
                <a:gd name="connsiteY18" fmla="*/ 247 h 901154"/>
                <a:gd name="connsiteX19" fmla="*/ 1941949 w 2441576"/>
                <a:gd name="connsiteY19" fmla="*/ 247 h 901154"/>
                <a:gd name="connsiteX20" fmla="*/ 2094866 w 2441576"/>
                <a:gd name="connsiteY20" fmla="*/ 247 h 901154"/>
                <a:gd name="connsiteX21" fmla="*/ 2176781 w 2441576"/>
                <a:gd name="connsiteY21" fmla="*/ 247 h 901154"/>
                <a:gd name="connsiteX22" fmla="*/ 2258696 w 2441576"/>
                <a:gd name="connsiteY22" fmla="*/ 247 h 901154"/>
                <a:gd name="connsiteX23" fmla="*/ 2321561 w 2441576"/>
                <a:gd name="connsiteY23" fmla="*/ 247 h 901154"/>
                <a:gd name="connsiteX24" fmla="*/ 2441576 w 2441576"/>
                <a:gd name="connsiteY24" fmla="*/ 247 h 901154"/>
                <a:gd name="connsiteX25" fmla="*/ 2441576 w 2441576"/>
                <a:gd name="connsiteY25" fmla="*/ 83691 h 901154"/>
                <a:gd name="connsiteX26" fmla="*/ 2441576 w 2441576"/>
                <a:gd name="connsiteY26" fmla="*/ 152299 h 901154"/>
                <a:gd name="connsiteX27" fmla="*/ 2441576 w 2441576"/>
                <a:gd name="connsiteY27" fmla="*/ 235743 h 901154"/>
                <a:gd name="connsiteX28" fmla="*/ 2441576 w 2441576"/>
                <a:gd name="connsiteY28" fmla="*/ 304351 h 901154"/>
                <a:gd name="connsiteX29" fmla="*/ 2441576 w 2441576"/>
                <a:gd name="connsiteY29" fmla="*/ 387795 h 901154"/>
                <a:gd name="connsiteX30" fmla="*/ 2441576 w 2441576"/>
                <a:gd name="connsiteY30" fmla="*/ 456403 h 901154"/>
                <a:gd name="connsiteX31" fmla="*/ 2441576 w 2441576"/>
                <a:gd name="connsiteY31" fmla="*/ 539847 h 901154"/>
                <a:gd name="connsiteX32" fmla="*/ 2441576 w 2441576"/>
                <a:gd name="connsiteY32" fmla="*/ 608455 h 901154"/>
                <a:gd name="connsiteX33" fmla="*/ 2441576 w 2441576"/>
                <a:gd name="connsiteY33" fmla="*/ 691899 h 901154"/>
                <a:gd name="connsiteX34" fmla="*/ 2441576 w 2441576"/>
                <a:gd name="connsiteY34" fmla="*/ 760507 h 901154"/>
                <a:gd name="connsiteX35" fmla="*/ 2441576 w 2441576"/>
                <a:gd name="connsiteY35" fmla="*/ 832545 h 901154"/>
                <a:gd name="connsiteX36" fmla="*/ 2441576 w 2441576"/>
                <a:gd name="connsiteY36" fmla="*/ 901153 h 901154"/>
                <a:gd name="connsiteX37" fmla="*/ 2321561 w 2441576"/>
                <a:gd name="connsiteY37" fmla="*/ 901153 h 901154"/>
                <a:gd name="connsiteX38" fmla="*/ 2239646 w 2441576"/>
                <a:gd name="connsiteY38" fmla="*/ 901153 h 901154"/>
                <a:gd name="connsiteX39" fmla="*/ 2176781 w 2441576"/>
                <a:gd name="connsiteY39" fmla="*/ 901153 h 901154"/>
                <a:gd name="connsiteX40" fmla="*/ 2109259 w 2441576"/>
                <a:gd name="connsiteY40" fmla="*/ 901153 h 901154"/>
                <a:gd name="connsiteX41" fmla="*/ 1941949 w 2441576"/>
                <a:gd name="connsiteY41" fmla="*/ 901153 h 901154"/>
                <a:gd name="connsiteX42" fmla="*/ 1824412 w 2441576"/>
                <a:gd name="connsiteY42" fmla="*/ 901153 h 901154"/>
                <a:gd name="connsiteX43" fmla="*/ 1609632 w 2441576"/>
                <a:gd name="connsiteY43" fmla="*/ 901153 h 901154"/>
                <a:gd name="connsiteX44" fmla="*/ 1539566 w 2441576"/>
                <a:gd name="connsiteY44" fmla="*/ 901153 h 901154"/>
                <a:gd name="connsiteX45" fmla="*/ 1324785 w 2441576"/>
                <a:gd name="connsiteY45" fmla="*/ 901153 h 901154"/>
                <a:gd name="connsiteX46" fmla="*/ 1254721 w 2441576"/>
                <a:gd name="connsiteY46" fmla="*/ 901153 h 901154"/>
                <a:gd name="connsiteX47" fmla="*/ 1146253 w 2441576"/>
                <a:gd name="connsiteY47" fmla="*/ 901153 h 901154"/>
                <a:gd name="connsiteX48" fmla="*/ 1039939 w 2441576"/>
                <a:gd name="connsiteY48" fmla="*/ 901153 h 901154"/>
                <a:gd name="connsiteX49" fmla="*/ 969874 w 2441576"/>
                <a:gd name="connsiteY49" fmla="*/ 901153 h 901154"/>
                <a:gd name="connsiteX50" fmla="*/ 864820 w 2441576"/>
                <a:gd name="connsiteY50" fmla="*/ 901154 h 901154"/>
                <a:gd name="connsiteX51" fmla="*/ 755093 w 2441576"/>
                <a:gd name="connsiteY51" fmla="*/ 901153 h 901154"/>
                <a:gd name="connsiteX52" fmla="*/ 685028 w 2441576"/>
                <a:gd name="connsiteY52" fmla="*/ 901153 h 901154"/>
                <a:gd name="connsiteX53" fmla="*/ 581332 w 2441576"/>
                <a:gd name="connsiteY53" fmla="*/ 901153 h 901154"/>
                <a:gd name="connsiteX54" fmla="*/ 471351 w 2441576"/>
                <a:gd name="connsiteY54" fmla="*/ 901153 h 901154"/>
                <a:gd name="connsiteX55" fmla="*/ 470246 w 2441576"/>
                <a:gd name="connsiteY55" fmla="*/ 901153 h 901154"/>
                <a:gd name="connsiteX56" fmla="*/ 377080 w 2441576"/>
                <a:gd name="connsiteY56" fmla="*/ 901153 h 901154"/>
                <a:gd name="connsiteX57" fmla="*/ 282811 w 2441576"/>
                <a:gd name="connsiteY57" fmla="*/ 901153 h 901154"/>
                <a:gd name="connsiteX58" fmla="*/ 188541 w 2441576"/>
                <a:gd name="connsiteY58" fmla="*/ 901153 h 901154"/>
                <a:gd name="connsiteX59" fmla="*/ 185400 w 2441576"/>
                <a:gd name="connsiteY59" fmla="*/ 901153 h 901154"/>
                <a:gd name="connsiteX60" fmla="*/ 94270 w 2441576"/>
                <a:gd name="connsiteY60" fmla="*/ 901153 h 901154"/>
                <a:gd name="connsiteX61" fmla="*/ 0 w 2441576"/>
                <a:gd name="connsiteY61" fmla="*/ 901153 h 901154"/>
                <a:gd name="connsiteX62" fmla="*/ 0 w 2441576"/>
                <a:gd name="connsiteY62" fmla="*/ 832545 h 901154"/>
                <a:gd name="connsiteX63" fmla="*/ 0 w 2441576"/>
                <a:gd name="connsiteY63" fmla="*/ 760507 h 901154"/>
                <a:gd name="connsiteX64" fmla="*/ 0 w 2441576"/>
                <a:gd name="connsiteY64" fmla="*/ 691899 h 901154"/>
                <a:gd name="connsiteX65" fmla="*/ 0 w 2441576"/>
                <a:gd name="connsiteY65" fmla="*/ 608455 h 901154"/>
                <a:gd name="connsiteX66" fmla="*/ 0 w 2441576"/>
                <a:gd name="connsiteY66" fmla="*/ 539847 h 901154"/>
                <a:gd name="connsiteX67" fmla="*/ 0 w 2441576"/>
                <a:gd name="connsiteY67" fmla="*/ 456403 h 901154"/>
                <a:gd name="connsiteX68" fmla="*/ 0 w 2441576"/>
                <a:gd name="connsiteY68" fmla="*/ 387795 h 901154"/>
                <a:gd name="connsiteX69" fmla="*/ 0 w 2441576"/>
                <a:gd name="connsiteY69" fmla="*/ 304351 h 901154"/>
                <a:gd name="connsiteX70" fmla="*/ 0 w 2441576"/>
                <a:gd name="connsiteY70" fmla="*/ 235743 h 901154"/>
                <a:gd name="connsiteX71" fmla="*/ 0 w 2441576"/>
                <a:gd name="connsiteY71" fmla="*/ 152299 h 901154"/>
                <a:gd name="connsiteX72" fmla="*/ 0 w 2441576"/>
                <a:gd name="connsiteY72" fmla="*/ 83691 h 901154"/>
                <a:gd name="connsiteX73" fmla="*/ 0 w 2441576"/>
                <a:gd name="connsiteY73" fmla="*/ 247 h 901154"/>
                <a:gd name="connsiteX0" fmla="*/ 0 w 2441576"/>
                <a:gd name="connsiteY0" fmla="*/ 247 h 901154"/>
                <a:gd name="connsiteX1" fmla="*/ 94270 w 2441576"/>
                <a:gd name="connsiteY1" fmla="*/ 247 h 901154"/>
                <a:gd name="connsiteX2" fmla="*/ 185400 w 2441576"/>
                <a:gd name="connsiteY2" fmla="*/ 247 h 901154"/>
                <a:gd name="connsiteX3" fmla="*/ 188541 w 2441576"/>
                <a:gd name="connsiteY3" fmla="*/ 247 h 901154"/>
                <a:gd name="connsiteX4" fmla="*/ 282811 w 2441576"/>
                <a:gd name="connsiteY4" fmla="*/ 247 h 901154"/>
                <a:gd name="connsiteX5" fmla="*/ 377080 w 2441576"/>
                <a:gd name="connsiteY5" fmla="*/ 247 h 901154"/>
                <a:gd name="connsiteX6" fmla="*/ 470246 w 2441576"/>
                <a:gd name="connsiteY6" fmla="*/ 247 h 901154"/>
                <a:gd name="connsiteX7" fmla="*/ 471351 w 2441576"/>
                <a:gd name="connsiteY7" fmla="*/ 247 h 901154"/>
                <a:gd name="connsiteX8" fmla="*/ 581332 w 2441576"/>
                <a:gd name="connsiteY8" fmla="*/ 247 h 901154"/>
                <a:gd name="connsiteX9" fmla="*/ 685028 w 2441576"/>
                <a:gd name="connsiteY9" fmla="*/ 247 h 901154"/>
                <a:gd name="connsiteX10" fmla="*/ 755093 w 2441576"/>
                <a:gd name="connsiteY10" fmla="*/ 247 h 901154"/>
                <a:gd name="connsiteX11" fmla="*/ 969874 w 2441576"/>
                <a:gd name="connsiteY11" fmla="*/ 247 h 901154"/>
                <a:gd name="connsiteX12" fmla="*/ 1039939 w 2441576"/>
                <a:gd name="connsiteY12" fmla="*/ 247 h 901154"/>
                <a:gd name="connsiteX13" fmla="*/ 1254721 w 2441576"/>
                <a:gd name="connsiteY13" fmla="*/ 247 h 901154"/>
                <a:gd name="connsiteX14" fmla="*/ 1324785 w 2441576"/>
                <a:gd name="connsiteY14" fmla="*/ 247 h 901154"/>
                <a:gd name="connsiteX15" fmla="*/ 1430031 w 2441576"/>
                <a:gd name="connsiteY15" fmla="*/ 0 h 901154"/>
                <a:gd name="connsiteX16" fmla="*/ 1539566 w 2441576"/>
                <a:gd name="connsiteY16" fmla="*/ 247 h 901154"/>
                <a:gd name="connsiteX17" fmla="*/ 1609632 w 2441576"/>
                <a:gd name="connsiteY17" fmla="*/ 247 h 901154"/>
                <a:gd name="connsiteX18" fmla="*/ 1824412 w 2441576"/>
                <a:gd name="connsiteY18" fmla="*/ 247 h 901154"/>
                <a:gd name="connsiteX19" fmla="*/ 1941949 w 2441576"/>
                <a:gd name="connsiteY19" fmla="*/ 247 h 901154"/>
                <a:gd name="connsiteX20" fmla="*/ 2094866 w 2441576"/>
                <a:gd name="connsiteY20" fmla="*/ 247 h 901154"/>
                <a:gd name="connsiteX21" fmla="*/ 2176781 w 2441576"/>
                <a:gd name="connsiteY21" fmla="*/ 247 h 901154"/>
                <a:gd name="connsiteX22" fmla="*/ 2258696 w 2441576"/>
                <a:gd name="connsiteY22" fmla="*/ 247 h 901154"/>
                <a:gd name="connsiteX23" fmla="*/ 2321561 w 2441576"/>
                <a:gd name="connsiteY23" fmla="*/ 247 h 901154"/>
                <a:gd name="connsiteX24" fmla="*/ 2441576 w 2441576"/>
                <a:gd name="connsiteY24" fmla="*/ 247 h 901154"/>
                <a:gd name="connsiteX25" fmla="*/ 2441576 w 2441576"/>
                <a:gd name="connsiteY25" fmla="*/ 83691 h 901154"/>
                <a:gd name="connsiteX26" fmla="*/ 2441576 w 2441576"/>
                <a:gd name="connsiteY26" fmla="*/ 152299 h 901154"/>
                <a:gd name="connsiteX27" fmla="*/ 2441576 w 2441576"/>
                <a:gd name="connsiteY27" fmla="*/ 235743 h 901154"/>
                <a:gd name="connsiteX28" fmla="*/ 2441576 w 2441576"/>
                <a:gd name="connsiteY28" fmla="*/ 304351 h 901154"/>
                <a:gd name="connsiteX29" fmla="*/ 2441576 w 2441576"/>
                <a:gd name="connsiteY29" fmla="*/ 387795 h 901154"/>
                <a:gd name="connsiteX30" fmla="*/ 2441576 w 2441576"/>
                <a:gd name="connsiteY30" fmla="*/ 456403 h 901154"/>
                <a:gd name="connsiteX31" fmla="*/ 2441576 w 2441576"/>
                <a:gd name="connsiteY31" fmla="*/ 539847 h 901154"/>
                <a:gd name="connsiteX32" fmla="*/ 2441576 w 2441576"/>
                <a:gd name="connsiteY32" fmla="*/ 608455 h 901154"/>
                <a:gd name="connsiteX33" fmla="*/ 2441576 w 2441576"/>
                <a:gd name="connsiteY33" fmla="*/ 691899 h 901154"/>
                <a:gd name="connsiteX34" fmla="*/ 2441576 w 2441576"/>
                <a:gd name="connsiteY34" fmla="*/ 760507 h 901154"/>
                <a:gd name="connsiteX35" fmla="*/ 2441576 w 2441576"/>
                <a:gd name="connsiteY35" fmla="*/ 832545 h 901154"/>
                <a:gd name="connsiteX36" fmla="*/ 2441576 w 2441576"/>
                <a:gd name="connsiteY36" fmla="*/ 901153 h 901154"/>
                <a:gd name="connsiteX37" fmla="*/ 2321561 w 2441576"/>
                <a:gd name="connsiteY37" fmla="*/ 901153 h 901154"/>
                <a:gd name="connsiteX38" fmla="*/ 2239646 w 2441576"/>
                <a:gd name="connsiteY38" fmla="*/ 901153 h 901154"/>
                <a:gd name="connsiteX39" fmla="*/ 2176781 w 2441576"/>
                <a:gd name="connsiteY39" fmla="*/ 901153 h 901154"/>
                <a:gd name="connsiteX40" fmla="*/ 2109259 w 2441576"/>
                <a:gd name="connsiteY40" fmla="*/ 901153 h 901154"/>
                <a:gd name="connsiteX41" fmla="*/ 1941949 w 2441576"/>
                <a:gd name="connsiteY41" fmla="*/ 901153 h 901154"/>
                <a:gd name="connsiteX42" fmla="*/ 1824412 w 2441576"/>
                <a:gd name="connsiteY42" fmla="*/ 901153 h 901154"/>
                <a:gd name="connsiteX43" fmla="*/ 1609632 w 2441576"/>
                <a:gd name="connsiteY43" fmla="*/ 901153 h 901154"/>
                <a:gd name="connsiteX44" fmla="*/ 1539566 w 2441576"/>
                <a:gd name="connsiteY44" fmla="*/ 901153 h 901154"/>
                <a:gd name="connsiteX45" fmla="*/ 1427685 w 2441576"/>
                <a:gd name="connsiteY45" fmla="*/ 901153 h 901154"/>
                <a:gd name="connsiteX46" fmla="*/ 1324785 w 2441576"/>
                <a:gd name="connsiteY46" fmla="*/ 901153 h 901154"/>
                <a:gd name="connsiteX47" fmla="*/ 1254721 w 2441576"/>
                <a:gd name="connsiteY47" fmla="*/ 901153 h 901154"/>
                <a:gd name="connsiteX48" fmla="*/ 1146253 w 2441576"/>
                <a:gd name="connsiteY48" fmla="*/ 901153 h 901154"/>
                <a:gd name="connsiteX49" fmla="*/ 1039939 w 2441576"/>
                <a:gd name="connsiteY49" fmla="*/ 901153 h 901154"/>
                <a:gd name="connsiteX50" fmla="*/ 969874 w 2441576"/>
                <a:gd name="connsiteY50" fmla="*/ 901153 h 901154"/>
                <a:gd name="connsiteX51" fmla="*/ 864820 w 2441576"/>
                <a:gd name="connsiteY51" fmla="*/ 901154 h 901154"/>
                <a:gd name="connsiteX52" fmla="*/ 755093 w 2441576"/>
                <a:gd name="connsiteY52" fmla="*/ 901153 h 901154"/>
                <a:gd name="connsiteX53" fmla="*/ 685028 w 2441576"/>
                <a:gd name="connsiteY53" fmla="*/ 901153 h 901154"/>
                <a:gd name="connsiteX54" fmla="*/ 581332 w 2441576"/>
                <a:gd name="connsiteY54" fmla="*/ 901153 h 901154"/>
                <a:gd name="connsiteX55" fmla="*/ 471351 w 2441576"/>
                <a:gd name="connsiteY55" fmla="*/ 901153 h 901154"/>
                <a:gd name="connsiteX56" fmla="*/ 470246 w 2441576"/>
                <a:gd name="connsiteY56" fmla="*/ 901153 h 901154"/>
                <a:gd name="connsiteX57" fmla="*/ 377080 w 2441576"/>
                <a:gd name="connsiteY57" fmla="*/ 901153 h 901154"/>
                <a:gd name="connsiteX58" fmla="*/ 282811 w 2441576"/>
                <a:gd name="connsiteY58" fmla="*/ 901153 h 901154"/>
                <a:gd name="connsiteX59" fmla="*/ 188541 w 2441576"/>
                <a:gd name="connsiteY59" fmla="*/ 901153 h 901154"/>
                <a:gd name="connsiteX60" fmla="*/ 185400 w 2441576"/>
                <a:gd name="connsiteY60" fmla="*/ 901153 h 901154"/>
                <a:gd name="connsiteX61" fmla="*/ 94270 w 2441576"/>
                <a:gd name="connsiteY61" fmla="*/ 901153 h 901154"/>
                <a:gd name="connsiteX62" fmla="*/ 0 w 2441576"/>
                <a:gd name="connsiteY62" fmla="*/ 901153 h 901154"/>
                <a:gd name="connsiteX63" fmla="*/ 0 w 2441576"/>
                <a:gd name="connsiteY63" fmla="*/ 832545 h 901154"/>
                <a:gd name="connsiteX64" fmla="*/ 0 w 2441576"/>
                <a:gd name="connsiteY64" fmla="*/ 760507 h 901154"/>
                <a:gd name="connsiteX65" fmla="*/ 0 w 2441576"/>
                <a:gd name="connsiteY65" fmla="*/ 691899 h 901154"/>
                <a:gd name="connsiteX66" fmla="*/ 0 w 2441576"/>
                <a:gd name="connsiteY66" fmla="*/ 608455 h 901154"/>
                <a:gd name="connsiteX67" fmla="*/ 0 w 2441576"/>
                <a:gd name="connsiteY67" fmla="*/ 539847 h 901154"/>
                <a:gd name="connsiteX68" fmla="*/ 0 w 2441576"/>
                <a:gd name="connsiteY68" fmla="*/ 456403 h 901154"/>
                <a:gd name="connsiteX69" fmla="*/ 0 w 2441576"/>
                <a:gd name="connsiteY69" fmla="*/ 387795 h 901154"/>
                <a:gd name="connsiteX70" fmla="*/ 0 w 2441576"/>
                <a:gd name="connsiteY70" fmla="*/ 304351 h 901154"/>
                <a:gd name="connsiteX71" fmla="*/ 0 w 2441576"/>
                <a:gd name="connsiteY71" fmla="*/ 235743 h 901154"/>
                <a:gd name="connsiteX72" fmla="*/ 0 w 2441576"/>
                <a:gd name="connsiteY72" fmla="*/ 152299 h 901154"/>
                <a:gd name="connsiteX73" fmla="*/ 0 w 2441576"/>
                <a:gd name="connsiteY73" fmla="*/ 83691 h 901154"/>
                <a:gd name="connsiteX74" fmla="*/ 0 w 2441576"/>
                <a:gd name="connsiteY74" fmla="*/ 247 h 901154"/>
                <a:gd name="connsiteX0" fmla="*/ 0 w 2441576"/>
                <a:gd name="connsiteY0" fmla="*/ 247 h 901154"/>
                <a:gd name="connsiteX1" fmla="*/ 94270 w 2441576"/>
                <a:gd name="connsiteY1" fmla="*/ 247 h 901154"/>
                <a:gd name="connsiteX2" fmla="*/ 185400 w 2441576"/>
                <a:gd name="connsiteY2" fmla="*/ 247 h 901154"/>
                <a:gd name="connsiteX3" fmla="*/ 188541 w 2441576"/>
                <a:gd name="connsiteY3" fmla="*/ 247 h 901154"/>
                <a:gd name="connsiteX4" fmla="*/ 282811 w 2441576"/>
                <a:gd name="connsiteY4" fmla="*/ 247 h 901154"/>
                <a:gd name="connsiteX5" fmla="*/ 377080 w 2441576"/>
                <a:gd name="connsiteY5" fmla="*/ 247 h 901154"/>
                <a:gd name="connsiteX6" fmla="*/ 470246 w 2441576"/>
                <a:gd name="connsiteY6" fmla="*/ 247 h 901154"/>
                <a:gd name="connsiteX7" fmla="*/ 471351 w 2441576"/>
                <a:gd name="connsiteY7" fmla="*/ 247 h 901154"/>
                <a:gd name="connsiteX8" fmla="*/ 581332 w 2441576"/>
                <a:gd name="connsiteY8" fmla="*/ 247 h 901154"/>
                <a:gd name="connsiteX9" fmla="*/ 685028 w 2441576"/>
                <a:gd name="connsiteY9" fmla="*/ 247 h 901154"/>
                <a:gd name="connsiteX10" fmla="*/ 755093 w 2441576"/>
                <a:gd name="connsiteY10" fmla="*/ 247 h 901154"/>
                <a:gd name="connsiteX11" fmla="*/ 969874 w 2441576"/>
                <a:gd name="connsiteY11" fmla="*/ 247 h 901154"/>
                <a:gd name="connsiteX12" fmla="*/ 1039939 w 2441576"/>
                <a:gd name="connsiteY12" fmla="*/ 247 h 901154"/>
                <a:gd name="connsiteX13" fmla="*/ 1254721 w 2441576"/>
                <a:gd name="connsiteY13" fmla="*/ 247 h 901154"/>
                <a:gd name="connsiteX14" fmla="*/ 1324785 w 2441576"/>
                <a:gd name="connsiteY14" fmla="*/ 247 h 901154"/>
                <a:gd name="connsiteX15" fmla="*/ 1430031 w 2441576"/>
                <a:gd name="connsiteY15" fmla="*/ 0 h 901154"/>
                <a:gd name="connsiteX16" fmla="*/ 1539566 w 2441576"/>
                <a:gd name="connsiteY16" fmla="*/ 247 h 901154"/>
                <a:gd name="connsiteX17" fmla="*/ 1609632 w 2441576"/>
                <a:gd name="connsiteY17" fmla="*/ 247 h 901154"/>
                <a:gd name="connsiteX18" fmla="*/ 1824412 w 2441576"/>
                <a:gd name="connsiteY18" fmla="*/ 247 h 901154"/>
                <a:gd name="connsiteX19" fmla="*/ 1941949 w 2441576"/>
                <a:gd name="connsiteY19" fmla="*/ 247 h 901154"/>
                <a:gd name="connsiteX20" fmla="*/ 2094866 w 2441576"/>
                <a:gd name="connsiteY20" fmla="*/ 247 h 901154"/>
                <a:gd name="connsiteX21" fmla="*/ 2176781 w 2441576"/>
                <a:gd name="connsiteY21" fmla="*/ 247 h 901154"/>
                <a:gd name="connsiteX22" fmla="*/ 2258696 w 2441576"/>
                <a:gd name="connsiteY22" fmla="*/ 247 h 901154"/>
                <a:gd name="connsiteX23" fmla="*/ 2321561 w 2441576"/>
                <a:gd name="connsiteY23" fmla="*/ 247 h 901154"/>
                <a:gd name="connsiteX24" fmla="*/ 2441576 w 2441576"/>
                <a:gd name="connsiteY24" fmla="*/ 247 h 901154"/>
                <a:gd name="connsiteX25" fmla="*/ 2441576 w 2441576"/>
                <a:gd name="connsiteY25" fmla="*/ 83691 h 901154"/>
                <a:gd name="connsiteX26" fmla="*/ 2441576 w 2441576"/>
                <a:gd name="connsiteY26" fmla="*/ 152299 h 901154"/>
                <a:gd name="connsiteX27" fmla="*/ 2441576 w 2441576"/>
                <a:gd name="connsiteY27" fmla="*/ 235743 h 901154"/>
                <a:gd name="connsiteX28" fmla="*/ 2441576 w 2441576"/>
                <a:gd name="connsiteY28" fmla="*/ 304351 h 901154"/>
                <a:gd name="connsiteX29" fmla="*/ 2441576 w 2441576"/>
                <a:gd name="connsiteY29" fmla="*/ 387795 h 901154"/>
                <a:gd name="connsiteX30" fmla="*/ 2441576 w 2441576"/>
                <a:gd name="connsiteY30" fmla="*/ 456403 h 901154"/>
                <a:gd name="connsiteX31" fmla="*/ 2441576 w 2441576"/>
                <a:gd name="connsiteY31" fmla="*/ 539847 h 901154"/>
                <a:gd name="connsiteX32" fmla="*/ 2441576 w 2441576"/>
                <a:gd name="connsiteY32" fmla="*/ 608455 h 901154"/>
                <a:gd name="connsiteX33" fmla="*/ 2441576 w 2441576"/>
                <a:gd name="connsiteY33" fmla="*/ 691899 h 901154"/>
                <a:gd name="connsiteX34" fmla="*/ 2441576 w 2441576"/>
                <a:gd name="connsiteY34" fmla="*/ 760507 h 901154"/>
                <a:gd name="connsiteX35" fmla="*/ 2441576 w 2441576"/>
                <a:gd name="connsiteY35" fmla="*/ 832545 h 901154"/>
                <a:gd name="connsiteX36" fmla="*/ 2441576 w 2441576"/>
                <a:gd name="connsiteY36" fmla="*/ 901153 h 901154"/>
                <a:gd name="connsiteX37" fmla="*/ 2321561 w 2441576"/>
                <a:gd name="connsiteY37" fmla="*/ 901153 h 901154"/>
                <a:gd name="connsiteX38" fmla="*/ 2239646 w 2441576"/>
                <a:gd name="connsiteY38" fmla="*/ 901153 h 901154"/>
                <a:gd name="connsiteX39" fmla="*/ 2176781 w 2441576"/>
                <a:gd name="connsiteY39" fmla="*/ 901153 h 901154"/>
                <a:gd name="connsiteX40" fmla="*/ 2109259 w 2441576"/>
                <a:gd name="connsiteY40" fmla="*/ 901153 h 901154"/>
                <a:gd name="connsiteX41" fmla="*/ 1941949 w 2441576"/>
                <a:gd name="connsiteY41" fmla="*/ 901153 h 901154"/>
                <a:gd name="connsiteX42" fmla="*/ 1824412 w 2441576"/>
                <a:gd name="connsiteY42" fmla="*/ 901153 h 901154"/>
                <a:gd name="connsiteX43" fmla="*/ 1720844 w 2441576"/>
                <a:gd name="connsiteY43" fmla="*/ 901153 h 901154"/>
                <a:gd name="connsiteX44" fmla="*/ 1609632 w 2441576"/>
                <a:gd name="connsiteY44" fmla="*/ 901153 h 901154"/>
                <a:gd name="connsiteX45" fmla="*/ 1539566 w 2441576"/>
                <a:gd name="connsiteY45" fmla="*/ 901153 h 901154"/>
                <a:gd name="connsiteX46" fmla="*/ 1427685 w 2441576"/>
                <a:gd name="connsiteY46" fmla="*/ 901153 h 901154"/>
                <a:gd name="connsiteX47" fmla="*/ 1324785 w 2441576"/>
                <a:gd name="connsiteY47" fmla="*/ 901153 h 901154"/>
                <a:gd name="connsiteX48" fmla="*/ 1254721 w 2441576"/>
                <a:gd name="connsiteY48" fmla="*/ 901153 h 901154"/>
                <a:gd name="connsiteX49" fmla="*/ 1146253 w 2441576"/>
                <a:gd name="connsiteY49" fmla="*/ 901153 h 901154"/>
                <a:gd name="connsiteX50" fmla="*/ 1039939 w 2441576"/>
                <a:gd name="connsiteY50" fmla="*/ 901153 h 901154"/>
                <a:gd name="connsiteX51" fmla="*/ 969874 w 2441576"/>
                <a:gd name="connsiteY51" fmla="*/ 901153 h 901154"/>
                <a:gd name="connsiteX52" fmla="*/ 864820 w 2441576"/>
                <a:gd name="connsiteY52" fmla="*/ 901154 h 901154"/>
                <a:gd name="connsiteX53" fmla="*/ 755093 w 2441576"/>
                <a:gd name="connsiteY53" fmla="*/ 901153 h 901154"/>
                <a:gd name="connsiteX54" fmla="*/ 685028 w 2441576"/>
                <a:gd name="connsiteY54" fmla="*/ 901153 h 901154"/>
                <a:gd name="connsiteX55" fmla="*/ 581332 w 2441576"/>
                <a:gd name="connsiteY55" fmla="*/ 901153 h 901154"/>
                <a:gd name="connsiteX56" fmla="*/ 471351 w 2441576"/>
                <a:gd name="connsiteY56" fmla="*/ 901153 h 901154"/>
                <a:gd name="connsiteX57" fmla="*/ 470246 w 2441576"/>
                <a:gd name="connsiteY57" fmla="*/ 901153 h 901154"/>
                <a:gd name="connsiteX58" fmla="*/ 377080 w 2441576"/>
                <a:gd name="connsiteY58" fmla="*/ 901153 h 901154"/>
                <a:gd name="connsiteX59" fmla="*/ 282811 w 2441576"/>
                <a:gd name="connsiteY59" fmla="*/ 901153 h 901154"/>
                <a:gd name="connsiteX60" fmla="*/ 188541 w 2441576"/>
                <a:gd name="connsiteY60" fmla="*/ 901153 h 901154"/>
                <a:gd name="connsiteX61" fmla="*/ 185400 w 2441576"/>
                <a:gd name="connsiteY61" fmla="*/ 901153 h 901154"/>
                <a:gd name="connsiteX62" fmla="*/ 94270 w 2441576"/>
                <a:gd name="connsiteY62" fmla="*/ 901153 h 901154"/>
                <a:gd name="connsiteX63" fmla="*/ 0 w 2441576"/>
                <a:gd name="connsiteY63" fmla="*/ 901153 h 901154"/>
                <a:gd name="connsiteX64" fmla="*/ 0 w 2441576"/>
                <a:gd name="connsiteY64" fmla="*/ 832545 h 901154"/>
                <a:gd name="connsiteX65" fmla="*/ 0 w 2441576"/>
                <a:gd name="connsiteY65" fmla="*/ 760507 h 901154"/>
                <a:gd name="connsiteX66" fmla="*/ 0 w 2441576"/>
                <a:gd name="connsiteY66" fmla="*/ 691899 h 901154"/>
                <a:gd name="connsiteX67" fmla="*/ 0 w 2441576"/>
                <a:gd name="connsiteY67" fmla="*/ 608455 h 901154"/>
                <a:gd name="connsiteX68" fmla="*/ 0 w 2441576"/>
                <a:gd name="connsiteY68" fmla="*/ 539847 h 901154"/>
                <a:gd name="connsiteX69" fmla="*/ 0 w 2441576"/>
                <a:gd name="connsiteY69" fmla="*/ 456403 h 901154"/>
                <a:gd name="connsiteX70" fmla="*/ 0 w 2441576"/>
                <a:gd name="connsiteY70" fmla="*/ 387795 h 901154"/>
                <a:gd name="connsiteX71" fmla="*/ 0 w 2441576"/>
                <a:gd name="connsiteY71" fmla="*/ 304351 h 901154"/>
                <a:gd name="connsiteX72" fmla="*/ 0 w 2441576"/>
                <a:gd name="connsiteY72" fmla="*/ 235743 h 901154"/>
                <a:gd name="connsiteX73" fmla="*/ 0 w 2441576"/>
                <a:gd name="connsiteY73" fmla="*/ 152299 h 901154"/>
                <a:gd name="connsiteX74" fmla="*/ 0 w 2441576"/>
                <a:gd name="connsiteY74" fmla="*/ 83691 h 901154"/>
                <a:gd name="connsiteX75" fmla="*/ 0 w 2441576"/>
                <a:gd name="connsiteY75" fmla="*/ 247 h 901154"/>
                <a:gd name="connsiteX0" fmla="*/ 0 w 2441576"/>
                <a:gd name="connsiteY0" fmla="*/ 247 h 901154"/>
                <a:gd name="connsiteX1" fmla="*/ 94270 w 2441576"/>
                <a:gd name="connsiteY1" fmla="*/ 247 h 901154"/>
                <a:gd name="connsiteX2" fmla="*/ 185400 w 2441576"/>
                <a:gd name="connsiteY2" fmla="*/ 247 h 901154"/>
                <a:gd name="connsiteX3" fmla="*/ 188541 w 2441576"/>
                <a:gd name="connsiteY3" fmla="*/ 247 h 901154"/>
                <a:gd name="connsiteX4" fmla="*/ 282811 w 2441576"/>
                <a:gd name="connsiteY4" fmla="*/ 247 h 901154"/>
                <a:gd name="connsiteX5" fmla="*/ 377080 w 2441576"/>
                <a:gd name="connsiteY5" fmla="*/ 247 h 901154"/>
                <a:gd name="connsiteX6" fmla="*/ 470246 w 2441576"/>
                <a:gd name="connsiteY6" fmla="*/ 247 h 901154"/>
                <a:gd name="connsiteX7" fmla="*/ 471351 w 2441576"/>
                <a:gd name="connsiteY7" fmla="*/ 247 h 901154"/>
                <a:gd name="connsiteX8" fmla="*/ 581332 w 2441576"/>
                <a:gd name="connsiteY8" fmla="*/ 247 h 901154"/>
                <a:gd name="connsiteX9" fmla="*/ 685028 w 2441576"/>
                <a:gd name="connsiteY9" fmla="*/ 247 h 901154"/>
                <a:gd name="connsiteX10" fmla="*/ 755093 w 2441576"/>
                <a:gd name="connsiteY10" fmla="*/ 247 h 901154"/>
                <a:gd name="connsiteX11" fmla="*/ 969874 w 2441576"/>
                <a:gd name="connsiteY11" fmla="*/ 247 h 901154"/>
                <a:gd name="connsiteX12" fmla="*/ 1039939 w 2441576"/>
                <a:gd name="connsiteY12" fmla="*/ 247 h 901154"/>
                <a:gd name="connsiteX13" fmla="*/ 1254721 w 2441576"/>
                <a:gd name="connsiteY13" fmla="*/ 247 h 901154"/>
                <a:gd name="connsiteX14" fmla="*/ 1324785 w 2441576"/>
                <a:gd name="connsiteY14" fmla="*/ 247 h 901154"/>
                <a:gd name="connsiteX15" fmla="*/ 1430031 w 2441576"/>
                <a:gd name="connsiteY15" fmla="*/ 0 h 901154"/>
                <a:gd name="connsiteX16" fmla="*/ 1539566 w 2441576"/>
                <a:gd name="connsiteY16" fmla="*/ 247 h 901154"/>
                <a:gd name="connsiteX17" fmla="*/ 1609632 w 2441576"/>
                <a:gd name="connsiteY17" fmla="*/ 247 h 901154"/>
                <a:gd name="connsiteX18" fmla="*/ 1824412 w 2441576"/>
                <a:gd name="connsiteY18" fmla="*/ 247 h 901154"/>
                <a:gd name="connsiteX19" fmla="*/ 1941949 w 2441576"/>
                <a:gd name="connsiteY19" fmla="*/ 247 h 901154"/>
                <a:gd name="connsiteX20" fmla="*/ 2094866 w 2441576"/>
                <a:gd name="connsiteY20" fmla="*/ 247 h 901154"/>
                <a:gd name="connsiteX21" fmla="*/ 2176781 w 2441576"/>
                <a:gd name="connsiteY21" fmla="*/ 247 h 901154"/>
                <a:gd name="connsiteX22" fmla="*/ 2258696 w 2441576"/>
                <a:gd name="connsiteY22" fmla="*/ 247 h 901154"/>
                <a:gd name="connsiteX23" fmla="*/ 2321561 w 2441576"/>
                <a:gd name="connsiteY23" fmla="*/ 247 h 901154"/>
                <a:gd name="connsiteX24" fmla="*/ 2441576 w 2441576"/>
                <a:gd name="connsiteY24" fmla="*/ 247 h 901154"/>
                <a:gd name="connsiteX25" fmla="*/ 2441576 w 2441576"/>
                <a:gd name="connsiteY25" fmla="*/ 83691 h 901154"/>
                <a:gd name="connsiteX26" fmla="*/ 2441576 w 2441576"/>
                <a:gd name="connsiteY26" fmla="*/ 152299 h 901154"/>
                <a:gd name="connsiteX27" fmla="*/ 2441576 w 2441576"/>
                <a:gd name="connsiteY27" fmla="*/ 235743 h 901154"/>
                <a:gd name="connsiteX28" fmla="*/ 2441576 w 2441576"/>
                <a:gd name="connsiteY28" fmla="*/ 304351 h 901154"/>
                <a:gd name="connsiteX29" fmla="*/ 2441576 w 2441576"/>
                <a:gd name="connsiteY29" fmla="*/ 387795 h 901154"/>
                <a:gd name="connsiteX30" fmla="*/ 2441576 w 2441576"/>
                <a:gd name="connsiteY30" fmla="*/ 456403 h 901154"/>
                <a:gd name="connsiteX31" fmla="*/ 2441576 w 2441576"/>
                <a:gd name="connsiteY31" fmla="*/ 539847 h 901154"/>
                <a:gd name="connsiteX32" fmla="*/ 2441576 w 2441576"/>
                <a:gd name="connsiteY32" fmla="*/ 608455 h 901154"/>
                <a:gd name="connsiteX33" fmla="*/ 2441576 w 2441576"/>
                <a:gd name="connsiteY33" fmla="*/ 691899 h 901154"/>
                <a:gd name="connsiteX34" fmla="*/ 2441576 w 2441576"/>
                <a:gd name="connsiteY34" fmla="*/ 760507 h 901154"/>
                <a:gd name="connsiteX35" fmla="*/ 2441576 w 2441576"/>
                <a:gd name="connsiteY35" fmla="*/ 832545 h 901154"/>
                <a:gd name="connsiteX36" fmla="*/ 2441576 w 2441576"/>
                <a:gd name="connsiteY36" fmla="*/ 901153 h 901154"/>
                <a:gd name="connsiteX37" fmla="*/ 2321561 w 2441576"/>
                <a:gd name="connsiteY37" fmla="*/ 901153 h 901154"/>
                <a:gd name="connsiteX38" fmla="*/ 2239646 w 2441576"/>
                <a:gd name="connsiteY38" fmla="*/ 901153 h 901154"/>
                <a:gd name="connsiteX39" fmla="*/ 2176781 w 2441576"/>
                <a:gd name="connsiteY39" fmla="*/ 901153 h 901154"/>
                <a:gd name="connsiteX40" fmla="*/ 2109259 w 2441576"/>
                <a:gd name="connsiteY40" fmla="*/ 901153 h 901154"/>
                <a:gd name="connsiteX41" fmla="*/ 2025730 w 2441576"/>
                <a:gd name="connsiteY41" fmla="*/ 901153 h 901154"/>
                <a:gd name="connsiteX42" fmla="*/ 1941949 w 2441576"/>
                <a:gd name="connsiteY42" fmla="*/ 901153 h 901154"/>
                <a:gd name="connsiteX43" fmla="*/ 1824412 w 2441576"/>
                <a:gd name="connsiteY43" fmla="*/ 901153 h 901154"/>
                <a:gd name="connsiteX44" fmla="*/ 1720844 w 2441576"/>
                <a:gd name="connsiteY44" fmla="*/ 901153 h 901154"/>
                <a:gd name="connsiteX45" fmla="*/ 1609632 w 2441576"/>
                <a:gd name="connsiteY45" fmla="*/ 901153 h 901154"/>
                <a:gd name="connsiteX46" fmla="*/ 1539566 w 2441576"/>
                <a:gd name="connsiteY46" fmla="*/ 901153 h 901154"/>
                <a:gd name="connsiteX47" fmla="*/ 1427685 w 2441576"/>
                <a:gd name="connsiteY47" fmla="*/ 901153 h 901154"/>
                <a:gd name="connsiteX48" fmla="*/ 1324785 w 2441576"/>
                <a:gd name="connsiteY48" fmla="*/ 901153 h 901154"/>
                <a:gd name="connsiteX49" fmla="*/ 1254721 w 2441576"/>
                <a:gd name="connsiteY49" fmla="*/ 901153 h 901154"/>
                <a:gd name="connsiteX50" fmla="*/ 1146253 w 2441576"/>
                <a:gd name="connsiteY50" fmla="*/ 901153 h 901154"/>
                <a:gd name="connsiteX51" fmla="*/ 1039939 w 2441576"/>
                <a:gd name="connsiteY51" fmla="*/ 901153 h 901154"/>
                <a:gd name="connsiteX52" fmla="*/ 969874 w 2441576"/>
                <a:gd name="connsiteY52" fmla="*/ 901153 h 901154"/>
                <a:gd name="connsiteX53" fmla="*/ 864820 w 2441576"/>
                <a:gd name="connsiteY53" fmla="*/ 901154 h 901154"/>
                <a:gd name="connsiteX54" fmla="*/ 755093 w 2441576"/>
                <a:gd name="connsiteY54" fmla="*/ 901153 h 901154"/>
                <a:gd name="connsiteX55" fmla="*/ 685028 w 2441576"/>
                <a:gd name="connsiteY55" fmla="*/ 901153 h 901154"/>
                <a:gd name="connsiteX56" fmla="*/ 581332 w 2441576"/>
                <a:gd name="connsiteY56" fmla="*/ 901153 h 901154"/>
                <a:gd name="connsiteX57" fmla="*/ 471351 w 2441576"/>
                <a:gd name="connsiteY57" fmla="*/ 901153 h 901154"/>
                <a:gd name="connsiteX58" fmla="*/ 470246 w 2441576"/>
                <a:gd name="connsiteY58" fmla="*/ 901153 h 901154"/>
                <a:gd name="connsiteX59" fmla="*/ 377080 w 2441576"/>
                <a:gd name="connsiteY59" fmla="*/ 901153 h 901154"/>
                <a:gd name="connsiteX60" fmla="*/ 282811 w 2441576"/>
                <a:gd name="connsiteY60" fmla="*/ 901153 h 901154"/>
                <a:gd name="connsiteX61" fmla="*/ 188541 w 2441576"/>
                <a:gd name="connsiteY61" fmla="*/ 901153 h 901154"/>
                <a:gd name="connsiteX62" fmla="*/ 185400 w 2441576"/>
                <a:gd name="connsiteY62" fmla="*/ 901153 h 901154"/>
                <a:gd name="connsiteX63" fmla="*/ 94270 w 2441576"/>
                <a:gd name="connsiteY63" fmla="*/ 901153 h 901154"/>
                <a:gd name="connsiteX64" fmla="*/ 0 w 2441576"/>
                <a:gd name="connsiteY64" fmla="*/ 901153 h 901154"/>
                <a:gd name="connsiteX65" fmla="*/ 0 w 2441576"/>
                <a:gd name="connsiteY65" fmla="*/ 832545 h 901154"/>
                <a:gd name="connsiteX66" fmla="*/ 0 w 2441576"/>
                <a:gd name="connsiteY66" fmla="*/ 760507 h 901154"/>
                <a:gd name="connsiteX67" fmla="*/ 0 w 2441576"/>
                <a:gd name="connsiteY67" fmla="*/ 691899 h 901154"/>
                <a:gd name="connsiteX68" fmla="*/ 0 w 2441576"/>
                <a:gd name="connsiteY68" fmla="*/ 608455 h 901154"/>
                <a:gd name="connsiteX69" fmla="*/ 0 w 2441576"/>
                <a:gd name="connsiteY69" fmla="*/ 539847 h 901154"/>
                <a:gd name="connsiteX70" fmla="*/ 0 w 2441576"/>
                <a:gd name="connsiteY70" fmla="*/ 456403 h 901154"/>
                <a:gd name="connsiteX71" fmla="*/ 0 w 2441576"/>
                <a:gd name="connsiteY71" fmla="*/ 387795 h 901154"/>
                <a:gd name="connsiteX72" fmla="*/ 0 w 2441576"/>
                <a:gd name="connsiteY72" fmla="*/ 304351 h 901154"/>
                <a:gd name="connsiteX73" fmla="*/ 0 w 2441576"/>
                <a:gd name="connsiteY73" fmla="*/ 235743 h 901154"/>
                <a:gd name="connsiteX74" fmla="*/ 0 w 2441576"/>
                <a:gd name="connsiteY74" fmla="*/ 152299 h 901154"/>
                <a:gd name="connsiteX75" fmla="*/ 0 w 2441576"/>
                <a:gd name="connsiteY75" fmla="*/ 83691 h 901154"/>
                <a:gd name="connsiteX76" fmla="*/ 0 w 2441576"/>
                <a:gd name="connsiteY76" fmla="*/ 247 h 901154"/>
                <a:gd name="connsiteX0" fmla="*/ 0 w 2441576"/>
                <a:gd name="connsiteY0" fmla="*/ 247 h 901154"/>
                <a:gd name="connsiteX1" fmla="*/ 94270 w 2441576"/>
                <a:gd name="connsiteY1" fmla="*/ 247 h 901154"/>
                <a:gd name="connsiteX2" fmla="*/ 185400 w 2441576"/>
                <a:gd name="connsiteY2" fmla="*/ 247 h 901154"/>
                <a:gd name="connsiteX3" fmla="*/ 188541 w 2441576"/>
                <a:gd name="connsiteY3" fmla="*/ 247 h 901154"/>
                <a:gd name="connsiteX4" fmla="*/ 282811 w 2441576"/>
                <a:gd name="connsiteY4" fmla="*/ 247 h 901154"/>
                <a:gd name="connsiteX5" fmla="*/ 377080 w 2441576"/>
                <a:gd name="connsiteY5" fmla="*/ 247 h 901154"/>
                <a:gd name="connsiteX6" fmla="*/ 470246 w 2441576"/>
                <a:gd name="connsiteY6" fmla="*/ 247 h 901154"/>
                <a:gd name="connsiteX7" fmla="*/ 471351 w 2441576"/>
                <a:gd name="connsiteY7" fmla="*/ 247 h 901154"/>
                <a:gd name="connsiteX8" fmla="*/ 581332 w 2441576"/>
                <a:gd name="connsiteY8" fmla="*/ 247 h 901154"/>
                <a:gd name="connsiteX9" fmla="*/ 685028 w 2441576"/>
                <a:gd name="connsiteY9" fmla="*/ 247 h 901154"/>
                <a:gd name="connsiteX10" fmla="*/ 755093 w 2441576"/>
                <a:gd name="connsiteY10" fmla="*/ 247 h 901154"/>
                <a:gd name="connsiteX11" fmla="*/ 969874 w 2441576"/>
                <a:gd name="connsiteY11" fmla="*/ 247 h 901154"/>
                <a:gd name="connsiteX12" fmla="*/ 1039939 w 2441576"/>
                <a:gd name="connsiteY12" fmla="*/ 247 h 901154"/>
                <a:gd name="connsiteX13" fmla="*/ 1254721 w 2441576"/>
                <a:gd name="connsiteY13" fmla="*/ 247 h 901154"/>
                <a:gd name="connsiteX14" fmla="*/ 1324785 w 2441576"/>
                <a:gd name="connsiteY14" fmla="*/ 247 h 901154"/>
                <a:gd name="connsiteX15" fmla="*/ 1430031 w 2441576"/>
                <a:gd name="connsiteY15" fmla="*/ 0 h 901154"/>
                <a:gd name="connsiteX16" fmla="*/ 1539566 w 2441576"/>
                <a:gd name="connsiteY16" fmla="*/ 247 h 901154"/>
                <a:gd name="connsiteX17" fmla="*/ 1609632 w 2441576"/>
                <a:gd name="connsiteY17" fmla="*/ 247 h 901154"/>
                <a:gd name="connsiteX18" fmla="*/ 1707946 w 2441576"/>
                <a:gd name="connsiteY18" fmla="*/ 1 h 901154"/>
                <a:gd name="connsiteX19" fmla="*/ 1824412 w 2441576"/>
                <a:gd name="connsiteY19" fmla="*/ 247 h 901154"/>
                <a:gd name="connsiteX20" fmla="*/ 1941949 w 2441576"/>
                <a:gd name="connsiteY20" fmla="*/ 247 h 901154"/>
                <a:gd name="connsiteX21" fmla="*/ 2094866 w 2441576"/>
                <a:gd name="connsiteY21" fmla="*/ 247 h 901154"/>
                <a:gd name="connsiteX22" fmla="*/ 2176781 w 2441576"/>
                <a:gd name="connsiteY22" fmla="*/ 247 h 901154"/>
                <a:gd name="connsiteX23" fmla="*/ 2258696 w 2441576"/>
                <a:gd name="connsiteY23" fmla="*/ 247 h 901154"/>
                <a:gd name="connsiteX24" fmla="*/ 2321561 w 2441576"/>
                <a:gd name="connsiteY24" fmla="*/ 247 h 901154"/>
                <a:gd name="connsiteX25" fmla="*/ 2441576 w 2441576"/>
                <a:gd name="connsiteY25" fmla="*/ 247 h 901154"/>
                <a:gd name="connsiteX26" fmla="*/ 2441576 w 2441576"/>
                <a:gd name="connsiteY26" fmla="*/ 83691 h 901154"/>
                <a:gd name="connsiteX27" fmla="*/ 2441576 w 2441576"/>
                <a:gd name="connsiteY27" fmla="*/ 152299 h 901154"/>
                <a:gd name="connsiteX28" fmla="*/ 2441576 w 2441576"/>
                <a:gd name="connsiteY28" fmla="*/ 235743 h 901154"/>
                <a:gd name="connsiteX29" fmla="*/ 2441576 w 2441576"/>
                <a:gd name="connsiteY29" fmla="*/ 304351 h 901154"/>
                <a:gd name="connsiteX30" fmla="*/ 2441576 w 2441576"/>
                <a:gd name="connsiteY30" fmla="*/ 387795 h 901154"/>
                <a:gd name="connsiteX31" fmla="*/ 2441576 w 2441576"/>
                <a:gd name="connsiteY31" fmla="*/ 456403 h 901154"/>
                <a:gd name="connsiteX32" fmla="*/ 2441576 w 2441576"/>
                <a:gd name="connsiteY32" fmla="*/ 539847 h 901154"/>
                <a:gd name="connsiteX33" fmla="*/ 2441576 w 2441576"/>
                <a:gd name="connsiteY33" fmla="*/ 608455 h 901154"/>
                <a:gd name="connsiteX34" fmla="*/ 2441576 w 2441576"/>
                <a:gd name="connsiteY34" fmla="*/ 691899 h 901154"/>
                <a:gd name="connsiteX35" fmla="*/ 2441576 w 2441576"/>
                <a:gd name="connsiteY35" fmla="*/ 760507 h 901154"/>
                <a:gd name="connsiteX36" fmla="*/ 2441576 w 2441576"/>
                <a:gd name="connsiteY36" fmla="*/ 832545 h 901154"/>
                <a:gd name="connsiteX37" fmla="*/ 2441576 w 2441576"/>
                <a:gd name="connsiteY37" fmla="*/ 901153 h 901154"/>
                <a:gd name="connsiteX38" fmla="*/ 2321561 w 2441576"/>
                <a:gd name="connsiteY38" fmla="*/ 901153 h 901154"/>
                <a:gd name="connsiteX39" fmla="*/ 2239646 w 2441576"/>
                <a:gd name="connsiteY39" fmla="*/ 901153 h 901154"/>
                <a:gd name="connsiteX40" fmla="*/ 2176781 w 2441576"/>
                <a:gd name="connsiteY40" fmla="*/ 901153 h 901154"/>
                <a:gd name="connsiteX41" fmla="*/ 2109259 w 2441576"/>
                <a:gd name="connsiteY41" fmla="*/ 901153 h 901154"/>
                <a:gd name="connsiteX42" fmla="*/ 2025730 w 2441576"/>
                <a:gd name="connsiteY42" fmla="*/ 901153 h 901154"/>
                <a:gd name="connsiteX43" fmla="*/ 1941949 w 2441576"/>
                <a:gd name="connsiteY43" fmla="*/ 901153 h 901154"/>
                <a:gd name="connsiteX44" fmla="*/ 1824412 w 2441576"/>
                <a:gd name="connsiteY44" fmla="*/ 901153 h 901154"/>
                <a:gd name="connsiteX45" fmla="*/ 1720844 w 2441576"/>
                <a:gd name="connsiteY45" fmla="*/ 901153 h 901154"/>
                <a:gd name="connsiteX46" fmla="*/ 1609632 w 2441576"/>
                <a:gd name="connsiteY46" fmla="*/ 901153 h 901154"/>
                <a:gd name="connsiteX47" fmla="*/ 1539566 w 2441576"/>
                <a:gd name="connsiteY47" fmla="*/ 901153 h 901154"/>
                <a:gd name="connsiteX48" fmla="*/ 1427685 w 2441576"/>
                <a:gd name="connsiteY48" fmla="*/ 901153 h 901154"/>
                <a:gd name="connsiteX49" fmla="*/ 1324785 w 2441576"/>
                <a:gd name="connsiteY49" fmla="*/ 901153 h 901154"/>
                <a:gd name="connsiteX50" fmla="*/ 1254721 w 2441576"/>
                <a:gd name="connsiteY50" fmla="*/ 901153 h 901154"/>
                <a:gd name="connsiteX51" fmla="*/ 1146253 w 2441576"/>
                <a:gd name="connsiteY51" fmla="*/ 901153 h 901154"/>
                <a:gd name="connsiteX52" fmla="*/ 1039939 w 2441576"/>
                <a:gd name="connsiteY52" fmla="*/ 901153 h 901154"/>
                <a:gd name="connsiteX53" fmla="*/ 969874 w 2441576"/>
                <a:gd name="connsiteY53" fmla="*/ 901153 h 901154"/>
                <a:gd name="connsiteX54" fmla="*/ 864820 w 2441576"/>
                <a:gd name="connsiteY54" fmla="*/ 901154 h 901154"/>
                <a:gd name="connsiteX55" fmla="*/ 755093 w 2441576"/>
                <a:gd name="connsiteY55" fmla="*/ 901153 h 901154"/>
                <a:gd name="connsiteX56" fmla="*/ 685028 w 2441576"/>
                <a:gd name="connsiteY56" fmla="*/ 901153 h 901154"/>
                <a:gd name="connsiteX57" fmla="*/ 581332 w 2441576"/>
                <a:gd name="connsiteY57" fmla="*/ 901153 h 901154"/>
                <a:gd name="connsiteX58" fmla="*/ 471351 w 2441576"/>
                <a:gd name="connsiteY58" fmla="*/ 901153 h 901154"/>
                <a:gd name="connsiteX59" fmla="*/ 470246 w 2441576"/>
                <a:gd name="connsiteY59" fmla="*/ 901153 h 901154"/>
                <a:gd name="connsiteX60" fmla="*/ 377080 w 2441576"/>
                <a:gd name="connsiteY60" fmla="*/ 901153 h 901154"/>
                <a:gd name="connsiteX61" fmla="*/ 282811 w 2441576"/>
                <a:gd name="connsiteY61" fmla="*/ 901153 h 901154"/>
                <a:gd name="connsiteX62" fmla="*/ 188541 w 2441576"/>
                <a:gd name="connsiteY62" fmla="*/ 901153 h 901154"/>
                <a:gd name="connsiteX63" fmla="*/ 185400 w 2441576"/>
                <a:gd name="connsiteY63" fmla="*/ 901153 h 901154"/>
                <a:gd name="connsiteX64" fmla="*/ 94270 w 2441576"/>
                <a:gd name="connsiteY64" fmla="*/ 901153 h 901154"/>
                <a:gd name="connsiteX65" fmla="*/ 0 w 2441576"/>
                <a:gd name="connsiteY65" fmla="*/ 901153 h 901154"/>
                <a:gd name="connsiteX66" fmla="*/ 0 w 2441576"/>
                <a:gd name="connsiteY66" fmla="*/ 832545 h 901154"/>
                <a:gd name="connsiteX67" fmla="*/ 0 w 2441576"/>
                <a:gd name="connsiteY67" fmla="*/ 760507 h 901154"/>
                <a:gd name="connsiteX68" fmla="*/ 0 w 2441576"/>
                <a:gd name="connsiteY68" fmla="*/ 691899 h 901154"/>
                <a:gd name="connsiteX69" fmla="*/ 0 w 2441576"/>
                <a:gd name="connsiteY69" fmla="*/ 608455 h 901154"/>
                <a:gd name="connsiteX70" fmla="*/ 0 w 2441576"/>
                <a:gd name="connsiteY70" fmla="*/ 539847 h 901154"/>
                <a:gd name="connsiteX71" fmla="*/ 0 w 2441576"/>
                <a:gd name="connsiteY71" fmla="*/ 456403 h 901154"/>
                <a:gd name="connsiteX72" fmla="*/ 0 w 2441576"/>
                <a:gd name="connsiteY72" fmla="*/ 387795 h 901154"/>
                <a:gd name="connsiteX73" fmla="*/ 0 w 2441576"/>
                <a:gd name="connsiteY73" fmla="*/ 304351 h 901154"/>
                <a:gd name="connsiteX74" fmla="*/ 0 w 2441576"/>
                <a:gd name="connsiteY74" fmla="*/ 235743 h 901154"/>
                <a:gd name="connsiteX75" fmla="*/ 0 w 2441576"/>
                <a:gd name="connsiteY75" fmla="*/ 152299 h 901154"/>
                <a:gd name="connsiteX76" fmla="*/ 0 w 2441576"/>
                <a:gd name="connsiteY76" fmla="*/ 83691 h 901154"/>
                <a:gd name="connsiteX77" fmla="*/ 0 w 2441576"/>
                <a:gd name="connsiteY77" fmla="*/ 247 h 901154"/>
                <a:gd name="connsiteX0" fmla="*/ 0 w 2441576"/>
                <a:gd name="connsiteY0" fmla="*/ 247 h 901154"/>
                <a:gd name="connsiteX1" fmla="*/ 94270 w 2441576"/>
                <a:gd name="connsiteY1" fmla="*/ 247 h 901154"/>
                <a:gd name="connsiteX2" fmla="*/ 185400 w 2441576"/>
                <a:gd name="connsiteY2" fmla="*/ 247 h 901154"/>
                <a:gd name="connsiteX3" fmla="*/ 188541 w 2441576"/>
                <a:gd name="connsiteY3" fmla="*/ 247 h 901154"/>
                <a:gd name="connsiteX4" fmla="*/ 282811 w 2441576"/>
                <a:gd name="connsiteY4" fmla="*/ 247 h 901154"/>
                <a:gd name="connsiteX5" fmla="*/ 377080 w 2441576"/>
                <a:gd name="connsiteY5" fmla="*/ 247 h 901154"/>
                <a:gd name="connsiteX6" fmla="*/ 470246 w 2441576"/>
                <a:gd name="connsiteY6" fmla="*/ 247 h 901154"/>
                <a:gd name="connsiteX7" fmla="*/ 471351 w 2441576"/>
                <a:gd name="connsiteY7" fmla="*/ 247 h 901154"/>
                <a:gd name="connsiteX8" fmla="*/ 581332 w 2441576"/>
                <a:gd name="connsiteY8" fmla="*/ 247 h 901154"/>
                <a:gd name="connsiteX9" fmla="*/ 685028 w 2441576"/>
                <a:gd name="connsiteY9" fmla="*/ 247 h 901154"/>
                <a:gd name="connsiteX10" fmla="*/ 755093 w 2441576"/>
                <a:gd name="connsiteY10" fmla="*/ 247 h 901154"/>
                <a:gd name="connsiteX11" fmla="*/ 969874 w 2441576"/>
                <a:gd name="connsiteY11" fmla="*/ 247 h 901154"/>
                <a:gd name="connsiteX12" fmla="*/ 1039939 w 2441576"/>
                <a:gd name="connsiteY12" fmla="*/ 247 h 901154"/>
                <a:gd name="connsiteX13" fmla="*/ 1146839 w 2441576"/>
                <a:gd name="connsiteY13" fmla="*/ 1 h 901154"/>
                <a:gd name="connsiteX14" fmla="*/ 1254721 w 2441576"/>
                <a:gd name="connsiteY14" fmla="*/ 247 h 901154"/>
                <a:gd name="connsiteX15" fmla="*/ 1324785 w 2441576"/>
                <a:gd name="connsiteY15" fmla="*/ 247 h 901154"/>
                <a:gd name="connsiteX16" fmla="*/ 1430031 w 2441576"/>
                <a:gd name="connsiteY16" fmla="*/ 0 h 901154"/>
                <a:gd name="connsiteX17" fmla="*/ 1539566 w 2441576"/>
                <a:gd name="connsiteY17" fmla="*/ 247 h 901154"/>
                <a:gd name="connsiteX18" fmla="*/ 1609632 w 2441576"/>
                <a:gd name="connsiteY18" fmla="*/ 247 h 901154"/>
                <a:gd name="connsiteX19" fmla="*/ 1707946 w 2441576"/>
                <a:gd name="connsiteY19" fmla="*/ 1 h 901154"/>
                <a:gd name="connsiteX20" fmla="*/ 1824412 w 2441576"/>
                <a:gd name="connsiteY20" fmla="*/ 247 h 901154"/>
                <a:gd name="connsiteX21" fmla="*/ 1941949 w 2441576"/>
                <a:gd name="connsiteY21" fmla="*/ 247 h 901154"/>
                <a:gd name="connsiteX22" fmla="*/ 2094866 w 2441576"/>
                <a:gd name="connsiteY22" fmla="*/ 247 h 901154"/>
                <a:gd name="connsiteX23" fmla="*/ 2176781 w 2441576"/>
                <a:gd name="connsiteY23" fmla="*/ 247 h 901154"/>
                <a:gd name="connsiteX24" fmla="*/ 2258696 w 2441576"/>
                <a:gd name="connsiteY24" fmla="*/ 247 h 901154"/>
                <a:gd name="connsiteX25" fmla="*/ 2321561 w 2441576"/>
                <a:gd name="connsiteY25" fmla="*/ 247 h 901154"/>
                <a:gd name="connsiteX26" fmla="*/ 2441576 w 2441576"/>
                <a:gd name="connsiteY26" fmla="*/ 247 h 901154"/>
                <a:gd name="connsiteX27" fmla="*/ 2441576 w 2441576"/>
                <a:gd name="connsiteY27" fmla="*/ 83691 h 901154"/>
                <a:gd name="connsiteX28" fmla="*/ 2441576 w 2441576"/>
                <a:gd name="connsiteY28" fmla="*/ 152299 h 901154"/>
                <a:gd name="connsiteX29" fmla="*/ 2441576 w 2441576"/>
                <a:gd name="connsiteY29" fmla="*/ 235743 h 901154"/>
                <a:gd name="connsiteX30" fmla="*/ 2441576 w 2441576"/>
                <a:gd name="connsiteY30" fmla="*/ 304351 h 901154"/>
                <a:gd name="connsiteX31" fmla="*/ 2441576 w 2441576"/>
                <a:gd name="connsiteY31" fmla="*/ 387795 h 901154"/>
                <a:gd name="connsiteX32" fmla="*/ 2441576 w 2441576"/>
                <a:gd name="connsiteY32" fmla="*/ 456403 h 901154"/>
                <a:gd name="connsiteX33" fmla="*/ 2441576 w 2441576"/>
                <a:gd name="connsiteY33" fmla="*/ 539847 h 901154"/>
                <a:gd name="connsiteX34" fmla="*/ 2441576 w 2441576"/>
                <a:gd name="connsiteY34" fmla="*/ 608455 h 901154"/>
                <a:gd name="connsiteX35" fmla="*/ 2441576 w 2441576"/>
                <a:gd name="connsiteY35" fmla="*/ 691899 h 901154"/>
                <a:gd name="connsiteX36" fmla="*/ 2441576 w 2441576"/>
                <a:gd name="connsiteY36" fmla="*/ 760507 h 901154"/>
                <a:gd name="connsiteX37" fmla="*/ 2441576 w 2441576"/>
                <a:gd name="connsiteY37" fmla="*/ 832545 h 901154"/>
                <a:gd name="connsiteX38" fmla="*/ 2441576 w 2441576"/>
                <a:gd name="connsiteY38" fmla="*/ 901153 h 901154"/>
                <a:gd name="connsiteX39" fmla="*/ 2321561 w 2441576"/>
                <a:gd name="connsiteY39" fmla="*/ 901153 h 901154"/>
                <a:gd name="connsiteX40" fmla="*/ 2239646 w 2441576"/>
                <a:gd name="connsiteY40" fmla="*/ 901153 h 901154"/>
                <a:gd name="connsiteX41" fmla="*/ 2176781 w 2441576"/>
                <a:gd name="connsiteY41" fmla="*/ 901153 h 901154"/>
                <a:gd name="connsiteX42" fmla="*/ 2109259 w 2441576"/>
                <a:gd name="connsiteY42" fmla="*/ 901153 h 901154"/>
                <a:gd name="connsiteX43" fmla="*/ 2025730 w 2441576"/>
                <a:gd name="connsiteY43" fmla="*/ 901153 h 901154"/>
                <a:gd name="connsiteX44" fmla="*/ 1941949 w 2441576"/>
                <a:gd name="connsiteY44" fmla="*/ 901153 h 901154"/>
                <a:gd name="connsiteX45" fmla="*/ 1824412 w 2441576"/>
                <a:gd name="connsiteY45" fmla="*/ 901153 h 901154"/>
                <a:gd name="connsiteX46" fmla="*/ 1720844 w 2441576"/>
                <a:gd name="connsiteY46" fmla="*/ 901153 h 901154"/>
                <a:gd name="connsiteX47" fmla="*/ 1609632 w 2441576"/>
                <a:gd name="connsiteY47" fmla="*/ 901153 h 901154"/>
                <a:gd name="connsiteX48" fmla="*/ 1539566 w 2441576"/>
                <a:gd name="connsiteY48" fmla="*/ 901153 h 901154"/>
                <a:gd name="connsiteX49" fmla="*/ 1427685 w 2441576"/>
                <a:gd name="connsiteY49" fmla="*/ 901153 h 901154"/>
                <a:gd name="connsiteX50" fmla="*/ 1324785 w 2441576"/>
                <a:gd name="connsiteY50" fmla="*/ 901153 h 901154"/>
                <a:gd name="connsiteX51" fmla="*/ 1254721 w 2441576"/>
                <a:gd name="connsiteY51" fmla="*/ 901153 h 901154"/>
                <a:gd name="connsiteX52" fmla="*/ 1146253 w 2441576"/>
                <a:gd name="connsiteY52" fmla="*/ 901153 h 901154"/>
                <a:gd name="connsiteX53" fmla="*/ 1039939 w 2441576"/>
                <a:gd name="connsiteY53" fmla="*/ 901153 h 901154"/>
                <a:gd name="connsiteX54" fmla="*/ 969874 w 2441576"/>
                <a:gd name="connsiteY54" fmla="*/ 901153 h 901154"/>
                <a:gd name="connsiteX55" fmla="*/ 864820 w 2441576"/>
                <a:gd name="connsiteY55" fmla="*/ 901154 h 901154"/>
                <a:gd name="connsiteX56" fmla="*/ 755093 w 2441576"/>
                <a:gd name="connsiteY56" fmla="*/ 901153 h 901154"/>
                <a:gd name="connsiteX57" fmla="*/ 685028 w 2441576"/>
                <a:gd name="connsiteY57" fmla="*/ 901153 h 901154"/>
                <a:gd name="connsiteX58" fmla="*/ 581332 w 2441576"/>
                <a:gd name="connsiteY58" fmla="*/ 901153 h 901154"/>
                <a:gd name="connsiteX59" fmla="*/ 471351 w 2441576"/>
                <a:gd name="connsiteY59" fmla="*/ 901153 h 901154"/>
                <a:gd name="connsiteX60" fmla="*/ 470246 w 2441576"/>
                <a:gd name="connsiteY60" fmla="*/ 901153 h 901154"/>
                <a:gd name="connsiteX61" fmla="*/ 377080 w 2441576"/>
                <a:gd name="connsiteY61" fmla="*/ 901153 h 901154"/>
                <a:gd name="connsiteX62" fmla="*/ 282811 w 2441576"/>
                <a:gd name="connsiteY62" fmla="*/ 901153 h 901154"/>
                <a:gd name="connsiteX63" fmla="*/ 188541 w 2441576"/>
                <a:gd name="connsiteY63" fmla="*/ 901153 h 901154"/>
                <a:gd name="connsiteX64" fmla="*/ 185400 w 2441576"/>
                <a:gd name="connsiteY64" fmla="*/ 901153 h 901154"/>
                <a:gd name="connsiteX65" fmla="*/ 94270 w 2441576"/>
                <a:gd name="connsiteY65" fmla="*/ 901153 h 901154"/>
                <a:gd name="connsiteX66" fmla="*/ 0 w 2441576"/>
                <a:gd name="connsiteY66" fmla="*/ 901153 h 901154"/>
                <a:gd name="connsiteX67" fmla="*/ 0 w 2441576"/>
                <a:gd name="connsiteY67" fmla="*/ 832545 h 901154"/>
                <a:gd name="connsiteX68" fmla="*/ 0 w 2441576"/>
                <a:gd name="connsiteY68" fmla="*/ 760507 h 901154"/>
                <a:gd name="connsiteX69" fmla="*/ 0 w 2441576"/>
                <a:gd name="connsiteY69" fmla="*/ 691899 h 901154"/>
                <a:gd name="connsiteX70" fmla="*/ 0 w 2441576"/>
                <a:gd name="connsiteY70" fmla="*/ 608455 h 901154"/>
                <a:gd name="connsiteX71" fmla="*/ 0 w 2441576"/>
                <a:gd name="connsiteY71" fmla="*/ 539847 h 901154"/>
                <a:gd name="connsiteX72" fmla="*/ 0 w 2441576"/>
                <a:gd name="connsiteY72" fmla="*/ 456403 h 901154"/>
                <a:gd name="connsiteX73" fmla="*/ 0 w 2441576"/>
                <a:gd name="connsiteY73" fmla="*/ 387795 h 901154"/>
                <a:gd name="connsiteX74" fmla="*/ 0 w 2441576"/>
                <a:gd name="connsiteY74" fmla="*/ 304351 h 901154"/>
                <a:gd name="connsiteX75" fmla="*/ 0 w 2441576"/>
                <a:gd name="connsiteY75" fmla="*/ 235743 h 901154"/>
                <a:gd name="connsiteX76" fmla="*/ 0 w 2441576"/>
                <a:gd name="connsiteY76" fmla="*/ 152299 h 901154"/>
                <a:gd name="connsiteX77" fmla="*/ 0 w 2441576"/>
                <a:gd name="connsiteY77" fmla="*/ 83691 h 901154"/>
                <a:gd name="connsiteX78" fmla="*/ 0 w 2441576"/>
                <a:gd name="connsiteY78" fmla="*/ 247 h 901154"/>
                <a:gd name="connsiteX0" fmla="*/ 0 w 2441576"/>
                <a:gd name="connsiteY0" fmla="*/ 247 h 901154"/>
                <a:gd name="connsiteX1" fmla="*/ 94270 w 2441576"/>
                <a:gd name="connsiteY1" fmla="*/ 247 h 901154"/>
                <a:gd name="connsiteX2" fmla="*/ 185400 w 2441576"/>
                <a:gd name="connsiteY2" fmla="*/ 247 h 901154"/>
                <a:gd name="connsiteX3" fmla="*/ 188541 w 2441576"/>
                <a:gd name="connsiteY3" fmla="*/ 247 h 901154"/>
                <a:gd name="connsiteX4" fmla="*/ 282811 w 2441576"/>
                <a:gd name="connsiteY4" fmla="*/ 247 h 901154"/>
                <a:gd name="connsiteX5" fmla="*/ 377080 w 2441576"/>
                <a:gd name="connsiteY5" fmla="*/ 247 h 901154"/>
                <a:gd name="connsiteX6" fmla="*/ 470246 w 2441576"/>
                <a:gd name="connsiteY6" fmla="*/ 247 h 901154"/>
                <a:gd name="connsiteX7" fmla="*/ 471351 w 2441576"/>
                <a:gd name="connsiteY7" fmla="*/ 247 h 901154"/>
                <a:gd name="connsiteX8" fmla="*/ 581332 w 2441576"/>
                <a:gd name="connsiteY8" fmla="*/ 247 h 901154"/>
                <a:gd name="connsiteX9" fmla="*/ 685028 w 2441576"/>
                <a:gd name="connsiteY9" fmla="*/ 247 h 901154"/>
                <a:gd name="connsiteX10" fmla="*/ 755093 w 2441576"/>
                <a:gd name="connsiteY10" fmla="*/ 247 h 901154"/>
                <a:gd name="connsiteX11" fmla="*/ 860129 w 2441576"/>
                <a:gd name="connsiteY11" fmla="*/ 1 h 901154"/>
                <a:gd name="connsiteX12" fmla="*/ 969874 w 2441576"/>
                <a:gd name="connsiteY12" fmla="*/ 247 h 901154"/>
                <a:gd name="connsiteX13" fmla="*/ 1039939 w 2441576"/>
                <a:gd name="connsiteY13" fmla="*/ 247 h 901154"/>
                <a:gd name="connsiteX14" fmla="*/ 1146839 w 2441576"/>
                <a:gd name="connsiteY14" fmla="*/ 1 h 901154"/>
                <a:gd name="connsiteX15" fmla="*/ 1254721 w 2441576"/>
                <a:gd name="connsiteY15" fmla="*/ 247 h 901154"/>
                <a:gd name="connsiteX16" fmla="*/ 1324785 w 2441576"/>
                <a:gd name="connsiteY16" fmla="*/ 247 h 901154"/>
                <a:gd name="connsiteX17" fmla="*/ 1430031 w 2441576"/>
                <a:gd name="connsiteY17" fmla="*/ 0 h 901154"/>
                <a:gd name="connsiteX18" fmla="*/ 1539566 w 2441576"/>
                <a:gd name="connsiteY18" fmla="*/ 247 h 901154"/>
                <a:gd name="connsiteX19" fmla="*/ 1609632 w 2441576"/>
                <a:gd name="connsiteY19" fmla="*/ 247 h 901154"/>
                <a:gd name="connsiteX20" fmla="*/ 1707946 w 2441576"/>
                <a:gd name="connsiteY20" fmla="*/ 1 h 901154"/>
                <a:gd name="connsiteX21" fmla="*/ 1824412 w 2441576"/>
                <a:gd name="connsiteY21" fmla="*/ 247 h 901154"/>
                <a:gd name="connsiteX22" fmla="*/ 1941949 w 2441576"/>
                <a:gd name="connsiteY22" fmla="*/ 247 h 901154"/>
                <a:gd name="connsiteX23" fmla="*/ 2094866 w 2441576"/>
                <a:gd name="connsiteY23" fmla="*/ 247 h 901154"/>
                <a:gd name="connsiteX24" fmla="*/ 2176781 w 2441576"/>
                <a:gd name="connsiteY24" fmla="*/ 247 h 901154"/>
                <a:gd name="connsiteX25" fmla="*/ 2258696 w 2441576"/>
                <a:gd name="connsiteY25" fmla="*/ 247 h 901154"/>
                <a:gd name="connsiteX26" fmla="*/ 2321561 w 2441576"/>
                <a:gd name="connsiteY26" fmla="*/ 247 h 901154"/>
                <a:gd name="connsiteX27" fmla="*/ 2441576 w 2441576"/>
                <a:gd name="connsiteY27" fmla="*/ 247 h 901154"/>
                <a:gd name="connsiteX28" fmla="*/ 2441576 w 2441576"/>
                <a:gd name="connsiteY28" fmla="*/ 83691 h 901154"/>
                <a:gd name="connsiteX29" fmla="*/ 2441576 w 2441576"/>
                <a:gd name="connsiteY29" fmla="*/ 152299 h 901154"/>
                <a:gd name="connsiteX30" fmla="*/ 2441576 w 2441576"/>
                <a:gd name="connsiteY30" fmla="*/ 235743 h 901154"/>
                <a:gd name="connsiteX31" fmla="*/ 2441576 w 2441576"/>
                <a:gd name="connsiteY31" fmla="*/ 304351 h 901154"/>
                <a:gd name="connsiteX32" fmla="*/ 2441576 w 2441576"/>
                <a:gd name="connsiteY32" fmla="*/ 387795 h 901154"/>
                <a:gd name="connsiteX33" fmla="*/ 2441576 w 2441576"/>
                <a:gd name="connsiteY33" fmla="*/ 456403 h 901154"/>
                <a:gd name="connsiteX34" fmla="*/ 2441576 w 2441576"/>
                <a:gd name="connsiteY34" fmla="*/ 539847 h 901154"/>
                <a:gd name="connsiteX35" fmla="*/ 2441576 w 2441576"/>
                <a:gd name="connsiteY35" fmla="*/ 608455 h 901154"/>
                <a:gd name="connsiteX36" fmla="*/ 2441576 w 2441576"/>
                <a:gd name="connsiteY36" fmla="*/ 691899 h 901154"/>
                <a:gd name="connsiteX37" fmla="*/ 2441576 w 2441576"/>
                <a:gd name="connsiteY37" fmla="*/ 760507 h 901154"/>
                <a:gd name="connsiteX38" fmla="*/ 2441576 w 2441576"/>
                <a:gd name="connsiteY38" fmla="*/ 832545 h 901154"/>
                <a:gd name="connsiteX39" fmla="*/ 2441576 w 2441576"/>
                <a:gd name="connsiteY39" fmla="*/ 901153 h 901154"/>
                <a:gd name="connsiteX40" fmla="*/ 2321561 w 2441576"/>
                <a:gd name="connsiteY40" fmla="*/ 901153 h 901154"/>
                <a:gd name="connsiteX41" fmla="*/ 2239646 w 2441576"/>
                <a:gd name="connsiteY41" fmla="*/ 901153 h 901154"/>
                <a:gd name="connsiteX42" fmla="*/ 2176781 w 2441576"/>
                <a:gd name="connsiteY42" fmla="*/ 901153 h 901154"/>
                <a:gd name="connsiteX43" fmla="*/ 2109259 w 2441576"/>
                <a:gd name="connsiteY43" fmla="*/ 901153 h 901154"/>
                <a:gd name="connsiteX44" fmla="*/ 2025730 w 2441576"/>
                <a:gd name="connsiteY44" fmla="*/ 901153 h 901154"/>
                <a:gd name="connsiteX45" fmla="*/ 1941949 w 2441576"/>
                <a:gd name="connsiteY45" fmla="*/ 901153 h 901154"/>
                <a:gd name="connsiteX46" fmla="*/ 1824412 w 2441576"/>
                <a:gd name="connsiteY46" fmla="*/ 901153 h 901154"/>
                <a:gd name="connsiteX47" fmla="*/ 1720844 w 2441576"/>
                <a:gd name="connsiteY47" fmla="*/ 901153 h 901154"/>
                <a:gd name="connsiteX48" fmla="*/ 1609632 w 2441576"/>
                <a:gd name="connsiteY48" fmla="*/ 901153 h 901154"/>
                <a:gd name="connsiteX49" fmla="*/ 1539566 w 2441576"/>
                <a:gd name="connsiteY49" fmla="*/ 901153 h 901154"/>
                <a:gd name="connsiteX50" fmla="*/ 1427685 w 2441576"/>
                <a:gd name="connsiteY50" fmla="*/ 901153 h 901154"/>
                <a:gd name="connsiteX51" fmla="*/ 1324785 w 2441576"/>
                <a:gd name="connsiteY51" fmla="*/ 901153 h 901154"/>
                <a:gd name="connsiteX52" fmla="*/ 1254721 w 2441576"/>
                <a:gd name="connsiteY52" fmla="*/ 901153 h 901154"/>
                <a:gd name="connsiteX53" fmla="*/ 1146253 w 2441576"/>
                <a:gd name="connsiteY53" fmla="*/ 901153 h 901154"/>
                <a:gd name="connsiteX54" fmla="*/ 1039939 w 2441576"/>
                <a:gd name="connsiteY54" fmla="*/ 901153 h 901154"/>
                <a:gd name="connsiteX55" fmla="*/ 969874 w 2441576"/>
                <a:gd name="connsiteY55" fmla="*/ 901153 h 901154"/>
                <a:gd name="connsiteX56" fmla="*/ 864820 w 2441576"/>
                <a:gd name="connsiteY56" fmla="*/ 901154 h 901154"/>
                <a:gd name="connsiteX57" fmla="*/ 755093 w 2441576"/>
                <a:gd name="connsiteY57" fmla="*/ 901153 h 901154"/>
                <a:gd name="connsiteX58" fmla="*/ 685028 w 2441576"/>
                <a:gd name="connsiteY58" fmla="*/ 901153 h 901154"/>
                <a:gd name="connsiteX59" fmla="*/ 581332 w 2441576"/>
                <a:gd name="connsiteY59" fmla="*/ 901153 h 901154"/>
                <a:gd name="connsiteX60" fmla="*/ 471351 w 2441576"/>
                <a:gd name="connsiteY60" fmla="*/ 901153 h 901154"/>
                <a:gd name="connsiteX61" fmla="*/ 470246 w 2441576"/>
                <a:gd name="connsiteY61" fmla="*/ 901153 h 901154"/>
                <a:gd name="connsiteX62" fmla="*/ 377080 w 2441576"/>
                <a:gd name="connsiteY62" fmla="*/ 901153 h 901154"/>
                <a:gd name="connsiteX63" fmla="*/ 282811 w 2441576"/>
                <a:gd name="connsiteY63" fmla="*/ 901153 h 901154"/>
                <a:gd name="connsiteX64" fmla="*/ 188541 w 2441576"/>
                <a:gd name="connsiteY64" fmla="*/ 901153 h 901154"/>
                <a:gd name="connsiteX65" fmla="*/ 185400 w 2441576"/>
                <a:gd name="connsiteY65" fmla="*/ 901153 h 901154"/>
                <a:gd name="connsiteX66" fmla="*/ 94270 w 2441576"/>
                <a:gd name="connsiteY66" fmla="*/ 901153 h 901154"/>
                <a:gd name="connsiteX67" fmla="*/ 0 w 2441576"/>
                <a:gd name="connsiteY67" fmla="*/ 901153 h 901154"/>
                <a:gd name="connsiteX68" fmla="*/ 0 w 2441576"/>
                <a:gd name="connsiteY68" fmla="*/ 832545 h 901154"/>
                <a:gd name="connsiteX69" fmla="*/ 0 w 2441576"/>
                <a:gd name="connsiteY69" fmla="*/ 760507 h 901154"/>
                <a:gd name="connsiteX70" fmla="*/ 0 w 2441576"/>
                <a:gd name="connsiteY70" fmla="*/ 691899 h 901154"/>
                <a:gd name="connsiteX71" fmla="*/ 0 w 2441576"/>
                <a:gd name="connsiteY71" fmla="*/ 608455 h 901154"/>
                <a:gd name="connsiteX72" fmla="*/ 0 w 2441576"/>
                <a:gd name="connsiteY72" fmla="*/ 539847 h 901154"/>
                <a:gd name="connsiteX73" fmla="*/ 0 w 2441576"/>
                <a:gd name="connsiteY73" fmla="*/ 456403 h 901154"/>
                <a:gd name="connsiteX74" fmla="*/ 0 w 2441576"/>
                <a:gd name="connsiteY74" fmla="*/ 387795 h 901154"/>
                <a:gd name="connsiteX75" fmla="*/ 0 w 2441576"/>
                <a:gd name="connsiteY75" fmla="*/ 304351 h 901154"/>
                <a:gd name="connsiteX76" fmla="*/ 0 w 2441576"/>
                <a:gd name="connsiteY76" fmla="*/ 235743 h 901154"/>
                <a:gd name="connsiteX77" fmla="*/ 0 w 2441576"/>
                <a:gd name="connsiteY77" fmla="*/ 152299 h 901154"/>
                <a:gd name="connsiteX78" fmla="*/ 0 w 2441576"/>
                <a:gd name="connsiteY78" fmla="*/ 83691 h 901154"/>
                <a:gd name="connsiteX79" fmla="*/ 0 w 2441576"/>
                <a:gd name="connsiteY79" fmla="*/ 247 h 901154"/>
                <a:gd name="connsiteX0" fmla="*/ 0 w 2441576"/>
                <a:gd name="connsiteY0" fmla="*/ 247 h 901154"/>
                <a:gd name="connsiteX1" fmla="*/ 94270 w 2441576"/>
                <a:gd name="connsiteY1" fmla="*/ 247 h 901154"/>
                <a:gd name="connsiteX2" fmla="*/ 185400 w 2441576"/>
                <a:gd name="connsiteY2" fmla="*/ 247 h 901154"/>
                <a:gd name="connsiteX3" fmla="*/ 188541 w 2441576"/>
                <a:gd name="connsiteY3" fmla="*/ 247 h 901154"/>
                <a:gd name="connsiteX4" fmla="*/ 282811 w 2441576"/>
                <a:gd name="connsiteY4" fmla="*/ 247 h 901154"/>
                <a:gd name="connsiteX5" fmla="*/ 377080 w 2441576"/>
                <a:gd name="connsiteY5" fmla="*/ 247 h 901154"/>
                <a:gd name="connsiteX6" fmla="*/ 470246 w 2441576"/>
                <a:gd name="connsiteY6" fmla="*/ 247 h 901154"/>
                <a:gd name="connsiteX7" fmla="*/ 581332 w 2441576"/>
                <a:gd name="connsiteY7" fmla="*/ 247 h 901154"/>
                <a:gd name="connsiteX8" fmla="*/ 685028 w 2441576"/>
                <a:gd name="connsiteY8" fmla="*/ 247 h 901154"/>
                <a:gd name="connsiteX9" fmla="*/ 755093 w 2441576"/>
                <a:gd name="connsiteY9" fmla="*/ 247 h 901154"/>
                <a:gd name="connsiteX10" fmla="*/ 860129 w 2441576"/>
                <a:gd name="connsiteY10" fmla="*/ 1 h 901154"/>
                <a:gd name="connsiteX11" fmla="*/ 969874 w 2441576"/>
                <a:gd name="connsiteY11" fmla="*/ 247 h 901154"/>
                <a:gd name="connsiteX12" fmla="*/ 1039939 w 2441576"/>
                <a:gd name="connsiteY12" fmla="*/ 247 h 901154"/>
                <a:gd name="connsiteX13" fmla="*/ 1146839 w 2441576"/>
                <a:gd name="connsiteY13" fmla="*/ 1 h 901154"/>
                <a:gd name="connsiteX14" fmla="*/ 1254721 w 2441576"/>
                <a:gd name="connsiteY14" fmla="*/ 247 h 901154"/>
                <a:gd name="connsiteX15" fmla="*/ 1324785 w 2441576"/>
                <a:gd name="connsiteY15" fmla="*/ 247 h 901154"/>
                <a:gd name="connsiteX16" fmla="*/ 1430031 w 2441576"/>
                <a:gd name="connsiteY16" fmla="*/ 0 h 901154"/>
                <a:gd name="connsiteX17" fmla="*/ 1539566 w 2441576"/>
                <a:gd name="connsiteY17" fmla="*/ 247 h 901154"/>
                <a:gd name="connsiteX18" fmla="*/ 1609632 w 2441576"/>
                <a:gd name="connsiteY18" fmla="*/ 247 h 901154"/>
                <a:gd name="connsiteX19" fmla="*/ 1707946 w 2441576"/>
                <a:gd name="connsiteY19" fmla="*/ 1 h 901154"/>
                <a:gd name="connsiteX20" fmla="*/ 1824412 w 2441576"/>
                <a:gd name="connsiteY20" fmla="*/ 247 h 901154"/>
                <a:gd name="connsiteX21" fmla="*/ 1941949 w 2441576"/>
                <a:gd name="connsiteY21" fmla="*/ 247 h 901154"/>
                <a:gd name="connsiteX22" fmla="*/ 2094866 w 2441576"/>
                <a:gd name="connsiteY22" fmla="*/ 247 h 901154"/>
                <a:gd name="connsiteX23" fmla="*/ 2176781 w 2441576"/>
                <a:gd name="connsiteY23" fmla="*/ 247 h 901154"/>
                <a:gd name="connsiteX24" fmla="*/ 2258696 w 2441576"/>
                <a:gd name="connsiteY24" fmla="*/ 247 h 901154"/>
                <a:gd name="connsiteX25" fmla="*/ 2321561 w 2441576"/>
                <a:gd name="connsiteY25" fmla="*/ 247 h 901154"/>
                <a:gd name="connsiteX26" fmla="*/ 2441576 w 2441576"/>
                <a:gd name="connsiteY26" fmla="*/ 247 h 901154"/>
                <a:gd name="connsiteX27" fmla="*/ 2441576 w 2441576"/>
                <a:gd name="connsiteY27" fmla="*/ 83691 h 901154"/>
                <a:gd name="connsiteX28" fmla="*/ 2441576 w 2441576"/>
                <a:gd name="connsiteY28" fmla="*/ 152299 h 901154"/>
                <a:gd name="connsiteX29" fmla="*/ 2441576 w 2441576"/>
                <a:gd name="connsiteY29" fmla="*/ 235743 h 901154"/>
                <a:gd name="connsiteX30" fmla="*/ 2441576 w 2441576"/>
                <a:gd name="connsiteY30" fmla="*/ 304351 h 901154"/>
                <a:gd name="connsiteX31" fmla="*/ 2441576 w 2441576"/>
                <a:gd name="connsiteY31" fmla="*/ 387795 h 901154"/>
                <a:gd name="connsiteX32" fmla="*/ 2441576 w 2441576"/>
                <a:gd name="connsiteY32" fmla="*/ 456403 h 901154"/>
                <a:gd name="connsiteX33" fmla="*/ 2441576 w 2441576"/>
                <a:gd name="connsiteY33" fmla="*/ 539847 h 901154"/>
                <a:gd name="connsiteX34" fmla="*/ 2441576 w 2441576"/>
                <a:gd name="connsiteY34" fmla="*/ 608455 h 901154"/>
                <a:gd name="connsiteX35" fmla="*/ 2441576 w 2441576"/>
                <a:gd name="connsiteY35" fmla="*/ 691899 h 901154"/>
                <a:gd name="connsiteX36" fmla="*/ 2441576 w 2441576"/>
                <a:gd name="connsiteY36" fmla="*/ 760507 h 901154"/>
                <a:gd name="connsiteX37" fmla="*/ 2441576 w 2441576"/>
                <a:gd name="connsiteY37" fmla="*/ 832545 h 901154"/>
                <a:gd name="connsiteX38" fmla="*/ 2441576 w 2441576"/>
                <a:gd name="connsiteY38" fmla="*/ 901153 h 901154"/>
                <a:gd name="connsiteX39" fmla="*/ 2321561 w 2441576"/>
                <a:gd name="connsiteY39" fmla="*/ 901153 h 901154"/>
                <a:gd name="connsiteX40" fmla="*/ 2239646 w 2441576"/>
                <a:gd name="connsiteY40" fmla="*/ 901153 h 901154"/>
                <a:gd name="connsiteX41" fmla="*/ 2176781 w 2441576"/>
                <a:gd name="connsiteY41" fmla="*/ 901153 h 901154"/>
                <a:gd name="connsiteX42" fmla="*/ 2109259 w 2441576"/>
                <a:gd name="connsiteY42" fmla="*/ 901153 h 901154"/>
                <a:gd name="connsiteX43" fmla="*/ 2025730 w 2441576"/>
                <a:gd name="connsiteY43" fmla="*/ 901153 h 901154"/>
                <a:gd name="connsiteX44" fmla="*/ 1941949 w 2441576"/>
                <a:gd name="connsiteY44" fmla="*/ 901153 h 901154"/>
                <a:gd name="connsiteX45" fmla="*/ 1824412 w 2441576"/>
                <a:gd name="connsiteY45" fmla="*/ 901153 h 901154"/>
                <a:gd name="connsiteX46" fmla="*/ 1720844 w 2441576"/>
                <a:gd name="connsiteY46" fmla="*/ 901153 h 901154"/>
                <a:gd name="connsiteX47" fmla="*/ 1609632 w 2441576"/>
                <a:gd name="connsiteY47" fmla="*/ 901153 h 901154"/>
                <a:gd name="connsiteX48" fmla="*/ 1539566 w 2441576"/>
                <a:gd name="connsiteY48" fmla="*/ 901153 h 901154"/>
                <a:gd name="connsiteX49" fmla="*/ 1427685 w 2441576"/>
                <a:gd name="connsiteY49" fmla="*/ 901153 h 901154"/>
                <a:gd name="connsiteX50" fmla="*/ 1324785 w 2441576"/>
                <a:gd name="connsiteY50" fmla="*/ 901153 h 901154"/>
                <a:gd name="connsiteX51" fmla="*/ 1254721 w 2441576"/>
                <a:gd name="connsiteY51" fmla="*/ 901153 h 901154"/>
                <a:gd name="connsiteX52" fmla="*/ 1146253 w 2441576"/>
                <a:gd name="connsiteY52" fmla="*/ 901153 h 901154"/>
                <a:gd name="connsiteX53" fmla="*/ 1039939 w 2441576"/>
                <a:gd name="connsiteY53" fmla="*/ 901153 h 901154"/>
                <a:gd name="connsiteX54" fmla="*/ 969874 w 2441576"/>
                <a:gd name="connsiteY54" fmla="*/ 901153 h 901154"/>
                <a:gd name="connsiteX55" fmla="*/ 864820 w 2441576"/>
                <a:gd name="connsiteY55" fmla="*/ 901154 h 901154"/>
                <a:gd name="connsiteX56" fmla="*/ 755093 w 2441576"/>
                <a:gd name="connsiteY56" fmla="*/ 901153 h 901154"/>
                <a:gd name="connsiteX57" fmla="*/ 685028 w 2441576"/>
                <a:gd name="connsiteY57" fmla="*/ 901153 h 901154"/>
                <a:gd name="connsiteX58" fmla="*/ 581332 w 2441576"/>
                <a:gd name="connsiteY58" fmla="*/ 901153 h 901154"/>
                <a:gd name="connsiteX59" fmla="*/ 471351 w 2441576"/>
                <a:gd name="connsiteY59" fmla="*/ 901153 h 901154"/>
                <a:gd name="connsiteX60" fmla="*/ 470246 w 2441576"/>
                <a:gd name="connsiteY60" fmla="*/ 901153 h 901154"/>
                <a:gd name="connsiteX61" fmla="*/ 377080 w 2441576"/>
                <a:gd name="connsiteY61" fmla="*/ 901153 h 901154"/>
                <a:gd name="connsiteX62" fmla="*/ 282811 w 2441576"/>
                <a:gd name="connsiteY62" fmla="*/ 901153 h 901154"/>
                <a:gd name="connsiteX63" fmla="*/ 188541 w 2441576"/>
                <a:gd name="connsiteY63" fmla="*/ 901153 h 901154"/>
                <a:gd name="connsiteX64" fmla="*/ 185400 w 2441576"/>
                <a:gd name="connsiteY64" fmla="*/ 901153 h 901154"/>
                <a:gd name="connsiteX65" fmla="*/ 94270 w 2441576"/>
                <a:gd name="connsiteY65" fmla="*/ 901153 h 901154"/>
                <a:gd name="connsiteX66" fmla="*/ 0 w 2441576"/>
                <a:gd name="connsiteY66" fmla="*/ 901153 h 901154"/>
                <a:gd name="connsiteX67" fmla="*/ 0 w 2441576"/>
                <a:gd name="connsiteY67" fmla="*/ 832545 h 901154"/>
                <a:gd name="connsiteX68" fmla="*/ 0 w 2441576"/>
                <a:gd name="connsiteY68" fmla="*/ 760507 h 901154"/>
                <a:gd name="connsiteX69" fmla="*/ 0 w 2441576"/>
                <a:gd name="connsiteY69" fmla="*/ 691899 h 901154"/>
                <a:gd name="connsiteX70" fmla="*/ 0 w 2441576"/>
                <a:gd name="connsiteY70" fmla="*/ 608455 h 901154"/>
                <a:gd name="connsiteX71" fmla="*/ 0 w 2441576"/>
                <a:gd name="connsiteY71" fmla="*/ 539847 h 901154"/>
                <a:gd name="connsiteX72" fmla="*/ 0 w 2441576"/>
                <a:gd name="connsiteY72" fmla="*/ 456403 h 901154"/>
                <a:gd name="connsiteX73" fmla="*/ 0 w 2441576"/>
                <a:gd name="connsiteY73" fmla="*/ 387795 h 901154"/>
                <a:gd name="connsiteX74" fmla="*/ 0 w 2441576"/>
                <a:gd name="connsiteY74" fmla="*/ 304351 h 901154"/>
                <a:gd name="connsiteX75" fmla="*/ 0 w 2441576"/>
                <a:gd name="connsiteY75" fmla="*/ 235743 h 901154"/>
                <a:gd name="connsiteX76" fmla="*/ 0 w 2441576"/>
                <a:gd name="connsiteY76" fmla="*/ 152299 h 901154"/>
                <a:gd name="connsiteX77" fmla="*/ 0 w 2441576"/>
                <a:gd name="connsiteY77" fmla="*/ 83691 h 901154"/>
                <a:gd name="connsiteX78" fmla="*/ 0 w 2441576"/>
                <a:gd name="connsiteY78" fmla="*/ 247 h 901154"/>
                <a:gd name="connsiteX0" fmla="*/ 0 w 2441576"/>
                <a:gd name="connsiteY0" fmla="*/ 247 h 901154"/>
                <a:gd name="connsiteX1" fmla="*/ 94270 w 2441576"/>
                <a:gd name="connsiteY1" fmla="*/ 247 h 901154"/>
                <a:gd name="connsiteX2" fmla="*/ 185400 w 2441576"/>
                <a:gd name="connsiteY2" fmla="*/ 247 h 901154"/>
                <a:gd name="connsiteX3" fmla="*/ 282811 w 2441576"/>
                <a:gd name="connsiteY3" fmla="*/ 247 h 901154"/>
                <a:gd name="connsiteX4" fmla="*/ 377080 w 2441576"/>
                <a:gd name="connsiteY4" fmla="*/ 247 h 901154"/>
                <a:gd name="connsiteX5" fmla="*/ 470246 w 2441576"/>
                <a:gd name="connsiteY5" fmla="*/ 247 h 901154"/>
                <a:gd name="connsiteX6" fmla="*/ 581332 w 2441576"/>
                <a:gd name="connsiteY6" fmla="*/ 247 h 901154"/>
                <a:gd name="connsiteX7" fmla="*/ 685028 w 2441576"/>
                <a:gd name="connsiteY7" fmla="*/ 247 h 901154"/>
                <a:gd name="connsiteX8" fmla="*/ 755093 w 2441576"/>
                <a:gd name="connsiteY8" fmla="*/ 247 h 901154"/>
                <a:gd name="connsiteX9" fmla="*/ 860129 w 2441576"/>
                <a:gd name="connsiteY9" fmla="*/ 1 h 901154"/>
                <a:gd name="connsiteX10" fmla="*/ 969874 w 2441576"/>
                <a:gd name="connsiteY10" fmla="*/ 247 h 901154"/>
                <a:gd name="connsiteX11" fmla="*/ 1039939 w 2441576"/>
                <a:gd name="connsiteY11" fmla="*/ 247 h 901154"/>
                <a:gd name="connsiteX12" fmla="*/ 1146839 w 2441576"/>
                <a:gd name="connsiteY12" fmla="*/ 1 h 901154"/>
                <a:gd name="connsiteX13" fmla="*/ 1254721 w 2441576"/>
                <a:gd name="connsiteY13" fmla="*/ 247 h 901154"/>
                <a:gd name="connsiteX14" fmla="*/ 1324785 w 2441576"/>
                <a:gd name="connsiteY14" fmla="*/ 247 h 901154"/>
                <a:gd name="connsiteX15" fmla="*/ 1430031 w 2441576"/>
                <a:gd name="connsiteY15" fmla="*/ 0 h 901154"/>
                <a:gd name="connsiteX16" fmla="*/ 1539566 w 2441576"/>
                <a:gd name="connsiteY16" fmla="*/ 247 h 901154"/>
                <a:gd name="connsiteX17" fmla="*/ 1609632 w 2441576"/>
                <a:gd name="connsiteY17" fmla="*/ 247 h 901154"/>
                <a:gd name="connsiteX18" fmla="*/ 1707946 w 2441576"/>
                <a:gd name="connsiteY18" fmla="*/ 1 h 901154"/>
                <a:gd name="connsiteX19" fmla="*/ 1824412 w 2441576"/>
                <a:gd name="connsiteY19" fmla="*/ 247 h 901154"/>
                <a:gd name="connsiteX20" fmla="*/ 1941949 w 2441576"/>
                <a:gd name="connsiteY20" fmla="*/ 247 h 901154"/>
                <a:gd name="connsiteX21" fmla="*/ 2094866 w 2441576"/>
                <a:gd name="connsiteY21" fmla="*/ 247 h 901154"/>
                <a:gd name="connsiteX22" fmla="*/ 2176781 w 2441576"/>
                <a:gd name="connsiteY22" fmla="*/ 247 h 901154"/>
                <a:gd name="connsiteX23" fmla="*/ 2258696 w 2441576"/>
                <a:gd name="connsiteY23" fmla="*/ 247 h 901154"/>
                <a:gd name="connsiteX24" fmla="*/ 2321561 w 2441576"/>
                <a:gd name="connsiteY24" fmla="*/ 247 h 901154"/>
                <a:gd name="connsiteX25" fmla="*/ 2441576 w 2441576"/>
                <a:gd name="connsiteY25" fmla="*/ 247 h 901154"/>
                <a:gd name="connsiteX26" fmla="*/ 2441576 w 2441576"/>
                <a:gd name="connsiteY26" fmla="*/ 83691 h 901154"/>
                <a:gd name="connsiteX27" fmla="*/ 2441576 w 2441576"/>
                <a:gd name="connsiteY27" fmla="*/ 152299 h 901154"/>
                <a:gd name="connsiteX28" fmla="*/ 2441576 w 2441576"/>
                <a:gd name="connsiteY28" fmla="*/ 235743 h 901154"/>
                <a:gd name="connsiteX29" fmla="*/ 2441576 w 2441576"/>
                <a:gd name="connsiteY29" fmla="*/ 304351 h 901154"/>
                <a:gd name="connsiteX30" fmla="*/ 2441576 w 2441576"/>
                <a:gd name="connsiteY30" fmla="*/ 387795 h 901154"/>
                <a:gd name="connsiteX31" fmla="*/ 2441576 w 2441576"/>
                <a:gd name="connsiteY31" fmla="*/ 456403 h 901154"/>
                <a:gd name="connsiteX32" fmla="*/ 2441576 w 2441576"/>
                <a:gd name="connsiteY32" fmla="*/ 539847 h 901154"/>
                <a:gd name="connsiteX33" fmla="*/ 2441576 w 2441576"/>
                <a:gd name="connsiteY33" fmla="*/ 608455 h 901154"/>
                <a:gd name="connsiteX34" fmla="*/ 2441576 w 2441576"/>
                <a:gd name="connsiteY34" fmla="*/ 691899 h 901154"/>
                <a:gd name="connsiteX35" fmla="*/ 2441576 w 2441576"/>
                <a:gd name="connsiteY35" fmla="*/ 760507 h 901154"/>
                <a:gd name="connsiteX36" fmla="*/ 2441576 w 2441576"/>
                <a:gd name="connsiteY36" fmla="*/ 832545 h 901154"/>
                <a:gd name="connsiteX37" fmla="*/ 2441576 w 2441576"/>
                <a:gd name="connsiteY37" fmla="*/ 901153 h 901154"/>
                <a:gd name="connsiteX38" fmla="*/ 2321561 w 2441576"/>
                <a:gd name="connsiteY38" fmla="*/ 901153 h 901154"/>
                <a:gd name="connsiteX39" fmla="*/ 2239646 w 2441576"/>
                <a:gd name="connsiteY39" fmla="*/ 901153 h 901154"/>
                <a:gd name="connsiteX40" fmla="*/ 2176781 w 2441576"/>
                <a:gd name="connsiteY40" fmla="*/ 901153 h 901154"/>
                <a:gd name="connsiteX41" fmla="*/ 2109259 w 2441576"/>
                <a:gd name="connsiteY41" fmla="*/ 901153 h 901154"/>
                <a:gd name="connsiteX42" fmla="*/ 2025730 w 2441576"/>
                <a:gd name="connsiteY42" fmla="*/ 901153 h 901154"/>
                <a:gd name="connsiteX43" fmla="*/ 1941949 w 2441576"/>
                <a:gd name="connsiteY43" fmla="*/ 901153 h 901154"/>
                <a:gd name="connsiteX44" fmla="*/ 1824412 w 2441576"/>
                <a:gd name="connsiteY44" fmla="*/ 901153 h 901154"/>
                <a:gd name="connsiteX45" fmla="*/ 1720844 w 2441576"/>
                <a:gd name="connsiteY45" fmla="*/ 901153 h 901154"/>
                <a:gd name="connsiteX46" fmla="*/ 1609632 w 2441576"/>
                <a:gd name="connsiteY46" fmla="*/ 901153 h 901154"/>
                <a:gd name="connsiteX47" fmla="*/ 1539566 w 2441576"/>
                <a:gd name="connsiteY47" fmla="*/ 901153 h 901154"/>
                <a:gd name="connsiteX48" fmla="*/ 1427685 w 2441576"/>
                <a:gd name="connsiteY48" fmla="*/ 901153 h 901154"/>
                <a:gd name="connsiteX49" fmla="*/ 1324785 w 2441576"/>
                <a:gd name="connsiteY49" fmla="*/ 901153 h 901154"/>
                <a:gd name="connsiteX50" fmla="*/ 1254721 w 2441576"/>
                <a:gd name="connsiteY50" fmla="*/ 901153 h 901154"/>
                <a:gd name="connsiteX51" fmla="*/ 1146253 w 2441576"/>
                <a:gd name="connsiteY51" fmla="*/ 901153 h 901154"/>
                <a:gd name="connsiteX52" fmla="*/ 1039939 w 2441576"/>
                <a:gd name="connsiteY52" fmla="*/ 901153 h 901154"/>
                <a:gd name="connsiteX53" fmla="*/ 969874 w 2441576"/>
                <a:gd name="connsiteY53" fmla="*/ 901153 h 901154"/>
                <a:gd name="connsiteX54" fmla="*/ 864820 w 2441576"/>
                <a:gd name="connsiteY54" fmla="*/ 901154 h 901154"/>
                <a:gd name="connsiteX55" fmla="*/ 755093 w 2441576"/>
                <a:gd name="connsiteY55" fmla="*/ 901153 h 901154"/>
                <a:gd name="connsiteX56" fmla="*/ 685028 w 2441576"/>
                <a:gd name="connsiteY56" fmla="*/ 901153 h 901154"/>
                <a:gd name="connsiteX57" fmla="*/ 581332 w 2441576"/>
                <a:gd name="connsiteY57" fmla="*/ 901153 h 901154"/>
                <a:gd name="connsiteX58" fmla="*/ 471351 w 2441576"/>
                <a:gd name="connsiteY58" fmla="*/ 901153 h 901154"/>
                <a:gd name="connsiteX59" fmla="*/ 470246 w 2441576"/>
                <a:gd name="connsiteY59" fmla="*/ 901153 h 901154"/>
                <a:gd name="connsiteX60" fmla="*/ 377080 w 2441576"/>
                <a:gd name="connsiteY60" fmla="*/ 901153 h 901154"/>
                <a:gd name="connsiteX61" fmla="*/ 282811 w 2441576"/>
                <a:gd name="connsiteY61" fmla="*/ 901153 h 901154"/>
                <a:gd name="connsiteX62" fmla="*/ 188541 w 2441576"/>
                <a:gd name="connsiteY62" fmla="*/ 901153 h 901154"/>
                <a:gd name="connsiteX63" fmla="*/ 185400 w 2441576"/>
                <a:gd name="connsiteY63" fmla="*/ 901153 h 901154"/>
                <a:gd name="connsiteX64" fmla="*/ 94270 w 2441576"/>
                <a:gd name="connsiteY64" fmla="*/ 901153 h 901154"/>
                <a:gd name="connsiteX65" fmla="*/ 0 w 2441576"/>
                <a:gd name="connsiteY65" fmla="*/ 901153 h 901154"/>
                <a:gd name="connsiteX66" fmla="*/ 0 w 2441576"/>
                <a:gd name="connsiteY66" fmla="*/ 832545 h 901154"/>
                <a:gd name="connsiteX67" fmla="*/ 0 w 2441576"/>
                <a:gd name="connsiteY67" fmla="*/ 760507 h 901154"/>
                <a:gd name="connsiteX68" fmla="*/ 0 w 2441576"/>
                <a:gd name="connsiteY68" fmla="*/ 691899 h 901154"/>
                <a:gd name="connsiteX69" fmla="*/ 0 w 2441576"/>
                <a:gd name="connsiteY69" fmla="*/ 608455 h 901154"/>
                <a:gd name="connsiteX70" fmla="*/ 0 w 2441576"/>
                <a:gd name="connsiteY70" fmla="*/ 539847 h 901154"/>
                <a:gd name="connsiteX71" fmla="*/ 0 w 2441576"/>
                <a:gd name="connsiteY71" fmla="*/ 456403 h 901154"/>
                <a:gd name="connsiteX72" fmla="*/ 0 w 2441576"/>
                <a:gd name="connsiteY72" fmla="*/ 387795 h 901154"/>
                <a:gd name="connsiteX73" fmla="*/ 0 w 2441576"/>
                <a:gd name="connsiteY73" fmla="*/ 304351 h 901154"/>
                <a:gd name="connsiteX74" fmla="*/ 0 w 2441576"/>
                <a:gd name="connsiteY74" fmla="*/ 235743 h 901154"/>
                <a:gd name="connsiteX75" fmla="*/ 0 w 2441576"/>
                <a:gd name="connsiteY75" fmla="*/ 152299 h 901154"/>
                <a:gd name="connsiteX76" fmla="*/ 0 w 2441576"/>
                <a:gd name="connsiteY76" fmla="*/ 83691 h 901154"/>
                <a:gd name="connsiteX77" fmla="*/ 0 w 2441576"/>
                <a:gd name="connsiteY77" fmla="*/ 247 h 901154"/>
                <a:gd name="connsiteX0" fmla="*/ 0 w 2441576"/>
                <a:gd name="connsiteY0" fmla="*/ 247 h 901154"/>
                <a:gd name="connsiteX1" fmla="*/ 94270 w 2441576"/>
                <a:gd name="connsiteY1" fmla="*/ 247 h 901154"/>
                <a:gd name="connsiteX2" fmla="*/ 185400 w 2441576"/>
                <a:gd name="connsiteY2" fmla="*/ 247 h 901154"/>
                <a:gd name="connsiteX3" fmla="*/ 282811 w 2441576"/>
                <a:gd name="connsiteY3" fmla="*/ 247 h 901154"/>
                <a:gd name="connsiteX4" fmla="*/ 377080 w 2441576"/>
                <a:gd name="connsiteY4" fmla="*/ 247 h 901154"/>
                <a:gd name="connsiteX5" fmla="*/ 470246 w 2441576"/>
                <a:gd name="connsiteY5" fmla="*/ 247 h 901154"/>
                <a:gd name="connsiteX6" fmla="*/ 581332 w 2441576"/>
                <a:gd name="connsiteY6" fmla="*/ 247 h 901154"/>
                <a:gd name="connsiteX7" fmla="*/ 685028 w 2441576"/>
                <a:gd name="connsiteY7" fmla="*/ 247 h 901154"/>
                <a:gd name="connsiteX8" fmla="*/ 755093 w 2441576"/>
                <a:gd name="connsiteY8" fmla="*/ 247 h 901154"/>
                <a:gd name="connsiteX9" fmla="*/ 860129 w 2441576"/>
                <a:gd name="connsiteY9" fmla="*/ 1 h 901154"/>
                <a:gd name="connsiteX10" fmla="*/ 969874 w 2441576"/>
                <a:gd name="connsiteY10" fmla="*/ 247 h 901154"/>
                <a:gd name="connsiteX11" fmla="*/ 1039939 w 2441576"/>
                <a:gd name="connsiteY11" fmla="*/ 247 h 901154"/>
                <a:gd name="connsiteX12" fmla="*/ 1146839 w 2441576"/>
                <a:gd name="connsiteY12" fmla="*/ 1 h 901154"/>
                <a:gd name="connsiteX13" fmla="*/ 1254721 w 2441576"/>
                <a:gd name="connsiteY13" fmla="*/ 247 h 901154"/>
                <a:gd name="connsiteX14" fmla="*/ 1324785 w 2441576"/>
                <a:gd name="connsiteY14" fmla="*/ 247 h 901154"/>
                <a:gd name="connsiteX15" fmla="*/ 1430031 w 2441576"/>
                <a:gd name="connsiteY15" fmla="*/ 0 h 901154"/>
                <a:gd name="connsiteX16" fmla="*/ 1539566 w 2441576"/>
                <a:gd name="connsiteY16" fmla="*/ 247 h 901154"/>
                <a:gd name="connsiteX17" fmla="*/ 1609632 w 2441576"/>
                <a:gd name="connsiteY17" fmla="*/ 247 h 901154"/>
                <a:gd name="connsiteX18" fmla="*/ 1707946 w 2441576"/>
                <a:gd name="connsiteY18" fmla="*/ 1 h 901154"/>
                <a:gd name="connsiteX19" fmla="*/ 1824412 w 2441576"/>
                <a:gd name="connsiteY19" fmla="*/ 247 h 901154"/>
                <a:gd name="connsiteX20" fmla="*/ 1941949 w 2441576"/>
                <a:gd name="connsiteY20" fmla="*/ 247 h 901154"/>
                <a:gd name="connsiteX21" fmla="*/ 2094866 w 2441576"/>
                <a:gd name="connsiteY21" fmla="*/ 247 h 901154"/>
                <a:gd name="connsiteX22" fmla="*/ 2176781 w 2441576"/>
                <a:gd name="connsiteY22" fmla="*/ 247 h 901154"/>
                <a:gd name="connsiteX23" fmla="*/ 2258696 w 2441576"/>
                <a:gd name="connsiteY23" fmla="*/ 247 h 901154"/>
                <a:gd name="connsiteX24" fmla="*/ 2321561 w 2441576"/>
                <a:gd name="connsiteY24" fmla="*/ 247 h 901154"/>
                <a:gd name="connsiteX25" fmla="*/ 2441576 w 2441576"/>
                <a:gd name="connsiteY25" fmla="*/ 247 h 901154"/>
                <a:gd name="connsiteX26" fmla="*/ 2441576 w 2441576"/>
                <a:gd name="connsiteY26" fmla="*/ 83691 h 901154"/>
                <a:gd name="connsiteX27" fmla="*/ 2441576 w 2441576"/>
                <a:gd name="connsiteY27" fmla="*/ 152299 h 901154"/>
                <a:gd name="connsiteX28" fmla="*/ 2441576 w 2441576"/>
                <a:gd name="connsiteY28" fmla="*/ 235743 h 901154"/>
                <a:gd name="connsiteX29" fmla="*/ 2441576 w 2441576"/>
                <a:gd name="connsiteY29" fmla="*/ 304351 h 901154"/>
                <a:gd name="connsiteX30" fmla="*/ 2441576 w 2441576"/>
                <a:gd name="connsiteY30" fmla="*/ 387795 h 901154"/>
                <a:gd name="connsiteX31" fmla="*/ 2441576 w 2441576"/>
                <a:gd name="connsiteY31" fmla="*/ 456403 h 901154"/>
                <a:gd name="connsiteX32" fmla="*/ 2441576 w 2441576"/>
                <a:gd name="connsiteY32" fmla="*/ 539847 h 901154"/>
                <a:gd name="connsiteX33" fmla="*/ 2441576 w 2441576"/>
                <a:gd name="connsiteY33" fmla="*/ 608455 h 901154"/>
                <a:gd name="connsiteX34" fmla="*/ 2441576 w 2441576"/>
                <a:gd name="connsiteY34" fmla="*/ 691899 h 901154"/>
                <a:gd name="connsiteX35" fmla="*/ 2441576 w 2441576"/>
                <a:gd name="connsiteY35" fmla="*/ 760507 h 901154"/>
                <a:gd name="connsiteX36" fmla="*/ 2441576 w 2441576"/>
                <a:gd name="connsiteY36" fmla="*/ 832545 h 901154"/>
                <a:gd name="connsiteX37" fmla="*/ 2441576 w 2441576"/>
                <a:gd name="connsiteY37" fmla="*/ 901153 h 901154"/>
                <a:gd name="connsiteX38" fmla="*/ 2321561 w 2441576"/>
                <a:gd name="connsiteY38" fmla="*/ 901153 h 901154"/>
                <a:gd name="connsiteX39" fmla="*/ 2239646 w 2441576"/>
                <a:gd name="connsiteY39" fmla="*/ 901153 h 901154"/>
                <a:gd name="connsiteX40" fmla="*/ 2176781 w 2441576"/>
                <a:gd name="connsiteY40" fmla="*/ 901153 h 901154"/>
                <a:gd name="connsiteX41" fmla="*/ 2109259 w 2441576"/>
                <a:gd name="connsiteY41" fmla="*/ 901153 h 901154"/>
                <a:gd name="connsiteX42" fmla="*/ 2025730 w 2441576"/>
                <a:gd name="connsiteY42" fmla="*/ 901153 h 901154"/>
                <a:gd name="connsiteX43" fmla="*/ 1941949 w 2441576"/>
                <a:gd name="connsiteY43" fmla="*/ 901153 h 901154"/>
                <a:gd name="connsiteX44" fmla="*/ 1824412 w 2441576"/>
                <a:gd name="connsiteY44" fmla="*/ 901153 h 901154"/>
                <a:gd name="connsiteX45" fmla="*/ 1720844 w 2441576"/>
                <a:gd name="connsiteY45" fmla="*/ 901153 h 901154"/>
                <a:gd name="connsiteX46" fmla="*/ 1609632 w 2441576"/>
                <a:gd name="connsiteY46" fmla="*/ 901153 h 901154"/>
                <a:gd name="connsiteX47" fmla="*/ 1539566 w 2441576"/>
                <a:gd name="connsiteY47" fmla="*/ 901153 h 901154"/>
                <a:gd name="connsiteX48" fmla="*/ 1427685 w 2441576"/>
                <a:gd name="connsiteY48" fmla="*/ 901153 h 901154"/>
                <a:gd name="connsiteX49" fmla="*/ 1324785 w 2441576"/>
                <a:gd name="connsiteY49" fmla="*/ 901153 h 901154"/>
                <a:gd name="connsiteX50" fmla="*/ 1254721 w 2441576"/>
                <a:gd name="connsiteY50" fmla="*/ 901153 h 901154"/>
                <a:gd name="connsiteX51" fmla="*/ 1146253 w 2441576"/>
                <a:gd name="connsiteY51" fmla="*/ 901153 h 901154"/>
                <a:gd name="connsiteX52" fmla="*/ 1039939 w 2441576"/>
                <a:gd name="connsiteY52" fmla="*/ 901153 h 901154"/>
                <a:gd name="connsiteX53" fmla="*/ 969874 w 2441576"/>
                <a:gd name="connsiteY53" fmla="*/ 901153 h 901154"/>
                <a:gd name="connsiteX54" fmla="*/ 864820 w 2441576"/>
                <a:gd name="connsiteY54" fmla="*/ 901154 h 901154"/>
                <a:gd name="connsiteX55" fmla="*/ 755093 w 2441576"/>
                <a:gd name="connsiteY55" fmla="*/ 901153 h 901154"/>
                <a:gd name="connsiteX56" fmla="*/ 685028 w 2441576"/>
                <a:gd name="connsiteY56" fmla="*/ 901153 h 901154"/>
                <a:gd name="connsiteX57" fmla="*/ 581332 w 2441576"/>
                <a:gd name="connsiteY57" fmla="*/ 901153 h 901154"/>
                <a:gd name="connsiteX58" fmla="*/ 471351 w 2441576"/>
                <a:gd name="connsiteY58" fmla="*/ 901153 h 901154"/>
                <a:gd name="connsiteX59" fmla="*/ 470246 w 2441576"/>
                <a:gd name="connsiteY59" fmla="*/ 901153 h 901154"/>
                <a:gd name="connsiteX60" fmla="*/ 377080 w 2441576"/>
                <a:gd name="connsiteY60" fmla="*/ 901153 h 901154"/>
                <a:gd name="connsiteX61" fmla="*/ 282811 w 2441576"/>
                <a:gd name="connsiteY61" fmla="*/ 901153 h 901154"/>
                <a:gd name="connsiteX62" fmla="*/ 185400 w 2441576"/>
                <a:gd name="connsiteY62" fmla="*/ 901153 h 901154"/>
                <a:gd name="connsiteX63" fmla="*/ 94270 w 2441576"/>
                <a:gd name="connsiteY63" fmla="*/ 901153 h 901154"/>
                <a:gd name="connsiteX64" fmla="*/ 0 w 2441576"/>
                <a:gd name="connsiteY64" fmla="*/ 901153 h 901154"/>
                <a:gd name="connsiteX65" fmla="*/ 0 w 2441576"/>
                <a:gd name="connsiteY65" fmla="*/ 832545 h 901154"/>
                <a:gd name="connsiteX66" fmla="*/ 0 w 2441576"/>
                <a:gd name="connsiteY66" fmla="*/ 760507 h 901154"/>
                <a:gd name="connsiteX67" fmla="*/ 0 w 2441576"/>
                <a:gd name="connsiteY67" fmla="*/ 691899 h 901154"/>
                <a:gd name="connsiteX68" fmla="*/ 0 w 2441576"/>
                <a:gd name="connsiteY68" fmla="*/ 608455 h 901154"/>
                <a:gd name="connsiteX69" fmla="*/ 0 w 2441576"/>
                <a:gd name="connsiteY69" fmla="*/ 539847 h 901154"/>
                <a:gd name="connsiteX70" fmla="*/ 0 w 2441576"/>
                <a:gd name="connsiteY70" fmla="*/ 456403 h 901154"/>
                <a:gd name="connsiteX71" fmla="*/ 0 w 2441576"/>
                <a:gd name="connsiteY71" fmla="*/ 387795 h 901154"/>
                <a:gd name="connsiteX72" fmla="*/ 0 w 2441576"/>
                <a:gd name="connsiteY72" fmla="*/ 304351 h 901154"/>
                <a:gd name="connsiteX73" fmla="*/ 0 w 2441576"/>
                <a:gd name="connsiteY73" fmla="*/ 235743 h 901154"/>
                <a:gd name="connsiteX74" fmla="*/ 0 w 2441576"/>
                <a:gd name="connsiteY74" fmla="*/ 152299 h 901154"/>
                <a:gd name="connsiteX75" fmla="*/ 0 w 2441576"/>
                <a:gd name="connsiteY75" fmla="*/ 83691 h 901154"/>
                <a:gd name="connsiteX76" fmla="*/ 0 w 2441576"/>
                <a:gd name="connsiteY76" fmla="*/ 247 h 901154"/>
                <a:gd name="connsiteX0" fmla="*/ 0 w 2441576"/>
                <a:gd name="connsiteY0" fmla="*/ 247 h 1193517"/>
                <a:gd name="connsiteX1" fmla="*/ 94270 w 2441576"/>
                <a:gd name="connsiteY1" fmla="*/ 247 h 1193517"/>
                <a:gd name="connsiteX2" fmla="*/ 185400 w 2441576"/>
                <a:gd name="connsiteY2" fmla="*/ 247 h 1193517"/>
                <a:gd name="connsiteX3" fmla="*/ 282811 w 2441576"/>
                <a:gd name="connsiteY3" fmla="*/ 247 h 1193517"/>
                <a:gd name="connsiteX4" fmla="*/ 377080 w 2441576"/>
                <a:gd name="connsiteY4" fmla="*/ 247 h 1193517"/>
                <a:gd name="connsiteX5" fmla="*/ 470246 w 2441576"/>
                <a:gd name="connsiteY5" fmla="*/ 247 h 1193517"/>
                <a:gd name="connsiteX6" fmla="*/ 581332 w 2441576"/>
                <a:gd name="connsiteY6" fmla="*/ 247 h 1193517"/>
                <a:gd name="connsiteX7" fmla="*/ 685028 w 2441576"/>
                <a:gd name="connsiteY7" fmla="*/ 247 h 1193517"/>
                <a:gd name="connsiteX8" fmla="*/ 755093 w 2441576"/>
                <a:gd name="connsiteY8" fmla="*/ 247 h 1193517"/>
                <a:gd name="connsiteX9" fmla="*/ 860129 w 2441576"/>
                <a:gd name="connsiteY9" fmla="*/ 1 h 1193517"/>
                <a:gd name="connsiteX10" fmla="*/ 969874 w 2441576"/>
                <a:gd name="connsiteY10" fmla="*/ 247 h 1193517"/>
                <a:gd name="connsiteX11" fmla="*/ 1039939 w 2441576"/>
                <a:gd name="connsiteY11" fmla="*/ 247 h 1193517"/>
                <a:gd name="connsiteX12" fmla="*/ 1146839 w 2441576"/>
                <a:gd name="connsiteY12" fmla="*/ 1 h 1193517"/>
                <a:gd name="connsiteX13" fmla="*/ 1254721 w 2441576"/>
                <a:gd name="connsiteY13" fmla="*/ 247 h 1193517"/>
                <a:gd name="connsiteX14" fmla="*/ 1324785 w 2441576"/>
                <a:gd name="connsiteY14" fmla="*/ 247 h 1193517"/>
                <a:gd name="connsiteX15" fmla="*/ 1430031 w 2441576"/>
                <a:gd name="connsiteY15" fmla="*/ 0 h 1193517"/>
                <a:gd name="connsiteX16" fmla="*/ 1539566 w 2441576"/>
                <a:gd name="connsiteY16" fmla="*/ 247 h 1193517"/>
                <a:gd name="connsiteX17" fmla="*/ 1609632 w 2441576"/>
                <a:gd name="connsiteY17" fmla="*/ 247 h 1193517"/>
                <a:gd name="connsiteX18" fmla="*/ 1707946 w 2441576"/>
                <a:gd name="connsiteY18" fmla="*/ 1 h 1193517"/>
                <a:gd name="connsiteX19" fmla="*/ 1824412 w 2441576"/>
                <a:gd name="connsiteY19" fmla="*/ 247 h 1193517"/>
                <a:gd name="connsiteX20" fmla="*/ 1941949 w 2441576"/>
                <a:gd name="connsiteY20" fmla="*/ 247 h 1193517"/>
                <a:gd name="connsiteX21" fmla="*/ 2094866 w 2441576"/>
                <a:gd name="connsiteY21" fmla="*/ 247 h 1193517"/>
                <a:gd name="connsiteX22" fmla="*/ 2176781 w 2441576"/>
                <a:gd name="connsiteY22" fmla="*/ 247 h 1193517"/>
                <a:gd name="connsiteX23" fmla="*/ 2258696 w 2441576"/>
                <a:gd name="connsiteY23" fmla="*/ 247 h 1193517"/>
                <a:gd name="connsiteX24" fmla="*/ 2321561 w 2441576"/>
                <a:gd name="connsiteY24" fmla="*/ 247 h 1193517"/>
                <a:gd name="connsiteX25" fmla="*/ 2441576 w 2441576"/>
                <a:gd name="connsiteY25" fmla="*/ 247 h 1193517"/>
                <a:gd name="connsiteX26" fmla="*/ 2441576 w 2441576"/>
                <a:gd name="connsiteY26" fmla="*/ 83691 h 1193517"/>
                <a:gd name="connsiteX27" fmla="*/ 2441576 w 2441576"/>
                <a:gd name="connsiteY27" fmla="*/ 152299 h 1193517"/>
                <a:gd name="connsiteX28" fmla="*/ 2441576 w 2441576"/>
                <a:gd name="connsiteY28" fmla="*/ 235743 h 1193517"/>
                <a:gd name="connsiteX29" fmla="*/ 2441576 w 2441576"/>
                <a:gd name="connsiteY29" fmla="*/ 304351 h 1193517"/>
                <a:gd name="connsiteX30" fmla="*/ 2441576 w 2441576"/>
                <a:gd name="connsiteY30" fmla="*/ 387795 h 1193517"/>
                <a:gd name="connsiteX31" fmla="*/ 2441576 w 2441576"/>
                <a:gd name="connsiteY31" fmla="*/ 456403 h 1193517"/>
                <a:gd name="connsiteX32" fmla="*/ 2441576 w 2441576"/>
                <a:gd name="connsiteY32" fmla="*/ 539847 h 1193517"/>
                <a:gd name="connsiteX33" fmla="*/ 2441576 w 2441576"/>
                <a:gd name="connsiteY33" fmla="*/ 608455 h 1193517"/>
                <a:gd name="connsiteX34" fmla="*/ 2441576 w 2441576"/>
                <a:gd name="connsiteY34" fmla="*/ 691899 h 1193517"/>
                <a:gd name="connsiteX35" fmla="*/ 2441576 w 2441576"/>
                <a:gd name="connsiteY35" fmla="*/ 760507 h 1193517"/>
                <a:gd name="connsiteX36" fmla="*/ 2441576 w 2441576"/>
                <a:gd name="connsiteY36" fmla="*/ 832545 h 1193517"/>
                <a:gd name="connsiteX37" fmla="*/ 2441576 w 2441576"/>
                <a:gd name="connsiteY37" fmla="*/ 901153 h 1193517"/>
                <a:gd name="connsiteX38" fmla="*/ 2321561 w 2441576"/>
                <a:gd name="connsiteY38" fmla="*/ 901153 h 1193517"/>
                <a:gd name="connsiteX39" fmla="*/ 2239646 w 2441576"/>
                <a:gd name="connsiteY39" fmla="*/ 901153 h 1193517"/>
                <a:gd name="connsiteX40" fmla="*/ 2176781 w 2441576"/>
                <a:gd name="connsiteY40" fmla="*/ 901153 h 1193517"/>
                <a:gd name="connsiteX41" fmla="*/ 2109259 w 2441576"/>
                <a:gd name="connsiteY41" fmla="*/ 901153 h 1193517"/>
                <a:gd name="connsiteX42" fmla="*/ 2025730 w 2441576"/>
                <a:gd name="connsiteY42" fmla="*/ 901153 h 1193517"/>
                <a:gd name="connsiteX43" fmla="*/ 1941949 w 2441576"/>
                <a:gd name="connsiteY43" fmla="*/ 901153 h 1193517"/>
                <a:gd name="connsiteX44" fmla="*/ 1824412 w 2441576"/>
                <a:gd name="connsiteY44" fmla="*/ 901153 h 1193517"/>
                <a:gd name="connsiteX45" fmla="*/ 1720844 w 2441576"/>
                <a:gd name="connsiteY45" fmla="*/ 901153 h 1193517"/>
                <a:gd name="connsiteX46" fmla="*/ 1829119 w 2441576"/>
                <a:gd name="connsiteY46" fmla="*/ 1193517 h 1193517"/>
                <a:gd name="connsiteX47" fmla="*/ 1539566 w 2441576"/>
                <a:gd name="connsiteY47" fmla="*/ 901153 h 1193517"/>
                <a:gd name="connsiteX48" fmla="*/ 1427685 w 2441576"/>
                <a:gd name="connsiteY48" fmla="*/ 901153 h 1193517"/>
                <a:gd name="connsiteX49" fmla="*/ 1324785 w 2441576"/>
                <a:gd name="connsiteY49" fmla="*/ 901153 h 1193517"/>
                <a:gd name="connsiteX50" fmla="*/ 1254721 w 2441576"/>
                <a:gd name="connsiteY50" fmla="*/ 901153 h 1193517"/>
                <a:gd name="connsiteX51" fmla="*/ 1146253 w 2441576"/>
                <a:gd name="connsiteY51" fmla="*/ 901153 h 1193517"/>
                <a:gd name="connsiteX52" fmla="*/ 1039939 w 2441576"/>
                <a:gd name="connsiteY52" fmla="*/ 901153 h 1193517"/>
                <a:gd name="connsiteX53" fmla="*/ 969874 w 2441576"/>
                <a:gd name="connsiteY53" fmla="*/ 901153 h 1193517"/>
                <a:gd name="connsiteX54" fmla="*/ 864820 w 2441576"/>
                <a:gd name="connsiteY54" fmla="*/ 901154 h 1193517"/>
                <a:gd name="connsiteX55" fmla="*/ 755093 w 2441576"/>
                <a:gd name="connsiteY55" fmla="*/ 901153 h 1193517"/>
                <a:gd name="connsiteX56" fmla="*/ 685028 w 2441576"/>
                <a:gd name="connsiteY56" fmla="*/ 901153 h 1193517"/>
                <a:gd name="connsiteX57" fmla="*/ 581332 w 2441576"/>
                <a:gd name="connsiteY57" fmla="*/ 901153 h 1193517"/>
                <a:gd name="connsiteX58" fmla="*/ 471351 w 2441576"/>
                <a:gd name="connsiteY58" fmla="*/ 901153 h 1193517"/>
                <a:gd name="connsiteX59" fmla="*/ 470246 w 2441576"/>
                <a:gd name="connsiteY59" fmla="*/ 901153 h 1193517"/>
                <a:gd name="connsiteX60" fmla="*/ 377080 w 2441576"/>
                <a:gd name="connsiteY60" fmla="*/ 901153 h 1193517"/>
                <a:gd name="connsiteX61" fmla="*/ 282811 w 2441576"/>
                <a:gd name="connsiteY61" fmla="*/ 901153 h 1193517"/>
                <a:gd name="connsiteX62" fmla="*/ 185400 w 2441576"/>
                <a:gd name="connsiteY62" fmla="*/ 901153 h 1193517"/>
                <a:gd name="connsiteX63" fmla="*/ 94270 w 2441576"/>
                <a:gd name="connsiteY63" fmla="*/ 901153 h 1193517"/>
                <a:gd name="connsiteX64" fmla="*/ 0 w 2441576"/>
                <a:gd name="connsiteY64" fmla="*/ 901153 h 1193517"/>
                <a:gd name="connsiteX65" fmla="*/ 0 w 2441576"/>
                <a:gd name="connsiteY65" fmla="*/ 832545 h 1193517"/>
                <a:gd name="connsiteX66" fmla="*/ 0 w 2441576"/>
                <a:gd name="connsiteY66" fmla="*/ 760507 h 1193517"/>
                <a:gd name="connsiteX67" fmla="*/ 0 w 2441576"/>
                <a:gd name="connsiteY67" fmla="*/ 691899 h 1193517"/>
                <a:gd name="connsiteX68" fmla="*/ 0 w 2441576"/>
                <a:gd name="connsiteY68" fmla="*/ 608455 h 1193517"/>
                <a:gd name="connsiteX69" fmla="*/ 0 w 2441576"/>
                <a:gd name="connsiteY69" fmla="*/ 539847 h 1193517"/>
                <a:gd name="connsiteX70" fmla="*/ 0 w 2441576"/>
                <a:gd name="connsiteY70" fmla="*/ 456403 h 1193517"/>
                <a:gd name="connsiteX71" fmla="*/ 0 w 2441576"/>
                <a:gd name="connsiteY71" fmla="*/ 387795 h 1193517"/>
                <a:gd name="connsiteX72" fmla="*/ 0 w 2441576"/>
                <a:gd name="connsiteY72" fmla="*/ 304351 h 1193517"/>
                <a:gd name="connsiteX73" fmla="*/ 0 w 2441576"/>
                <a:gd name="connsiteY73" fmla="*/ 235743 h 1193517"/>
                <a:gd name="connsiteX74" fmla="*/ 0 w 2441576"/>
                <a:gd name="connsiteY74" fmla="*/ 152299 h 1193517"/>
                <a:gd name="connsiteX75" fmla="*/ 0 w 2441576"/>
                <a:gd name="connsiteY75" fmla="*/ 83691 h 1193517"/>
                <a:gd name="connsiteX76" fmla="*/ 0 w 2441576"/>
                <a:gd name="connsiteY76" fmla="*/ 247 h 1193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2441576" h="1193517">
                  <a:moveTo>
                    <a:pt x="0" y="247"/>
                  </a:moveTo>
                  <a:lnTo>
                    <a:pt x="94270" y="247"/>
                  </a:lnTo>
                  <a:lnTo>
                    <a:pt x="185400" y="247"/>
                  </a:lnTo>
                  <a:lnTo>
                    <a:pt x="282811" y="247"/>
                  </a:lnTo>
                  <a:lnTo>
                    <a:pt x="377080" y="247"/>
                  </a:lnTo>
                  <a:lnTo>
                    <a:pt x="470246" y="247"/>
                  </a:lnTo>
                  <a:lnTo>
                    <a:pt x="581332" y="247"/>
                  </a:lnTo>
                  <a:lnTo>
                    <a:pt x="685028" y="247"/>
                  </a:lnTo>
                  <a:lnTo>
                    <a:pt x="755093" y="247"/>
                  </a:lnTo>
                  <a:lnTo>
                    <a:pt x="860129" y="1"/>
                  </a:lnTo>
                  <a:lnTo>
                    <a:pt x="969874" y="247"/>
                  </a:lnTo>
                  <a:lnTo>
                    <a:pt x="1039939" y="247"/>
                  </a:lnTo>
                  <a:lnTo>
                    <a:pt x="1146839" y="1"/>
                  </a:lnTo>
                  <a:lnTo>
                    <a:pt x="1254721" y="247"/>
                  </a:lnTo>
                  <a:lnTo>
                    <a:pt x="1324785" y="247"/>
                  </a:lnTo>
                  <a:lnTo>
                    <a:pt x="1430031" y="0"/>
                  </a:lnTo>
                  <a:lnTo>
                    <a:pt x="1539566" y="247"/>
                  </a:lnTo>
                  <a:lnTo>
                    <a:pt x="1609632" y="247"/>
                  </a:lnTo>
                  <a:lnTo>
                    <a:pt x="1707946" y="1"/>
                  </a:lnTo>
                  <a:lnTo>
                    <a:pt x="1824412" y="247"/>
                  </a:lnTo>
                  <a:lnTo>
                    <a:pt x="1941949" y="247"/>
                  </a:lnTo>
                  <a:lnTo>
                    <a:pt x="2094866" y="247"/>
                  </a:lnTo>
                  <a:lnTo>
                    <a:pt x="2176781" y="247"/>
                  </a:lnTo>
                  <a:lnTo>
                    <a:pt x="2258696" y="247"/>
                  </a:lnTo>
                  <a:lnTo>
                    <a:pt x="2321561" y="247"/>
                  </a:lnTo>
                  <a:lnTo>
                    <a:pt x="2441576" y="247"/>
                  </a:lnTo>
                  <a:lnTo>
                    <a:pt x="2441576" y="83691"/>
                  </a:lnTo>
                  <a:lnTo>
                    <a:pt x="2441576" y="152299"/>
                  </a:lnTo>
                  <a:lnTo>
                    <a:pt x="2441576" y="235743"/>
                  </a:lnTo>
                  <a:lnTo>
                    <a:pt x="2441576" y="304351"/>
                  </a:lnTo>
                  <a:lnTo>
                    <a:pt x="2441576" y="387795"/>
                  </a:lnTo>
                  <a:lnTo>
                    <a:pt x="2441576" y="456403"/>
                  </a:lnTo>
                  <a:lnTo>
                    <a:pt x="2441576" y="539847"/>
                  </a:lnTo>
                  <a:lnTo>
                    <a:pt x="2441576" y="608455"/>
                  </a:lnTo>
                  <a:lnTo>
                    <a:pt x="2441576" y="691899"/>
                  </a:lnTo>
                  <a:lnTo>
                    <a:pt x="2441576" y="760507"/>
                  </a:lnTo>
                  <a:lnTo>
                    <a:pt x="2441576" y="832545"/>
                  </a:lnTo>
                  <a:lnTo>
                    <a:pt x="2441576" y="901153"/>
                  </a:lnTo>
                  <a:lnTo>
                    <a:pt x="2321561" y="901153"/>
                  </a:lnTo>
                  <a:lnTo>
                    <a:pt x="2239646" y="901153"/>
                  </a:lnTo>
                  <a:lnTo>
                    <a:pt x="2176781" y="901153"/>
                  </a:lnTo>
                  <a:lnTo>
                    <a:pt x="2109259" y="901153"/>
                  </a:lnTo>
                  <a:lnTo>
                    <a:pt x="2025730" y="901153"/>
                  </a:lnTo>
                  <a:lnTo>
                    <a:pt x="1941949" y="901153"/>
                  </a:lnTo>
                  <a:lnTo>
                    <a:pt x="1824412" y="901153"/>
                  </a:lnTo>
                  <a:lnTo>
                    <a:pt x="1720844" y="901153"/>
                  </a:lnTo>
                  <a:lnTo>
                    <a:pt x="1829119" y="1193517"/>
                  </a:lnTo>
                  <a:lnTo>
                    <a:pt x="1539566" y="901153"/>
                  </a:lnTo>
                  <a:lnTo>
                    <a:pt x="1427685" y="901153"/>
                  </a:lnTo>
                  <a:lnTo>
                    <a:pt x="1324785" y="901153"/>
                  </a:lnTo>
                  <a:lnTo>
                    <a:pt x="1254721" y="901153"/>
                  </a:lnTo>
                  <a:lnTo>
                    <a:pt x="1146253" y="901153"/>
                  </a:lnTo>
                  <a:lnTo>
                    <a:pt x="1039939" y="901153"/>
                  </a:lnTo>
                  <a:lnTo>
                    <a:pt x="969874" y="901153"/>
                  </a:lnTo>
                  <a:lnTo>
                    <a:pt x="864820" y="901154"/>
                  </a:lnTo>
                  <a:lnTo>
                    <a:pt x="755093" y="901153"/>
                  </a:lnTo>
                  <a:lnTo>
                    <a:pt x="685028" y="901153"/>
                  </a:lnTo>
                  <a:lnTo>
                    <a:pt x="581332" y="901153"/>
                  </a:lnTo>
                  <a:lnTo>
                    <a:pt x="471351" y="901153"/>
                  </a:lnTo>
                  <a:lnTo>
                    <a:pt x="470246" y="901153"/>
                  </a:lnTo>
                  <a:lnTo>
                    <a:pt x="377080" y="901153"/>
                  </a:lnTo>
                  <a:lnTo>
                    <a:pt x="282811" y="901153"/>
                  </a:lnTo>
                  <a:lnTo>
                    <a:pt x="185400" y="901153"/>
                  </a:lnTo>
                  <a:lnTo>
                    <a:pt x="94270" y="901153"/>
                  </a:lnTo>
                  <a:lnTo>
                    <a:pt x="0" y="901153"/>
                  </a:lnTo>
                  <a:lnTo>
                    <a:pt x="0" y="832545"/>
                  </a:lnTo>
                  <a:lnTo>
                    <a:pt x="0" y="760507"/>
                  </a:lnTo>
                  <a:lnTo>
                    <a:pt x="0" y="691899"/>
                  </a:lnTo>
                  <a:lnTo>
                    <a:pt x="0" y="608455"/>
                  </a:lnTo>
                  <a:lnTo>
                    <a:pt x="0" y="539847"/>
                  </a:lnTo>
                  <a:lnTo>
                    <a:pt x="0" y="456403"/>
                  </a:lnTo>
                  <a:lnTo>
                    <a:pt x="0" y="387795"/>
                  </a:lnTo>
                  <a:lnTo>
                    <a:pt x="0" y="304351"/>
                  </a:lnTo>
                  <a:lnTo>
                    <a:pt x="0" y="235743"/>
                  </a:lnTo>
                  <a:lnTo>
                    <a:pt x="0" y="152299"/>
                  </a:lnTo>
                  <a:lnTo>
                    <a:pt x="0" y="83691"/>
                  </a:lnTo>
                  <a:lnTo>
                    <a:pt x="0" y="247"/>
                  </a:lnTo>
                  <a:close/>
                </a:path>
              </a:pathLst>
            </a:custGeom>
            <a:solidFill>
              <a:schemeClr val="bg2"/>
            </a:solidFill>
            <a:ln w="12700" algn="ctr">
              <a:solidFill>
                <a:schemeClr val="accent2"/>
              </a:solidFill>
              <a:miter lim="800000"/>
              <a:headEnd/>
              <a:tailEnd/>
            </a:ln>
            <a:effectLst>
              <a:outerShdw dist="53340" dir="2700000" algn="tl" rotWithShape="0">
                <a:schemeClr val="tx1">
                  <a:alpha val="8000"/>
                </a:schemeClr>
              </a:outerShdw>
            </a:effec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868494">
                <a:defRPr/>
              </a:pPr>
              <a:endParaRPr lang="es-CL" sz="13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1" name="Rectangle 22"/>
            <p:cNvSpPr txBox="1"/>
            <p:nvPr>
              <p:custDataLst>
                <p:tags r:id="rId8"/>
              </p:custDataLst>
            </p:nvPr>
          </p:nvSpPr>
          <p:spPr>
            <a:xfrm flipH="1">
              <a:off x="647740" y="2371384"/>
              <a:ext cx="930594" cy="3537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850403">
                <a:buClr>
                  <a:srgbClr val="009A46"/>
                </a:buClr>
                <a:defRPr/>
              </a:pPr>
              <a:r>
                <a:rPr lang="es-CL" sz="1300">
                  <a:solidFill>
                    <a:srgbClr val="000000"/>
                  </a:solidFill>
                </a:rPr>
                <a:t>Tablero de indicadores</a:t>
              </a:r>
            </a:p>
          </p:txBody>
        </p:sp>
      </p:grpSp>
      <p:sp>
        <p:nvSpPr>
          <p:cNvPr id="62" name="Rectangle 1"/>
          <p:cNvSpPr>
            <a:spLocks/>
          </p:cNvSpPr>
          <p:nvPr/>
        </p:nvSpPr>
        <p:spPr>
          <a:xfrm>
            <a:off x="4114656" y="1904596"/>
            <a:ext cx="921952" cy="703578"/>
          </a:xfrm>
          <a:custGeom>
            <a:avLst/>
            <a:gdLst>
              <a:gd name="connsiteX0" fmla="*/ 0 w 2441576"/>
              <a:gd name="connsiteY0" fmla="*/ 0 h 900906"/>
              <a:gd name="connsiteX1" fmla="*/ 94270 w 2441576"/>
              <a:gd name="connsiteY1" fmla="*/ 0 h 900906"/>
              <a:gd name="connsiteX2" fmla="*/ 185400 w 2441576"/>
              <a:gd name="connsiteY2" fmla="*/ 0 h 900906"/>
              <a:gd name="connsiteX3" fmla="*/ 188541 w 2441576"/>
              <a:gd name="connsiteY3" fmla="*/ 0 h 900906"/>
              <a:gd name="connsiteX4" fmla="*/ 282811 w 2441576"/>
              <a:gd name="connsiteY4" fmla="*/ 0 h 900906"/>
              <a:gd name="connsiteX5" fmla="*/ 377080 w 2441576"/>
              <a:gd name="connsiteY5" fmla="*/ 0 h 900906"/>
              <a:gd name="connsiteX6" fmla="*/ 470246 w 2441576"/>
              <a:gd name="connsiteY6" fmla="*/ 0 h 900906"/>
              <a:gd name="connsiteX7" fmla="*/ 471351 w 2441576"/>
              <a:gd name="connsiteY7" fmla="*/ 0 h 900906"/>
              <a:gd name="connsiteX8" fmla="*/ 581332 w 2441576"/>
              <a:gd name="connsiteY8" fmla="*/ 0 h 900906"/>
              <a:gd name="connsiteX9" fmla="*/ 685028 w 2441576"/>
              <a:gd name="connsiteY9" fmla="*/ 0 h 900906"/>
              <a:gd name="connsiteX10" fmla="*/ 755093 w 2441576"/>
              <a:gd name="connsiteY10" fmla="*/ 0 h 900906"/>
              <a:gd name="connsiteX11" fmla="*/ 969874 w 2441576"/>
              <a:gd name="connsiteY11" fmla="*/ 0 h 900906"/>
              <a:gd name="connsiteX12" fmla="*/ 1039939 w 2441576"/>
              <a:gd name="connsiteY12" fmla="*/ 0 h 900906"/>
              <a:gd name="connsiteX13" fmla="*/ 1254721 w 2441576"/>
              <a:gd name="connsiteY13" fmla="*/ 0 h 900906"/>
              <a:gd name="connsiteX14" fmla="*/ 1324785 w 2441576"/>
              <a:gd name="connsiteY14" fmla="*/ 0 h 900906"/>
              <a:gd name="connsiteX15" fmla="*/ 1539566 w 2441576"/>
              <a:gd name="connsiteY15" fmla="*/ 0 h 900906"/>
              <a:gd name="connsiteX16" fmla="*/ 1609632 w 2441576"/>
              <a:gd name="connsiteY16" fmla="*/ 0 h 900906"/>
              <a:gd name="connsiteX17" fmla="*/ 1824412 w 2441576"/>
              <a:gd name="connsiteY17" fmla="*/ 0 h 900906"/>
              <a:gd name="connsiteX18" fmla="*/ 1941949 w 2441576"/>
              <a:gd name="connsiteY18" fmla="*/ 0 h 900906"/>
              <a:gd name="connsiteX19" fmla="*/ 2094866 w 2441576"/>
              <a:gd name="connsiteY19" fmla="*/ 0 h 900906"/>
              <a:gd name="connsiteX20" fmla="*/ 2176781 w 2441576"/>
              <a:gd name="connsiteY20" fmla="*/ 0 h 900906"/>
              <a:gd name="connsiteX21" fmla="*/ 2258696 w 2441576"/>
              <a:gd name="connsiteY21" fmla="*/ 0 h 900906"/>
              <a:gd name="connsiteX22" fmla="*/ 2321561 w 2441576"/>
              <a:gd name="connsiteY22" fmla="*/ 0 h 900906"/>
              <a:gd name="connsiteX23" fmla="*/ 2403476 w 2441576"/>
              <a:gd name="connsiteY23" fmla="*/ 0 h 900906"/>
              <a:gd name="connsiteX24" fmla="*/ 2441576 w 2441576"/>
              <a:gd name="connsiteY24" fmla="*/ 0 h 900906"/>
              <a:gd name="connsiteX25" fmla="*/ 2441576 w 2441576"/>
              <a:gd name="connsiteY25" fmla="*/ 83444 h 900906"/>
              <a:gd name="connsiteX26" fmla="*/ 2441576 w 2441576"/>
              <a:gd name="connsiteY26" fmla="*/ 152052 h 900906"/>
              <a:gd name="connsiteX27" fmla="*/ 2441576 w 2441576"/>
              <a:gd name="connsiteY27" fmla="*/ 235496 h 900906"/>
              <a:gd name="connsiteX28" fmla="*/ 2441576 w 2441576"/>
              <a:gd name="connsiteY28" fmla="*/ 304104 h 900906"/>
              <a:gd name="connsiteX29" fmla="*/ 2441576 w 2441576"/>
              <a:gd name="connsiteY29" fmla="*/ 387548 h 900906"/>
              <a:gd name="connsiteX30" fmla="*/ 2441576 w 2441576"/>
              <a:gd name="connsiteY30" fmla="*/ 456156 h 900906"/>
              <a:gd name="connsiteX31" fmla="*/ 2441576 w 2441576"/>
              <a:gd name="connsiteY31" fmla="*/ 539600 h 900906"/>
              <a:gd name="connsiteX32" fmla="*/ 2441576 w 2441576"/>
              <a:gd name="connsiteY32" fmla="*/ 608208 h 900906"/>
              <a:gd name="connsiteX33" fmla="*/ 2441576 w 2441576"/>
              <a:gd name="connsiteY33" fmla="*/ 691652 h 900906"/>
              <a:gd name="connsiteX34" fmla="*/ 2441576 w 2441576"/>
              <a:gd name="connsiteY34" fmla="*/ 748854 h 900906"/>
              <a:gd name="connsiteX35" fmla="*/ 2441576 w 2441576"/>
              <a:gd name="connsiteY35" fmla="*/ 760260 h 900906"/>
              <a:gd name="connsiteX36" fmla="*/ 2441576 w 2441576"/>
              <a:gd name="connsiteY36" fmla="*/ 832298 h 900906"/>
              <a:gd name="connsiteX37" fmla="*/ 2441576 w 2441576"/>
              <a:gd name="connsiteY37" fmla="*/ 900906 h 900906"/>
              <a:gd name="connsiteX38" fmla="*/ 2403476 w 2441576"/>
              <a:gd name="connsiteY38" fmla="*/ 900906 h 900906"/>
              <a:gd name="connsiteX39" fmla="*/ 2321561 w 2441576"/>
              <a:gd name="connsiteY39" fmla="*/ 900906 h 900906"/>
              <a:gd name="connsiteX40" fmla="*/ 2239646 w 2441576"/>
              <a:gd name="connsiteY40" fmla="*/ 900906 h 900906"/>
              <a:gd name="connsiteX41" fmla="*/ 2176781 w 2441576"/>
              <a:gd name="connsiteY41" fmla="*/ 900906 h 900906"/>
              <a:gd name="connsiteX42" fmla="*/ 2109259 w 2441576"/>
              <a:gd name="connsiteY42" fmla="*/ 900906 h 900906"/>
              <a:gd name="connsiteX43" fmla="*/ 2094866 w 2441576"/>
              <a:gd name="connsiteY43" fmla="*/ 900906 h 900906"/>
              <a:gd name="connsiteX44" fmla="*/ 1941949 w 2441576"/>
              <a:gd name="connsiteY44" fmla="*/ 900906 h 900906"/>
              <a:gd name="connsiteX45" fmla="*/ 1824412 w 2441576"/>
              <a:gd name="connsiteY45" fmla="*/ 900906 h 900906"/>
              <a:gd name="connsiteX46" fmla="*/ 1609632 w 2441576"/>
              <a:gd name="connsiteY46" fmla="*/ 900906 h 900906"/>
              <a:gd name="connsiteX47" fmla="*/ 1539566 w 2441576"/>
              <a:gd name="connsiteY47" fmla="*/ 900906 h 900906"/>
              <a:gd name="connsiteX48" fmla="*/ 1324785 w 2441576"/>
              <a:gd name="connsiteY48" fmla="*/ 900906 h 900906"/>
              <a:gd name="connsiteX49" fmla="*/ 1254721 w 2441576"/>
              <a:gd name="connsiteY49" fmla="*/ 900906 h 900906"/>
              <a:gd name="connsiteX50" fmla="*/ 1039939 w 2441576"/>
              <a:gd name="connsiteY50" fmla="*/ 900906 h 900906"/>
              <a:gd name="connsiteX51" fmla="*/ 969874 w 2441576"/>
              <a:gd name="connsiteY51" fmla="*/ 900906 h 900906"/>
              <a:gd name="connsiteX52" fmla="*/ 755093 w 2441576"/>
              <a:gd name="connsiteY52" fmla="*/ 900906 h 900906"/>
              <a:gd name="connsiteX53" fmla="*/ 685028 w 2441576"/>
              <a:gd name="connsiteY53" fmla="*/ 900906 h 900906"/>
              <a:gd name="connsiteX54" fmla="*/ 581332 w 2441576"/>
              <a:gd name="connsiteY54" fmla="*/ 900906 h 900906"/>
              <a:gd name="connsiteX55" fmla="*/ 471351 w 2441576"/>
              <a:gd name="connsiteY55" fmla="*/ 900906 h 900906"/>
              <a:gd name="connsiteX56" fmla="*/ 470246 w 2441576"/>
              <a:gd name="connsiteY56" fmla="*/ 900906 h 900906"/>
              <a:gd name="connsiteX57" fmla="*/ 377080 w 2441576"/>
              <a:gd name="connsiteY57" fmla="*/ 900906 h 900906"/>
              <a:gd name="connsiteX58" fmla="*/ 282811 w 2441576"/>
              <a:gd name="connsiteY58" fmla="*/ 900906 h 900906"/>
              <a:gd name="connsiteX59" fmla="*/ 188541 w 2441576"/>
              <a:gd name="connsiteY59" fmla="*/ 900906 h 900906"/>
              <a:gd name="connsiteX60" fmla="*/ 185400 w 2441576"/>
              <a:gd name="connsiteY60" fmla="*/ 900906 h 900906"/>
              <a:gd name="connsiteX61" fmla="*/ 94270 w 2441576"/>
              <a:gd name="connsiteY61" fmla="*/ 900906 h 900906"/>
              <a:gd name="connsiteX62" fmla="*/ 0 w 2441576"/>
              <a:gd name="connsiteY62" fmla="*/ 900906 h 900906"/>
              <a:gd name="connsiteX63" fmla="*/ 0 w 2441576"/>
              <a:gd name="connsiteY63" fmla="*/ 832298 h 900906"/>
              <a:gd name="connsiteX64" fmla="*/ 0 w 2441576"/>
              <a:gd name="connsiteY64" fmla="*/ 760260 h 900906"/>
              <a:gd name="connsiteX65" fmla="*/ 0 w 2441576"/>
              <a:gd name="connsiteY65" fmla="*/ 748854 h 900906"/>
              <a:gd name="connsiteX66" fmla="*/ 0 w 2441576"/>
              <a:gd name="connsiteY66" fmla="*/ 691652 h 900906"/>
              <a:gd name="connsiteX67" fmla="*/ 0 w 2441576"/>
              <a:gd name="connsiteY67" fmla="*/ 608208 h 900906"/>
              <a:gd name="connsiteX68" fmla="*/ 0 w 2441576"/>
              <a:gd name="connsiteY68" fmla="*/ 539600 h 900906"/>
              <a:gd name="connsiteX69" fmla="*/ 0 w 2441576"/>
              <a:gd name="connsiteY69" fmla="*/ 456156 h 900906"/>
              <a:gd name="connsiteX70" fmla="*/ 0 w 2441576"/>
              <a:gd name="connsiteY70" fmla="*/ 387548 h 900906"/>
              <a:gd name="connsiteX71" fmla="*/ 0 w 2441576"/>
              <a:gd name="connsiteY71" fmla="*/ 304104 h 900906"/>
              <a:gd name="connsiteX72" fmla="*/ 0 w 2441576"/>
              <a:gd name="connsiteY72" fmla="*/ 235496 h 900906"/>
              <a:gd name="connsiteX73" fmla="*/ 0 w 2441576"/>
              <a:gd name="connsiteY73" fmla="*/ 152052 h 900906"/>
              <a:gd name="connsiteX74" fmla="*/ 0 w 2441576"/>
              <a:gd name="connsiteY74" fmla="*/ 83444 h 900906"/>
              <a:gd name="connsiteX75" fmla="*/ 0 w 2441576"/>
              <a:gd name="connsiteY75" fmla="*/ 0 h 900906"/>
              <a:gd name="connsiteX0" fmla="*/ 0 w 2441576"/>
              <a:gd name="connsiteY0" fmla="*/ 0 h 900906"/>
              <a:gd name="connsiteX1" fmla="*/ 94270 w 2441576"/>
              <a:gd name="connsiteY1" fmla="*/ 0 h 900906"/>
              <a:gd name="connsiteX2" fmla="*/ 185400 w 2441576"/>
              <a:gd name="connsiteY2" fmla="*/ 0 h 900906"/>
              <a:gd name="connsiteX3" fmla="*/ 188541 w 2441576"/>
              <a:gd name="connsiteY3" fmla="*/ 0 h 900906"/>
              <a:gd name="connsiteX4" fmla="*/ 282811 w 2441576"/>
              <a:gd name="connsiteY4" fmla="*/ 0 h 900906"/>
              <a:gd name="connsiteX5" fmla="*/ 377080 w 2441576"/>
              <a:gd name="connsiteY5" fmla="*/ 0 h 900906"/>
              <a:gd name="connsiteX6" fmla="*/ 470246 w 2441576"/>
              <a:gd name="connsiteY6" fmla="*/ 0 h 900906"/>
              <a:gd name="connsiteX7" fmla="*/ 471351 w 2441576"/>
              <a:gd name="connsiteY7" fmla="*/ 0 h 900906"/>
              <a:gd name="connsiteX8" fmla="*/ 581332 w 2441576"/>
              <a:gd name="connsiteY8" fmla="*/ 0 h 900906"/>
              <a:gd name="connsiteX9" fmla="*/ 685028 w 2441576"/>
              <a:gd name="connsiteY9" fmla="*/ 0 h 900906"/>
              <a:gd name="connsiteX10" fmla="*/ 755093 w 2441576"/>
              <a:gd name="connsiteY10" fmla="*/ 0 h 900906"/>
              <a:gd name="connsiteX11" fmla="*/ 969874 w 2441576"/>
              <a:gd name="connsiteY11" fmla="*/ 0 h 900906"/>
              <a:gd name="connsiteX12" fmla="*/ 1039939 w 2441576"/>
              <a:gd name="connsiteY12" fmla="*/ 0 h 900906"/>
              <a:gd name="connsiteX13" fmla="*/ 1254721 w 2441576"/>
              <a:gd name="connsiteY13" fmla="*/ 0 h 900906"/>
              <a:gd name="connsiteX14" fmla="*/ 1324785 w 2441576"/>
              <a:gd name="connsiteY14" fmla="*/ 0 h 900906"/>
              <a:gd name="connsiteX15" fmla="*/ 1539566 w 2441576"/>
              <a:gd name="connsiteY15" fmla="*/ 0 h 900906"/>
              <a:gd name="connsiteX16" fmla="*/ 1609632 w 2441576"/>
              <a:gd name="connsiteY16" fmla="*/ 0 h 900906"/>
              <a:gd name="connsiteX17" fmla="*/ 1824412 w 2441576"/>
              <a:gd name="connsiteY17" fmla="*/ 0 h 900906"/>
              <a:gd name="connsiteX18" fmla="*/ 1941949 w 2441576"/>
              <a:gd name="connsiteY18" fmla="*/ 0 h 900906"/>
              <a:gd name="connsiteX19" fmla="*/ 2094866 w 2441576"/>
              <a:gd name="connsiteY19" fmla="*/ 0 h 900906"/>
              <a:gd name="connsiteX20" fmla="*/ 2176781 w 2441576"/>
              <a:gd name="connsiteY20" fmla="*/ 0 h 900906"/>
              <a:gd name="connsiteX21" fmla="*/ 2258696 w 2441576"/>
              <a:gd name="connsiteY21" fmla="*/ 0 h 900906"/>
              <a:gd name="connsiteX22" fmla="*/ 2321561 w 2441576"/>
              <a:gd name="connsiteY22" fmla="*/ 0 h 900906"/>
              <a:gd name="connsiteX23" fmla="*/ 2403476 w 2441576"/>
              <a:gd name="connsiteY23" fmla="*/ 0 h 900906"/>
              <a:gd name="connsiteX24" fmla="*/ 2441576 w 2441576"/>
              <a:gd name="connsiteY24" fmla="*/ 0 h 900906"/>
              <a:gd name="connsiteX25" fmla="*/ 2441576 w 2441576"/>
              <a:gd name="connsiteY25" fmla="*/ 83444 h 900906"/>
              <a:gd name="connsiteX26" fmla="*/ 2441576 w 2441576"/>
              <a:gd name="connsiteY26" fmla="*/ 152052 h 900906"/>
              <a:gd name="connsiteX27" fmla="*/ 2441576 w 2441576"/>
              <a:gd name="connsiteY27" fmla="*/ 235496 h 900906"/>
              <a:gd name="connsiteX28" fmla="*/ 2441576 w 2441576"/>
              <a:gd name="connsiteY28" fmla="*/ 304104 h 900906"/>
              <a:gd name="connsiteX29" fmla="*/ 2441576 w 2441576"/>
              <a:gd name="connsiteY29" fmla="*/ 387548 h 900906"/>
              <a:gd name="connsiteX30" fmla="*/ 2441576 w 2441576"/>
              <a:gd name="connsiteY30" fmla="*/ 456156 h 900906"/>
              <a:gd name="connsiteX31" fmla="*/ 2441576 w 2441576"/>
              <a:gd name="connsiteY31" fmla="*/ 539600 h 900906"/>
              <a:gd name="connsiteX32" fmla="*/ 2441576 w 2441576"/>
              <a:gd name="connsiteY32" fmla="*/ 608208 h 900906"/>
              <a:gd name="connsiteX33" fmla="*/ 2441576 w 2441576"/>
              <a:gd name="connsiteY33" fmla="*/ 691652 h 900906"/>
              <a:gd name="connsiteX34" fmla="*/ 2441576 w 2441576"/>
              <a:gd name="connsiteY34" fmla="*/ 748854 h 900906"/>
              <a:gd name="connsiteX35" fmla="*/ 2441576 w 2441576"/>
              <a:gd name="connsiteY35" fmla="*/ 760260 h 900906"/>
              <a:gd name="connsiteX36" fmla="*/ 2441576 w 2441576"/>
              <a:gd name="connsiteY36" fmla="*/ 832298 h 900906"/>
              <a:gd name="connsiteX37" fmla="*/ 2441576 w 2441576"/>
              <a:gd name="connsiteY37" fmla="*/ 900906 h 900906"/>
              <a:gd name="connsiteX38" fmla="*/ 2403476 w 2441576"/>
              <a:gd name="connsiteY38" fmla="*/ 900906 h 900906"/>
              <a:gd name="connsiteX39" fmla="*/ 2321561 w 2441576"/>
              <a:gd name="connsiteY39" fmla="*/ 900906 h 900906"/>
              <a:gd name="connsiteX40" fmla="*/ 2239646 w 2441576"/>
              <a:gd name="connsiteY40" fmla="*/ 900906 h 900906"/>
              <a:gd name="connsiteX41" fmla="*/ 2176781 w 2441576"/>
              <a:gd name="connsiteY41" fmla="*/ 900906 h 900906"/>
              <a:gd name="connsiteX42" fmla="*/ 2109259 w 2441576"/>
              <a:gd name="connsiteY42" fmla="*/ 900906 h 900906"/>
              <a:gd name="connsiteX43" fmla="*/ 1941949 w 2441576"/>
              <a:gd name="connsiteY43" fmla="*/ 900906 h 900906"/>
              <a:gd name="connsiteX44" fmla="*/ 1824412 w 2441576"/>
              <a:gd name="connsiteY44" fmla="*/ 900906 h 900906"/>
              <a:gd name="connsiteX45" fmla="*/ 1609632 w 2441576"/>
              <a:gd name="connsiteY45" fmla="*/ 900906 h 900906"/>
              <a:gd name="connsiteX46" fmla="*/ 1539566 w 2441576"/>
              <a:gd name="connsiteY46" fmla="*/ 900906 h 900906"/>
              <a:gd name="connsiteX47" fmla="*/ 1324785 w 2441576"/>
              <a:gd name="connsiteY47" fmla="*/ 900906 h 900906"/>
              <a:gd name="connsiteX48" fmla="*/ 1254721 w 2441576"/>
              <a:gd name="connsiteY48" fmla="*/ 900906 h 900906"/>
              <a:gd name="connsiteX49" fmla="*/ 1039939 w 2441576"/>
              <a:gd name="connsiteY49" fmla="*/ 900906 h 900906"/>
              <a:gd name="connsiteX50" fmla="*/ 969874 w 2441576"/>
              <a:gd name="connsiteY50" fmla="*/ 900906 h 900906"/>
              <a:gd name="connsiteX51" fmla="*/ 755093 w 2441576"/>
              <a:gd name="connsiteY51" fmla="*/ 900906 h 900906"/>
              <a:gd name="connsiteX52" fmla="*/ 685028 w 2441576"/>
              <a:gd name="connsiteY52" fmla="*/ 900906 h 900906"/>
              <a:gd name="connsiteX53" fmla="*/ 581332 w 2441576"/>
              <a:gd name="connsiteY53" fmla="*/ 900906 h 900906"/>
              <a:gd name="connsiteX54" fmla="*/ 471351 w 2441576"/>
              <a:gd name="connsiteY54" fmla="*/ 900906 h 900906"/>
              <a:gd name="connsiteX55" fmla="*/ 470246 w 2441576"/>
              <a:gd name="connsiteY55" fmla="*/ 900906 h 900906"/>
              <a:gd name="connsiteX56" fmla="*/ 377080 w 2441576"/>
              <a:gd name="connsiteY56" fmla="*/ 900906 h 900906"/>
              <a:gd name="connsiteX57" fmla="*/ 282811 w 2441576"/>
              <a:gd name="connsiteY57" fmla="*/ 900906 h 900906"/>
              <a:gd name="connsiteX58" fmla="*/ 188541 w 2441576"/>
              <a:gd name="connsiteY58" fmla="*/ 900906 h 900906"/>
              <a:gd name="connsiteX59" fmla="*/ 185400 w 2441576"/>
              <a:gd name="connsiteY59" fmla="*/ 900906 h 900906"/>
              <a:gd name="connsiteX60" fmla="*/ 94270 w 2441576"/>
              <a:gd name="connsiteY60" fmla="*/ 900906 h 900906"/>
              <a:gd name="connsiteX61" fmla="*/ 0 w 2441576"/>
              <a:gd name="connsiteY61" fmla="*/ 900906 h 900906"/>
              <a:gd name="connsiteX62" fmla="*/ 0 w 2441576"/>
              <a:gd name="connsiteY62" fmla="*/ 832298 h 900906"/>
              <a:gd name="connsiteX63" fmla="*/ 0 w 2441576"/>
              <a:gd name="connsiteY63" fmla="*/ 760260 h 900906"/>
              <a:gd name="connsiteX64" fmla="*/ 0 w 2441576"/>
              <a:gd name="connsiteY64" fmla="*/ 748854 h 900906"/>
              <a:gd name="connsiteX65" fmla="*/ 0 w 2441576"/>
              <a:gd name="connsiteY65" fmla="*/ 691652 h 900906"/>
              <a:gd name="connsiteX66" fmla="*/ 0 w 2441576"/>
              <a:gd name="connsiteY66" fmla="*/ 608208 h 900906"/>
              <a:gd name="connsiteX67" fmla="*/ 0 w 2441576"/>
              <a:gd name="connsiteY67" fmla="*/ 539600 h 900906"/>
              <a:gd name="connsiteX68" fmla="*/ 0 w 2441576"/>
              <a:gd name="connsiteY68" fmla="*/ 456156 h 900906"/>
              <a:gd name="connsiteX69" fmla="*/ 0 w 2441576"/>
              <a:gd name="connsiteY69" fmla="*/ 387548 h 900906"/>
              <a:gd name="connsiteX70" fmla="*/ 0 w 2441576"/>
              <a:gd name="connsiteY70" fmla="*/ 304104 h 900906"/>
              <a:gd name="connsiteX71" fmla="*/ 0 w 2441576"/>
              <a:gd name="connsiteY71" fmla="*/ 235496 h 900906"/>
              <a:gd name="connsiteX72" fmla="*/ 0 w 2441576"/>
              <a:gd name="connsiteY72" fmla="*/ 152052 h 900906"/>
              <a:gd name="connsiteX73" fmla="*/ 0 w 2441576"/>
              <a:gd name="connsiteY73" fmla="*/ 83444 h 900906"/>
              <a:gd name="connsiteX74" fmla="*/ 0 w 2441576"/>
              <a:gd name="connsiteY74" fmla="*/ 0 h 900906"/>
              <a:gd name="connsiteX0" fmla="*/ 0 w 2441576"/>
              <a:gd name="connsiteY0" fmla="*/ 0 h 900906"/>
              <a:gd name="connsiteX1" fmla="*/ 94270 w 2441576"/>
              <a:gd name="connsiteY1" fmla="*/ 0 h 900906"/>
              <a:gd name="connsiteX2" fmla="*/ 185400 w 2441576"/>
              <a:gd name="connsiteY2" fmla="*/ 0 h 900906"/>
              <a:gd name="connsiteX3" fmla="*/ 188541 w 2441576"/>
              <a:gd name="connsiteY3" fmla="*/ 0 h 900906"/>
              <a:gd name="connsiteX4" fmla="*/ 282811 w 2441576"/>
              <a:gd name="connsiteY4" fmla="*/ 0 h 900906"/>
              <a:gd name="connsiteX5" fmla="*/ 377080 w 2441576"/>
              <a:gd name="connsiteY5" fmla="*/ 0 h 900906"/>
              <a:gd name="connsiteX6" fmla="*/ 470246 w 2441576"/>
              <a:gd name="connsiteY6" fmla="*/ 0 h 900906"/>
              <a:gd name="connsiteX7" fmla="*/ 471351 w 2441576"/>
              <a:gd name="connsiteY7" fmla="*/ 0 h 900906"/>
              <a:gd name="connsiteX8" fmla="*/ 581332 w 2441576"/>
              <a:gd name="connsiteY8" fmla="*/ 0 h 900906"/>
              <a:gd name="connsiteX9" fmla="*/ 685028 w 2441576"/>
              <a:gd name="connsiteY9" fmla="*/ 0 h 900906"/>
              <a:gd name="connsiteX10" fmla="*/ 755093 w 2441576"/>
              <a:gd name="connsiteY10" fmla="*/ 0 h 900906"/>
              <a:gd name="connsiteX11" fmla="*/ 969874 w 2441576"/>
              <a:gd name="connsiteY11" fmla="*/ 0 h 900906"/>
              <a:gd name="connsiteX12" fmla="*/ 1039939 w 2441576"/>
              <a:gd name="connsiteY12" fmla="*/ 0 h 900906"/>
              <a:gd name="connsiteX13" fmla="*/ 1254721 w 2441576"/>
              <a:gd name="connsiteY13" fmla="*/ 0 h 900906"/>
              <a:gd name="connsiteX14" fmla="*/ 1324785 w 2441576"/>
              <a:gd name="connsiteY14" fmla="*/ 0 h 900906"/>
              <a:gd name="connsiteX15" fmla="*/ 1539566 w 2441576"/>
              <a:gd name="connsiteY15" fmla="*/ 0 h 900906"/>
              <a:gd name="connsiteX16" fmla="*/ 1609632 w 2441576"/>
              <a:gd name="connsiteY16" fmla="*/ 0 h 900906"/>
              <a:gd name="connsiteX17" fmla="*/ 1824412 w 2441576"/>
              <a:gd name="connsiteY17" fmla="*/ 0 h 900906"/>
              <a:gd name="connsiteX18" fmla="*/ 1941949 w 2441576"/>
              <a:gd name="connsiteY18" fmla="*/ 0 h 900906"/>
              <a:gd name="connsiteX19" fmla="*/ 2094866 w 2441576"/>
              <a:gd name="connsiteY19" fmla="*/ 0 h 900906"/>
              <a:gd name="connsiteX20" fmla="*/ 2176781 w 2441576"/>
              <a:gd name="connsiteY20" fmla="*/ 0 h 900906"/>
              <a:gd name="connsiteX21" fmla="*/ 2258696 w 2441576"/>
              <a:gd name="connsiteY21" fmla="*/ 0 h 900906"/>
              <a:gd name="connsiteX22" fmla="*/ 2321561 w 2441576"/>
              <a:gd name="connsiteY22" fmla="*/ 0 h 900906"/>
              <a:gd name="connsiteX23" fmla="*/ 2441576 w 2441576"/>
              <a:gd name="connsiteY23" fmla="*/ 0 h 900906"/>
              <a:gd name="connsiteX24" fmla="*/ 2441576 w 2441576"/>
              <a:gd name="connsiteY24" fmla="*/ 83444 h 900906"/>
              <a:gd name="connsiteX25" fmla="*/ 2441576 w 2441576"/>
              <a:gd name="connsiteY25" fmla="*/ 152052 h 900906"/>
              <a:gd name="connsiteX26" fmla="*/ 2441576 w 2441576"/>
              <a:gd name="connsiteY26" fmla="*/ 235496 h 900906"/>
              <a:gd name="connsiteX27" fmla="*/ 2441576 w 2441576"/>
              <a:gd name="connsiteY27" fmla="*/ 304104 h 900906"/>
              <a:gd name="connsiteX28" fmla="*/ 2441576 w 2441576"/>
              <a:gd name="connsiteY28" fmla="*/ 387548 h 900906"/>
              <a:gd name="connsiteX29" fmla="*/ 2441576 w 2441576"/>
              <a:gd name="connsiteY29" fmla="*/ 456156 h 900906"/>
              <a:gd name="connsiteX30" fmla="*/ 2441576 w 2441576"/>
              <a:gd name="connsiteY30" fmla="*/ 539600 h 900906"/>
              <a:gd name="connsiteX31" fmla="*/ 2441576 w 2441576"/>
              <a:gd name="connsiteY31" fmla="*/ 608208 h 900906"/>
              <a:gd name="connsiteX32" fmla="*/ 2441576 w 2441576"/>
              <a:gd name="connsiteY32" fmla="*/ 691652 h 900906"/>
              <a:gd name="connsiteX33" fmla="*/ 2441576 w 2441576"/>
              <a:gd name="connsiteY33" fmla="*/ 748854 h 900906"/>
              <a:gd name="connsiteX34" fmla="*/ 2441576 w 2441576"/>
              <a:gd name="connsiteY34" fmla="*/ 760260 h 900906"/>
              <a:gd name="connsiteX35" fmla="*/ 2441576 w 2441576"/>
              <a:gd name="connsiteY35" fmla="*/ 832298 h 900906"/>
              <a:gd name="connsiteX36" fmla="*/ 2441576 w 2441576"/>
              <a:gd name="connsiteY36" fmla="*/ 900906 h 900906"/>
              <a:gd name="connsiteX37" fmla="*/ 2403476 w 2441576"/>
              <a:gd name="connsiteY37" fmla="*/ 900906 h 900906"/>
              <a:gd name="connsiteX38" fmla="*/ 2321561 w 2441576"/>
              <a:gd name="connsiteY38" fmla="*/ 900906 h 900906"/>
              <a:gd name="connsiteX39" fmla="*/ 2239646 w 2441576"/>
              <a:gd name="connsiteY39" fmla="*/ 900906 h 900906"/>
              <a:gd name="connsiteX40" fmla="*/ 2176781 w 2441576"/>
              <a:gd name="connsiteY40" fmla="*/ 900906 h 900906"/>
              <a:gd name="connsiteX41" fmla="*/ 2109259 w 2441576"/>
              <a:gd name="connsiteY41" fmla="*/ 900906 h 900906"/>
              <a:gd name="connsiteX42" fmla="*/ 1941949 w 2441576"/>
              <a:gd name="connsiteY42" fmla="*/ 900906 h 900906"/>
              <a:gd name="connsiteX43" fmla="*/ 1824412 w 2441576"/>
              <a:gd name="connsiteY43" fmla="*/ 900906 h 900906"/>
              <a:gd name="connsiteX44" fmla="*/ 1609632 w 2441576"/>
              <a:gd name="connsiteY44" fmla="*/ 900906 h 900906"/>
              <a:gd name="connsiteX45" fmla="*/ 1539566 w 2441576"/>
              <a:gd name="connsiteY45" fmla="*/ 900906 h 900906"/>
              <a:gd name="connsiteX46" fmla="*/ 1324785 w 2441576"/>
              <a:gd name="connsiteY46" fmla="*/ 900906 h 900906"/>
              <a:gd name="connsiteX47" fmla="*/ 1254721 w 2441576"/>
              <a:gd name="connsiteY47" fmla="*/ 900906 h 900906"/>
              <a:gd name="connsiteX48" fmla="*/ 1039939 w 2441576"/>
              <a:gd name="connsiteY48" fmla="*/ 900906 h 900906"/>
              <a:gd name="connsiteX49" fmla="*/ 969874 w 2441576"/>
              <a:gd name="connsiteY49" fmla="*/ 900906 h 900906"/>
              <a:gd name="connsiteX50" fmla="*/ 755093 w 2441576"/>
              <a:gd name="connsiteY50" fmla="*/ 900906 h 900906"/>
              <a:gd name="connsiteX51" fmla="*/ 685028 w 2441576"/>
              <a:gd name="connsiteY51" fmla="*/ 900906 h 900906"/>
              <a:gd name="connsiteX52" fmla="*/ 581332 w 2441576"/>
              <a:gd name="connsiteY52" fmla="*/ 900906 h 900906"/>
              <a:gd name="connsiteX53" fmla="*/ 471351 w 2441576"/>
              <a:gd name="connsiteY53" fmla="*/ 900906 h 900906"/>
              <a:gd name="connsiteX54" fmla="*/ 470246 w 2441576"/>
              <a:gd name="connsiteY54" fmla="*/ 900906 h 900906"/>
              <a:gd name="connsiteX55" fmla="*/ 377080 w 2441576"/>
              <a:gd name="connsiteY55" fmla="*/ 900906 h 900906"/>
              <a:gd name="connsiteX56" fmla="*/ 282811 w 2441576"/>
              <a:gd name="connsiteY56" fmla="*/ 900906 h 900906"/>
              <a:gd name="connsiteX57" fmla="*/ 188541 w 2441576"/>
              <a:gd name="connsiteY57" fmla="*/ 900906 h 900906"/>
              <a:gd name="connsiteX58" fmla="*/ 185400 w 2441576"/>
              <a:gd name="connsiteY58" fmla="*/ 900906 h 900906"/>
              <a:gd name="connsiteX59" fmla="*/ 94270 w 2441576"/>
              <a:gd name="connsiteY59" fmla="*/ 900906 h 900906"/>
              <a:gd name="connsiteX60" fmla="*/ 0 w 2441576"/>
              <a:gd name="connsiteY60" fmla="*/ 900906 h 900906"/>
              <a:gd name="connsiteX61" fmla="*/ 0 w 2441576"/>
              <a:gd name="connsiteY61" fmla="*/ 832298 h 900906"/>
              <a:gd name="connsiteX62" fmla="*/ 0 w 2441576"/>
              <a:gd name="connsiteY62" fmla="*/ 760260 h 900906"/>
              <a:gd name="connsiteX63" fmla="*/ 0 w 2441576"/>
              <a:gd name="connsiteY63" fmla="*/ 748854 h 900906"/>
              <a:gd name="connsiteX64" fmla="*/ 0 w 2441576"/>
              <a:gd name="connsiteY64" fmla="*/ 691652 h 900906"/>
              <a:gd name="connsiteX65" fmla="*/ 0 w 2441576"/>
              <a:gd name="connsiteY65" fmla="*/ 608208 h 900906"/>
              <a:gd name="connsiteX66" fmla="*/ 0 w 2441576"/>
              <a:gd name="connsiteY66" fmla="*/ 539600 h 900906"/>
              <a:gd name="connsiteX67" fmla="*/ 0 w 2441576"/>
              <a:gd name="connsiteY67" fmla="*/ 456156 h 900906"/>
              <a:gd name="connsiteX68" fmla="*/ 0 w 2441576"/>
              <a:gd name="connsiteY68" fmla="*/ 387548 h 900906"/>
              <a:gd name="connsiteX69" fmla="*/ 0 w 2441576"/>
              <a:gd name="connsiteY69" fmla="*/ 304104 h 900906"/>
              <a:gd name="connsiteX70" fmla="*/ 0 w 2441576"/>
              <a:gd name="connsiteY70" fmla="*/ 235496 h 900906"/>
              <a:gd name="connsiteX71" fmla="*/ 0 w 2441576"/>
              <a:gd name="connsiteY71" fmla="*/ 152052 h 900906"/>
              <a:gd name="connsiteX72" fmla="*/ 0 w 2441576"/>
              <a:gd name="connsiteY72" fmla="*/ 83444 h 900906"/>
              <a:gd name="connsiteX73" fmla="*/ 0 w 2441576"/>
              <a:gd name="connsiteY73" fmla="*/ 0 h 900906"/>
              <a:gd name="connsiteX0" fmla="*/ 0 w 2441576"/>
              <a:gd name="connsiteY0" fmla="*/ 0 h 900906"/>
              <a:gd name="connsiteX1" fmla="*/ 94270 w 2441576"/>
              <a:gd name="connsiteY1" fmla="*/ 0 h 900906"/>
              <a:gd name="connsiteX2" fmla="*/ 185400 w 2441576"/>
              <a:gd name="connsiteY2" fmla="*/ 0 h 900906"/>
              <a:gd name="connsiteX3" fmla="*/ 188541 w 2441576"/>
              <a:gd name="connsiteY3" fmla="*/ 0 h 900906"/>
              <a:gd name="connsiteX4" fmla="*/ 282811 w 2441576"/>
              <a:gd name="connsiteY4" fmla="*/ 0 h 900906"/>
              <a:gd name="connsiteX5" fmla="*/ 377080 w 2441576"/>
              <a:gd name="connsiteY5" fmla="*/ 0 h 900906"/>
              <a:gd name="connsiteX6" fmla="*/ 470246 w 2441576"/>
              <a:gd name="connsiteY6" fmla="*/ 0 h 900906"/>
              <a:gd name="connsiteX7" fmla="*/ 471351 w 2441576"/>
              <a:gd name="connsiteY7" fmla="*/ 0 h 900906"/>
              <a:gd name="connsiteX8" fmla="*/ 581332 w 2441576"/>
              <a:gd name="connsiteY8" fmla="*/ 0 h 900906"/>
              <a:gd name="connsiteX9" fmla="*/ 685028 w 2441576"/>
              <a:gd name="connsiteY9" fmla="*/ 0 h 900906"/>
              <a:gd name="connsiteX10" fmla="*/ 755093 w 2441576"/>
              <a:gd name="connsiteY10" fmla="*/ 0 h 900906"/>
              <a:gd name="connsiteX11" fmla="*/ 969874 w 2441576"/>
              <a:gd name="connsiteY11" fmla="*/ 0 h 900906"/>
              <a:gd name="connsiteX12" fmla="*/ 1039939 w 2441576"/>
              <a:gd name="connsiteY12" fmla="*/ 0 h 900906"/>
              <a:gd name="connsiteX13" fmla="*/ 1254721 w 2441576"/>
              <a:gd name="connsiteY13" fmla="*/ 0 h 900906"/>
              <a:gd name="connsiteX14" fmla="*/ 1324785 w 2441576"/>
              <a:gd name="connsiteY14" fmla="*/ 0 h 900906"/>
              <a:gd name="connsiteX15" fmla="*/ 1539566 w 2441576"/>
              <a:gd name="connsiteY15" fmla="*/ 0 h 900906"/>
              <a:gd name="connsiteX16" fmla="*/ 1609632 w 2441576"/>
              <a:gd name="connsiteY16" fmla="*/ 0 h 900906"/>
              <a:gd name="connsiteX17" fmla="*/ 1824412 w 2441576"/>
              <a:gd name="connsiteY17" fmla="*/ 0 h 900906"/>
              <a:gd name="connsiteX18" fmla="*/ 1941949 w 2441576"/>
              <a:gd name="connsiteY18" fmla="*/ 0 h 900906"/>
              <a:gd name="connsiteX19" fmla="*/ 2094866 w 2441576"/>
              <a:gd name="connsiteY19" fmla="*/ 0 h 900906"/>
              <a:gd name="connsiteX20" fmla="*/ 2176781 w 2441576"/>
              <a:gd name="connsiteY20" fmla="*/ 0 h 900906"/>
              <a:gd name="connsiteX21" fmla="*/ 2258696 w 2441576"/>
              <a:gd name="connsiteY21" fmla="*/ 0 h 900906"/>
              <a:gd name="connsiteX22" fmla="*/ 2321561 w 2441576"/>
              <a:gd name="connsiteY22" fmla="*/ 0 h 900906"/>
              <a:gd name="connsiteX23" fmla="*/ 2441576 w 2441576"/>
              <a:gd name="connsiteY23" fmla="*/ 0 h 900906"/>
              <a:gd name="connsiteX24" fmla="*/ 2441576 w 2441576"/>
              <a:gd name="connsiteY24" fmla="*/ 83444 h 900906"/>
              <a:gd name="connsiteX25" fmla="*/ 2441576 w 2441576"/>
              <a:gd name="connsiteY25" fmla="*/ 152052 h 900906"/>
              <a:gd name="connsiteX26" fmla="*/ 2441576 w 2441576"/>
              <a:gd name="connsiteY26" fmla="*/ 235496 h 900906"/>
              <a:gd name="connsiteX27" fmla="*/ 2441576 w 2441576"/>
              <a:gd name="connsiteY27" fmla="*/ 304104 h 900906"/>
              <a:gd name="connsiteX28" fmla="*/ 2441576 w 2441576"/>
              <a:gd name="connsiteY28" fmla="*/ 387548 h 900906"/>
              <a:gd name="connsiteX29" fmla="*/ 2441576 w 2441576"/>
              <a:gd name="connsiteY29" fmla="*/ 456156 h 900906"/>
              <a:gd name="connsiteX30" fmla="*/ 2441576 w 2441576"/>
              <a:gd name="connsiteY30" fmla="*/ 539600 h 900906"/>
              <a:gd name="connsiteX31" fmla="*/ 2441576 w 2441576"/>
              <a:gd name="connsiteY31" fmla="*/ 608208 h 900906"/>
              <a:gd name="connsiteX32" fmla="*/ 2441576 w 2441576"/>
              <a:gd name="connsiteY32" fmla="*/ 691652 h 900906"/>
              <a:gd name="connsiteX33" fmla="*/ 2441576 w 2441576"/>
              <a:gd name="connsiteY33" fmla="*/ 748854 h 900906"/>
              <a:gd name="connsiteX34" fmla="*/ 2441576 w 2441576"/>
              <a:gd name="connsiteY34" fmla="*/ 760260 h 900906"/>
              <a:gd name="connsiteX35" fmla="*/ 2441576 w 2441576"/>
              <a:gd name="connsiteY35" fmla="*/ 832298 h 900906"/>
              <a:gd name="connsiteX36" fmla="*/ 2441576 w 2441576"/>
              <a:gd name="connsiteY36" fmla="*/ 900906 h 900906"/>
              <a:gd name="connsiteX37" fmla="*/ 2321561 w 2441576"/>
              <a:gd name="connsiteY37" fmla="*/ 900906 h 900906"/>
              <a:gd name="connsiteX38" fmla="*/ 2239646 w 2441576"/>
              <a:gd name="connsiteY38" fmla="*/ 900906 h 900906"/>
              <a:gd name="connsiteX39" fmla="*/ 2176781 w 2441576"/>
              <a:gd name="connsiteY39" fmla="*/ 900906 h 900906"/>
              <a:gd name="connsiteX40" fmla="*/ 2109259 w 2441576"/>
              <a:gd name="connsiteY40" fmla="*/ 900906 h 900906"/>
              <a:gd name="connsiteX41" fmla="*/ 1941949 w 2441576"/>
              <a:gd name="connsiteY41" fmla="*/ 900906 h 900906"/>
              <a:gd name="connsiteX42" fmla="*/ 1824412 w 2441576"/>
              <a:gd name="connsiteY42" fmla="*/ 900906 h 900906"/>
              <a:gd name="connsiteX43" fmla="*/ 1609632 w 2441576"/>
              <a:gd name="connsiteY43" fmla="*/ 900906 h 900906"/>
              <a:gd name="connsiteX44" fmla="*/ 1539566 w 2441576"/>
              <a:gd name="connsiteY44" fmla="*/ 900906 h 900906"/>
              <a:gd name="connsiteX45" fmla="*/ 1324785 w 2441576"/>
              <a:gd name="connsiteY45" fmla="*/ 900906 h 900906"/>
              <a:gd name="connsiteX46" fmla="*/ 1254721 w 2441576"/>
              <a:gd name="connsiteY46" fmla="*/ 900906 h 900906"/>
              <a:gd name="connsiteX47" fmla="*/ 1039939 w 2441576"/>
              <a:gd name="connsiteY47" fmla="*/ 900906 h 900906"/>
              <a:gd name="connsiteX48" fmla="*/ 969874 w 2441576"/>
              <a:gd name="connsiteY48" fmla="*/ 900906 h 900906"/>
              <a:gd name="connsiteX49" fmla="*/ 755093 w 2441576"/>
              <a:gd name="connsiteY49" fmla="*/ 900906 h 900906"/>
              <a:gd name="connsiteX50" fmla="*/ 685028 w 2441576"/>
              <a:gd name="connsiteY50" fmla="*/ 900906 h 900906"/>
              <a:gd name="connsiteX51" fmla="*/ 581332 w 2441576"/>
              <a:gd name="connsiteY51" fmla="*/ 900906 h 900906"/>
              <a:gd name="connsiteX52" fmla="*/ 471351 w 2441576"/>
              <a:gd name="connsiteY52" fmla="*/ 900906 h 900906"/>
              <a:gd name="connsiteX53" fmla="*/ 470246 w 2441576"/>
              <a:gd name="connsiteY53" fmla="*/ 900906 h 900906"/>
              <a:gd name="connsiteX54" fmla="*/ 377080 w 2441576"/>
              <a:gd name="connsiteY54" fmla="*/ 900906 h 900906"/>
              <a:gd name="connsiteX55" fmla="*/ 282811 w 2441576"/>
              <a:gd name="connsiteY55" fmla="*/ 900906 h 900906"/>
              <a:gd name="connsiteX56" fmla="*/ 188541 w 2441576"/>
              <a:gd name="connsiteY56" fmla="*/ 900906 h 900906"/>
              <a:gd name="connsiteX57" fmla="*/ 185400 w 2441576"/>
              <a:gd name="connsiteY57" fmla="*/ 900906 h 900906"/>
              <a:gd name="connsiteX58" fmla="*/ 94270 w 2441576"/>
              <a:gd name="connsiteY58" fmla="*/ 900906 h 900906"/>
              <a:gd name="connsiteX59" fmla="*/ 0 w 2441576"/>
              <a:gd name="connsiteY59" fmla="*/ 900906 h 900906"/>
              <a:gd name="connsiteX60" fmla="*/ 0 w 2441576"/>
              <a:gd name="connsiteY60" fmla="*/ 832298 h 900906"/>
              <a:gd name="connsiteX61" fmla="*/ 0 w 2441576"/>
              <a:gd name="connsiteY61" fmla="*/ 760260 h 900906"/>
              <a:gd name="connsiteX62" fmla="*/ 0 w 2441576"/>
              <a:gd name="connsiteY62" fmla="*/ 748854 h 900906"/>
              <a:gd name="connsiteX63" fmla="*/ 0 w 2441576"/>
              <a:gd name="connsiteY63" fmla="*/ 691652 h 900906"/>
              <a:gd name="connsiteX64" fmla="*/ 0 w 2441576"/>
              <a:gd name="connsiteY64" fmla="*/ 608208 h 900906"/>
              <a:gd name="connsiteX65" fmla="*/ 0 w 2441576"/>
              <a:gd name="connsiteY65" fmla="*/ 539600 h 900906"/>
              <a:gd name="connsiteX66" fmla="*/ 0 w 2441576"/>
              <a:gd name="connsiteY66" fmla="*/ 456156 h 900906"/>
              <a:gd name="connsiteX67" fmla="*/ 0 w 2441576"/>
              <a:gd name="connsiteY67" fmla="*/ 387548 h 900906"/>
              <a:gd name="connsiteX68" fmla="*/ 0 w 2441576"/>
              <a:gd name="connsiteY68" fmla="*/ 304104 h 900906"/>
              <a:gd name="connsiteX69" fmla="*/ 0 w 2441576"/>
              <a:gd name="connsiteY69" fmla="*/ 235496 h 900906"/>
              <a:gd name="connsiteX70" fmla="*/ 0 w 2441576"/>
              <a:gd name="connsiteY70" fmla="*/ 152052 h 900906"/>
              <a:gd name="connsiteX71" fmla="*/ 0 w 2441576"/>
              <a:gd name="connsiteY71" fmla="*/ 83444 h 900906"/>
              <a:gd name="connsiteX72" fmla="*/ 0 w 2441576"/>
              <a:gd name="connsiteY72" fmla="*/ 0 h 900906"/>
              <a:gd name="connsiteX0" fmla="*/ 0 w 2441576"/>
              <a:gd name="connsiteY0" fmla="*/ 0 h 900906"/>
              <a:gd name="connsiteX1" fmla="*/ 94270 w 2441576"/>
              <a:gd name="connsiteY1" fmla="*/ 0 h 900906"/>
              <a:gd name="connsiteX2" fmla="*/ 185400 w 2441576"/>
              <a:gd name="connsiteY2" fmla="*/ 0 h 900906"/>
              <a:gd name="connsiteX3" fmla="*/ 188541 w 2441576"/>
              <a:gd name="connsiteY3" fmla="*/ 0 h 900906"/>
              <a:gd name="connsiteX4" fmla="*/ 282811 w 2441576"/>
              <a:gd name="connsiteY4" fmla="*/ 0 h 900906"/>
              <a:gd name="connsiteX5" fmla="*/ 377080 w 2441576"/>
              <a:gd name="connsiteY5" fmla="*/ 0 h 900906"/>
              <a:gd name="connsiteX6" fmla="*/ 470246 w 2441576"/>
              <a:gd name="connsiteY6" fmla="*/ 0 h 900906"/>
              <a:gd name="connsiteX7" fmla="*/ 471351 w 2441576"/>
              <a:gd name="connsiteY7" fmla="*/ 0 h 900906"/>
              <a:gd name="connsiteX8" fmla="*/ 581332 w 2441576"/>
              <a:gd name="connsiteY8" fmla="*/ 0 h 900906"/>
              <a:gd name="connsiteX9" fmla="*/ 685028 w 2441576"/>
              <a:gd name="connsiteY9" fmla="*/ 0 h 900906"/>
              <a:gd name="connsiteX10" fmla="*/ 755093 w 2441576"/>
              <a:gd name="connsiteY10" fmla="*/ 0 h 900906"/>
              <a:gd name="connsiteX11" fmla="*/ 969874 w 2441576"/>
              <a:gd name="connsiteY11" fmla="*/ 0 h 900906"/>
              <a:gd name="connsiteX12" fmla="*/ 1039939 w 2441576"/>
              <a:gd name="connsiteY12" fmla="*/ 0 h 900906"/>
              <a:gd name="connsiteX13" fmla="*/ 1254721 w 2441576"/>
              <a:gd name="connsiteY13" fmla="*/ 0 h 900906"/>
              <a:gd name="connsiteX14" fmla="*/ 1324785 w 2441576"/>
              <a:gd name="connsiteY14" fmla="*/ 0 h 900906"/>
              <a:gd name="connsiteX15" fmla="*/ 1539566 w 2441576"/>
              <a:gd name="connsiteY15" fmla="*/ 0 h 900906"/>
              <a:gd name="connsiteX16" fmla="*/ 1609632 w 2441576"/>
              <a:gd name="connsiteY16" fmla="*/ 0 h 900906"/>
              <a:gd name="connsiteX17" fmla="*/ 1824412 w 2441576"/>
              <a:gd name="connsiteY17" fmla="*/ 0 h 900906"/>
              <a:gd name="connsiteX18" fmla="*/ 1941949 w 2441576"/>
              <a:gd name="connsiteY18" fmla="*/ 0 h 900906"/>
              <a:gd name="connsiteX19" fmla="*/ 2094866 w 2441576"/>
              <a:gd name="connsiteY19" fmla="*/ 0 h 900906"/>
              <a:gd name="connsiteX20" fmla="*/ 2176781 w 2441576"/>
              <a:gd name="connsiteY20" fmla="*/ 0 h 900906"/>
              <a:gd name="connsiteX21" fmla="*/ 2258696 w 2441576"/>
              <a:gd name="connsiteY21" fmla="*/ 0 h 900906"/>
              <a:gd name="connsiteX22" fmla="*/ 2321561 w 2441576"/>
              <a:gd name="connsiteY22" fmla="*/ 0 h 900906"/>
              <a:gd name="connsiteX23" fmla="*/ 2441576 w 2441576"/>
              <a:gd name="connsiteY23" fmla="*/ 0 h 900906"/>
              <a:gd name="connsiteX24" fmla="*/ 2441576 w 2441576"/>
              <a:gd name="connsiteY24" fmla="*/ 83444 h 900906"/>
              <a:gd name="connsiteX25" fmla="*/ 2441576 w 2441576"/>
              <a:gd name="connsiteY25" fmla="*/ 152052 h 900906"/>
              <a:gd name="connsiteX26" fmla="*/ 2441576 w 2441576"/>
              <a:gd name="connsiteY26" fmla="*/ 235496 h 900906"/>
              <a:gd name="connsiteX27" fmla="*/ 2441576 w 2441576"/>
              <a:gd name="connsiteY27" fmla="*/ 304104 h 900906"/>
              <a:gd name="connsiteX28" fmla="*/ 2441576 w 2441576"/>
              <a:gd name="connsiteY28" fmla="*/ 387548 h 900906"/>
              <a:gd name="connsiteX29" fmla="*/ 2441576 w 2441576"/>
              <a:gd name="connsiteY29" fmla="*/ 456156 h 900906"/>
              <a:gd name="connsiteX30" fmla="*/ 2441576 w 2441576"/>
              <a:gd name="connsiteY30" fmla="*/ 539600 h 900906"/>
              <a:gd name="connsiteX31" fmla="*/ 2441576 w 2441576"/>
              <a:gd name="connsiteY31" fmla="*/ 608208 h 900906"/>
              <a:gd name="connsiteX32" fmla="*/ 2441576 w 2441576"/>
              <a:gd name="connsiteY32" fmla="*/ 691652 h 900906"/>
              <a:gd name="connsiteX33" fmla="*/ 2441576 w 2441576"/>
              <a:gd name="connsiteY33" fmla="*/ 760260 h 900906"/>
              <a:gd name="connsiteX34" fmla="*/ 2441576 w 2441576"/>
              <a:gd name="connsiteY34" fmla="*/ 832298 h 900906"/>
              <a:gd name="connsiteX35" fmla="*/ 2441576 w 2441576"/>
              <a:gd name="connsiteY35" fmla="*/ 900906 h 900906"/>
              <a:gd name="connsiteX36" fmla="*/ 2321561 w 2441576"/>
              <a:gd name="connsiteY36" fmla="*/ 900906 h 900906"/>
              <a:gd name="connsiteX37" fmla="*/ 2239646 w 2441576"/>
              <a:gd name="connsiteY37" fmla="*/ 900906 h 900906"/>
              <a:gd name="connsiteX38" fmla="*/ 2176781 w 2441576"/>
              <a:gd name="connsiteY38" fmla="*/ 900906 h 900906"/>
              <a:gd name="connsiteX39" fmla="*/ 2109259 w 2441576"/>
              <a:gd name="connsiteY39" fmla="*/ 900906 h 900906"/>
              <a:gd name="connsiteX40" fmla="*/ 1941949 w 2441576"/>
              <a:gd name="connsiteY40" fmla="*/ 900906 h 900906"/>
              <a:gd name="connsiteX41" fmla="*/ 1824412 w 2441576"/>
              <a:gd name="connsiteY41" fmla="*/ 900906 h 900906"/>
              <a:gd name="connsiteX42" fmla="*/ 1609632 w 2441576"/>
              <a:gd name="connsiteY42" fmla="*/ 900906 h 900906"/>
              <a:gd name="connsiteX43" fmla="*/ 1539566 w 2441576"/>
              <a:gd name="connsiteY43" fmla="*/ 900906 h 900906"/>
              <a:gd name="connsiteX44" fmla="*/ 1324785 w 2441576"/>
              <a:gd name="connsiteY44" fmla="*/ 900906 h 900906"/>
              <a:gd name="connsiteX45" fmla="*/ 1254721 w 2441576"/>
              <a:gd name="connsiteY45" fmla="*/ 900906 h 900906"/>
              <a:gd name="connsiteX46" fmla="*/ 1039939 w 2441576"/>
              <a:gd name="connsiteY46" fmla="*/ 900906 h 900906"/>
              <a:gd name="connsiteX47" fmla="*/ 969874 w 2441576"/>
              <a:gd name="connsiteY47" fmla="*/ 900906 h 900906"/>
              <a:gd name="connsiteX48" fmla="*/ 755093 w 2441576"/>
              <a:gd name="connsiteY48" fmla="*/ 900906 h 900906"/>
              <a:gd name="connsiteX49" fmla="*/ 685028 w 2441576"/>
              <a:gd name="connsiteY49" fmla="*/ 900906 h 900906"/>
              <a:gd name="connsiteX50" fmla="*/ 581332 w 2441576"/>
              <a:gd name="connsiteY50" fmla="*/ 900906 h 900906"/>
              <a:gd name="connsiteX51" fmla="*/ 471351 w 2441576"/>
              <a:gd name="connsiteY51" fmla="*/ 900906 h 900906"/>
              <a:gd name="connsiteX52" fmla="*/ 470246 w 2441576"/>
              <a:gd name="connsiteY52" fmla="*/ 900906 h 900906"/>
              <a:gd name="connsiteX53" fmla="*/ 377080 w 2441576"/>
              <a:gd name="connsiteY53" fmla="*/ 900906 h 900906"/>
              <a:gd name="connsiteX54" fmla="*/ 282811 w 2441576"/>
              <a:gd name="connsiteY54" fmla="*/ 900906 h 900906"/>
              <a:gd name="connsiteX55" fmla="*/ 188541 w 2441576"/>
              <a:gd name="connsiteY55" fmla="*/ 900906 h 900906"/>
              <a:gd name="connsiteX56" fmla="*/ 185400 w 2441576"/>
              <a:gd name="connsiteY56" fmla="*/ 900906 h 900906"/>
              <a:gd name="connsiteX57" fmla="*/ 94270 w 2441576"/>
              <a:gd name="connsiteY57" fmla="*/ 900906 h 900906"/>
              <a:gd name="connsiteX58" fmla="*/ 0 w 2441576"/>
              <a:gd name="connsiteY58" fmla="*/ 900906 h 900906"/>
              <a:gd name="connsiteX59" fmla="*/ 0 w 2441576"/>
              <a:gd name="connsiteY59" fmla="*/ 832298 h 900906"/>
              <a:gd name="connsiteX60" fmla="*/ 0 w 2441576"/>
              <a:gd name="connsiteY60" fmla="*/ 760260 h 900906"/>
              <a:gd name="connsiteX61" fmla="*/ 0 w 2441576"/>
              <a:gd name="connsiteY61" fmla="*/ 748854 h 900906"/>
              <a:gd name="connsiteX62" fmla="*/ 0 w 2441576"/>
              <a:gd name="connsiteY62" fmla="*/ 691652 h 900906"/>
              <a:gd name="connsiteX63" fmla="*/ 0 w 2441576"/>
              <a:gd name="connsiteY63" fmla="*/ 608208 h 900906"/>
              <a:gd name="connsiteX64" fmla="*/ 0 w 2441576"/>
              <a:gd name="connsiteY64" fmla="*/ 539600 h 900906"/>
              <a:gd name="connsiteX65" fmla="*/ 0 w 2441576"/>
              <a:gd name="connsiteY65" fmla="*/ 456156 h 900906"/>
              <a:gd name="connsiteX66" fmla="*/ 0 w 2441576"/>
              <a:gd name="connsiteY66" fmla="*/ 387548 h 900906"/>
              <a:gd name="connsiteX67" fmla="*/ 0 w 2441576"/>
              <a:gd name="connsiteY67" fmla="*/ 304104 h 900906"/>
              <a:gd name="connsiteX68" fmla="*/ 0 w 2441576"/>
              <a:gd name="connsiteY68" fmla="*/ 235496 h 900906"/>
              <a:gd name="connsiteX69" fmla="*/ 0 w 2441576"/>
              <a:gd name="connsiteY69" fmla="*/ 152052 h 900906"/>
              <a:gd name="connsiteX70" fmla="*/ 0 w 2441576"/>
              <a:gd name="connsiteY70" fmla="*/ 83444 h 900906"/>
              <a:gd name="connsiteX71" fmla="*/ 0 w 2441576"/>
              <a:gd name="connsiteY71" fmla="*/ 0 h 900906"/>
              <a:gd name="connsiteX0" fmla="*/ 0 w 2441576"/>
              <a:gd name="connsiteY0" fmla="*/ 0 h 900906"/>
              <a:gd name="connsiteX1" fmla="*/ 94270 w 2441576"/>
              <a:gd name="connsiteY1" fmla="*/ 0 h 900906"/>
              <a:gd name="connsiteX2" fmla="*/ 185400 w 2441576"/>
              <a:gd name="connsiteY2" fmla="*/ 0 h 900906"/>
              <a:gd name="connsiteX3" fmla="*/ 188541 w 2441576"/>
              <a:gd name="connsiteY3" fmla="*/ 0 h 900906"/>
              <a:gd name="connsiteX4" fmla="*/ 282811 w 2441576"/>
              <a:gd name="connsiteY4" fmla="*/ 0 h 900906"/>
              <a:gd name="connsiteX5" fmla="*/ 377080 w 2441576"/>
              <a:gd name="connsiteY5" fmla="*/ 0 h 900906"/>
              <a:gd name="connsiteX6" fmla="*/ 470246 w 2441576"/>
              <a:gd name="connsiteY6" fmla="*/ 0 h 900906"/>
              <a:gd name="connsiteX7" fmla="*/ 471351 w 2441576"/>
              <a:gd name="connsiteY7" fmla="*/ 0 h 900906"/>
              <a:gd name="connsiteX8" fmla="*/ 581332 w 2441576"/>
              <a:gd name="connsiteY8" fmla="*/ 0 h 900906"/>
              <a:gd name="connsiteX9" fmla="*/ 685028 w 2441576"/>
              <a:gd name="connsiteY9" fmla="*/ 0 h 900906"/>
              <a:gd name="connsiteX10" fmla="*/ 755093 w 2441576"/>
              <a:gd name="connsiteY10" fmla="*/ 0 h 900906"/>
              <a:gd name="connsiteX11" fmla="*/ 969874 w 2441576"/>
              <a:gd name="connsiteY11" fmla="*/ 0 h 900906"/>
              <a:gd name="connsiteX12" fmla="*/ 1039939 w 2441576"/>
              <a:gd name="connsiteY12" fmla="*/ 0 h 900906"/>
              <a:gd name="connsiteX13" fmla="*/ 1254721 w 2441576"/>
              <a:gd name="connsiteY13" fmla="*/ 0 h 900906"/>
              <a:gd name="connsiteX14" fmla="*/ 1324785 w 2441576"/>
              <a:gd name="connsiteY14" fmla="*/ 0 h 900906"/>
              <a:gd name="connsiteX15" fmla="*/ 1539566 w 2441576"/>
              <a:gd name="connsiteY15" fmla="*/ 0 h 900906"/>
              <a:gd name="connsiteX16" fmla="*/ 1609632 w 2441576"/>
              <a:gd name="connsiteY16" fmla="*/ 0 h 900906"/>
              <a:gd name="connsiteX17" fmla="*/ 1824412 w 2441576"/>
              <a:gd name="connsiteY17" fmla="*/ 0 h 900906"/>
              <a:gd name="connsiteX18" fmla="*/ 1941949 w 2441576"/>
              <a:gd name="connsiteY18" fmla="*/ 0 h 900906"/>
              <a:gd name="connsiteX19" fmla="*/ 2094866 w 2441576"/>
              <a:gd name="connsiteY19" fmla="*/ 0 h 900906"/>
              <a:gd name="connsiteX20" fmla="*/ 2176781 w 2441576"/>
              <a:gd name="connsiteY20" fmla="*/ 0 h 900906"/>
              <a:gd name="connsiteX21" fmla="*/ 2258696 w 2441576"/>
              <a:gd name="connsiteY21" fmla="*/ 0 h 900906"/>
              <a:gd name="connsiteX22" fmla="*/ 2321561 w 2441576"/>
              <a:gd name="connsiteY22" fmla="*/ 0 h 900906"/>
              <a:gd name="connsiteX23" fmla="*/ 2441576 w 2441576"/>
              <a:gd name="connsiteY23" fmla="*/ 0 h 900906"/>
              <a:gd name="connsiteX24" fmla="*/ 2441576 w 2441576"/>
              <a:gd name="connsiteY24" fmla="*/ 83444 h 900906"/>
              <a:gd name="connsiteX25" fmla="*/ 2441576 w 2441576"/>
              <a:gd name="connsiteY25" fmla="*/ 152052 h 900906"/>
              <a:gd name="connsiteX26" fmla="*/ 2441576 w 2441576"/>
              <a:gd name="connsiteY26" fmla="*/ 235496 h 900906"/>
              <a:gd name="connsiteX27" fmla="*/ 2441576 w 2441576"/>
              <a:gd name="connsiteY27" fmla="*/ 304104 h 900906"/>
              <a:gd name="connsiteX28" fmla="*/ 2441576 w 2441576"/>
              <a:gd name="connsiteY28" fmla="*/ 387548 h 900906"/>
              <a:gd name="connsiteX29" fmla="*/ 2441576 w 2441576"/>
              <a:gd name="connsiteY29" fmla="*/ 456156 h 900906"/>
              <a:gd name="connsiteX30" fmla="*/ 2441576 w 2441576"/>
              <a:gd name="connsiteY30" fmla="*/ 539600 h 900906"/>
              <a:gd name="connsiteX31" fmla="*/ 2441576 w 2441576"/>
              <a:gd name="connsiteY31" fmla="*/ 608208 h 900906"/>
              <a:gd name="connsiteX32" fmla="*/ 2441576 w 2441576"/>
              <a:gd name="connsiteY32" fmla="*/ 691652 h 900906"/>
              <a:gd name="connsiteX33" fmla="*/ 2441576 w 2441576"/>
              <a:gd name="connsiteY33" fmla="*/ 760260 h 900906"/>
              <a:gd name="connsiteX34" fmla="*/ 2441576 w 2441576"/>
              <a:gd name="connsiteY34" fmla="*/ 832298 h 900906"/>
              <a:gd name="connsiteX35" fmla="*/ 2441576 w 2441576"/>
              <a:gd name="connsiteY35" fmla="*/ 900906 h 900906"/>
              <a:gd name="connsiteX36" fmla="*/ 2321561 w 2441576"/>
              <a:gd name="connsiteY36" fmla="*/ 900906 h 900906"/>
              <a:gd name="connsiteX37" fmla="*/ 2239646 w 2441576"/>
              <a:gd name="connsiteY37" fmla="*/ 900906 h 900906"/>
              <a:gd name="connsiteX38" fmla="*/ 2176781 w 2441576"/>
              <a:gd name="connsiteY38" fmla="*/ 900906 h 900906"/>
              <a:gd name="connsiteX39" fmla="*/ 2109259 w 2441576"/>
              <a:gd name="connsiteY39" fmla="*/ 900906 h 900906"/>
              <a:gd name="connsiteX40" fmla="*/ 1941949 w 2441576"/>
              <a:gd name="connsiteY40" fmla="*/ 900906 h 900906"/>
              <a:gd name="connsiteX41" fmla="*/ 1824412 w 2441576"/>
              <a:gd name="connsiteY41" fmla="*/ 900906 h 900906"/>
              <a:gd name="connsiteX42" fmla="*/ 1609632 w 2441576"/>
              <a:gd name="connsiteY42" fmla="*/ 900906 h 900906"/>
              <a:gd name="connsiteX43" fmla="*/ 1539566 w 2441576"/>
              <a:gd name="connsiteY43" fmla="*/ 900906 h 900906"/>
              <a:gd name="connsiteX44" fmla="*/ 1324785 w 2441576"/>
              <a:gd name="connsiteY44" fmla="*/ 900906 h 900906"/>
              <a:gd name="connsiteX45" fmla="*/ 1254721 w 2441576"/>
              <a:gd name="connsiteY45" fmla="*/ 900906 h 900906"/>
              <a:gd name="connsiteX46" fmla="*/ 1039939 w 2441576"/>
              <a:gd name="connsiteY46" fmla="*/ 900906 h 900906"/>
              <a:gd name="connsiteX47" fmla="*/ 969874 w 2441576"/>
              <a:gd name="connsiteY47" fmla="*/ 900906 h 900906"/>
              <a:gd name="connsiteX48" fmla="*/ 755093 w 2441576"/>
              <a:gd name="connsiteY48" fmla="*/ 900906 h 900906"/>
              <a:gd name="connsiteX49" fmla="*/ 685028 w 2441576"/>
              <a:gd name="connsiteY49" fmla="*/ 900906 h 900906"/>
              <a:gd name="connsiteX50" fmla="*/ 581332 w 2441576"/>
              <a:gd name="connsiteY50" fmla="*/ 900906 h 900906"/>
              <a:gd name="connsiteX51" fmla="*/ 471351 w 2441576"/>
              <a:gd name="connsiteY51" fmla="*/ 900906 h 900906"/>
              <a:gd name="connsiteX52" fmla="*/ 470246 w 2441576"/>
              <a:gd name="connsiteY52" fmla="*/ 900906 h 900906"/>
              <a:gd name="connsiteX53" fmla="*/ 377080 w 2441576"/>
              <a:gd name="connsiteY53" fmla="*/ 900906 h 900906"/>
              <a:gd name="connsiteX54" fmla="*/ 282811 w 2441576"/>
              <a:gd name="connsiteY54" fmla="*/ 900906 h 900906"/>
              <a:gd name="connsiteX55" fmla="*/ 188541 w 2441576"/>
              <a:gd name="connsiteY55" fmla="*/ 900906 h 900906"/>
              <a:gd name="connsiteX56" fmla="*/ 185400 w 2441576"/>
              <a:gd name="connsiteY56" fmla="*/ 900906 h 900906"/>
              <a:gd name="connsiteX57" fmla="*/ 94270 w 2441576"/>
              <a:gd name="connsiteY57" fmla="*/ 900906 h 900906"/>
              <a:gd name="connsiteX58" fmla="*/ 0 w 2441576"/>
              <a:gd name="connsiteY58" fmla="*/ 900906 h 900906"/>
              <a:gd name="connsiteX59" fmla="*/ 0 w 2441576"/>
              <a:gd name="connsiteY59" fmla="*/ 832298 h 900906"/>
              <a:gd name="connsiteX60" fmla="*/ 0 w 2441576"/>
              <a:gd name="connsiteY60" fmla="*/ 760260 h 900906"/>
              <a:gd name="connsiteX61" fmla="*/ 0 w 2441576"/>
              <a:gd name="connsiteY61" fmla="*/ 691652 h 900906"/>
              <a:gd name="connsiteX62" fmla="*/ 0 w 2441576"/>
              <a:gd name="connsiteY62" fmla="*/ 608208 h 900906"/>
              <a:gd name="connsiteX63" fmla="*/ 0 w 2441576"/>
              <a:gd name="connsiteY63" fmla="*/ 539600 h 900906"/>
              <a:gd name="connsiteX64" fmla="*/ 0 w 2441576"/>
              <a:gd name="connsiteY64" fmla="*/ 456156 h 900906"/>
              <a:gd name="connsiteX65" fmla="*/ 0 w 2441576"/>
              <a:gd name="connsiteY65" fmla="*/ 387548 h 900906"/>
              <a:gd name="connsiteX66" fmla="*/ 0 w 2441576"/>
              <a:gd name="connsiteY66" fmla="*/ 304104 h 900906"/>
              <a:gd name="connsiteX67" fmla="*/ 0 w 2441576"/>
              <a:gd name="connsiteY67" fmla="*/ 235496 h 900906"/>
              <a:gd name="connsiteX68" fmla="*/ 0 w 2441576"/>
              <a:gd name="connsiteY68" fmla="*/ 152052 h 900906"/>
              <a:gd name="connsiteX69" fmla="*/ 0 w 2441576"/>
              <a:gd name="connsiteY69" fmla="*/ 83444 h 900906"/>
              <a:gd name="connsiteX70" fmla="*/ 0 w 2441576"/>
              <a:gd name="connsiteY70" fmla="*/ 0 h 900906"/>
              <a:gd name="connsiteX0" fmla="*/ 0 w 2441576"/>
              <a:gd name="connsiteY0" fmla="*/ 247 h 901153"/>
              <a:gd name="connsiteX1" fmla="*/ 94270 w 2441576"/>
              <a:gd name="connsiteY1" fmla="*/ 247 h 901153"/>
              <a:gd name="connsiteX2" fmla="*/ 185400 w 2441576"/>
              <a:gd name="connsiteY2" fmla="*/ 247 h 901153"/>
              <a:gd name="connsiteX3" fmla="*/ 188541 w 2441576"/>
              <a:gd name="connsiteY3" fmla="*/ 247 h 901153"/>
              <a:gd name="connsiteX4" fmla="*/ 282811 w 2441576"/>
              <a:gd name="connsiteY4" fmla="*/ 247 h 901153"/>
              <a:gd name="connsiteX5" fmla="*/ 377080 w 2441576"/>
              <a:gd name="connsiteY5" fmla="*/ 247 h 901153"/>
              <a:gd name="connsiteX6" fmla="*/ 470246 w 2441576"/>
              <a:gd name="connsiteY6" fmla="*/ 247 h 901153"/>
              <a:gd name="connsiteX7" fmla="*/ 471351 w 2441576"/>
              <a:gd name="connsiteY7" fmla="*/ 247 h 901153"/>
              <a:gd name="connsiteX8" fmla="*/ 581332 w 2441576"/>
              <a:gd name="connsiteY8" fmla="*/ 247 h 901153"/>
              <a:gd name="connsiteX9" fmla="*/ 685028 w 2441576"/>
              <a:gd name="connsiteY9" fmla="*/ 247 h 901153"/>
              <a:gd name="connsiteX10" fmla="*/ 755093 w 2441576"/>
              <a:gd name="connsiteY10" fmla="*/ 247 h 901153"/>
              <a:gd name="connsiteX11" fmla="*/ 969874 w 2441576"/>
              <a:gd name="connsiteY11" fmla="*/ 247 h 901153"/>
              <a:gd name="connsiteX12" fmla="*/ 1039939 w 2441576"/>
              <a:gd name="connsiteY12" fmla="*/ 247 h 901153"/>
              <a:gd name="connsiteX13" fmla="*/ 1254721 w 2441576"/>
              <a:gd name="connsiteY13" fmla="*/ 247 h 901153"/>
              <a:gd name="connsiteX14" fmla="*/ 1324785 w 2441576"/>
              <a:gd name="connsiteY14" fmla="*/ 247 h 901153"/>
              <a:gd name="connsiteX15" fmla="*/ 1430031 w 2441576"/>
              <a:gd name="connsiteY15" fmla="*/ 0 h 901153"/>
              <a:gd name="connsiteX16" fmla="*/ 1539566 w 2441576"/>
              <a:gd name="connsiteY16" fmla="*/ 247 h 901153"/>
              <a:gd name="connsiteX17" fmla="*/ 1609632 w 2441576"/>
              <a:gd name="connsiteY17" fmla="*/ 247 h 901153"/>
              <a:gd name="connsiteX18" fmla="*/ 1824412 w 2441576"/>
              <a:gd name="connsiteY18" fmla="*/ 247 h 901153"/>
              <a:gd name="connsiteX19" fmla="*/ 1941949 w 2441576"/>
              <a:gd name="connsiteY19" fmla="*/ 247 h 901153"/>
              <a:gd name="connsiteX20" fmla="*/ 2094866 w 2441576"/>
              <a:gd name="connsiteY20" fmla="*/ 247 h 901153"/>
              <a:gd name="connsiteX21" fmla="*/ 2176781 w 2441576"/>
              <a:gd name="connsiteY21" fmla="*/ 247 h 901153"/>
              <a:gd name="connsiteX22" fmla="*/ 2258696 w 2441576"/>
              <a:gd name="connsiteY22" fmla="*/ 247 h 901153"/>
              <a:gd name="connsiteX23" fmla="*/ 2321561 w 2441576"/>
              <a:gd name="connsiteY23" fmla="*/ 247 h 901153"/>
              <a:gd name="connsiteX24" fmla="*/ 2441576 w 2441576"/>
              <a:gd name="connsiteY24" fmla="*/ 247 h 901153"/>
              <a:gd name="connsiteX25" fmla="*/ 2441576 w 2441576"/>
              <a:gd name="connsiteY25" fmla="*/ 83691 h 901153"/>
              <a:gd name="connsiteX26" fmla="*/ 2441576 w 2441576"/>
              <a:gd name="connsiteY26" fmla="*/ 152299 h 901153"/>
              <a:gd name="connsiteX27" fmla="*/ 2441576 w 2441576"/>
              <a:gd name="connsiteY27" fmla="*/ 235743 h 901153"/>
              <a:gd name="connsiteX28" fmla="*/ 2441576 w 2441576"/>
              <a:gd name="connsiteY28" fmla="*/ 304351 h 901153"/>
              <a:gd name="connsiteX29" fmla="*/ 2441576 w 2441576"/>
              <a:gd name="connsiteY29" fmla="*/ 387795 h 901153"/>
              <a:gd name="connsiteX30" fmla="*/ 2441576 w 2441576"/>
              <a:gd name="connsiteY30" fmla="*/ 456403 h 901153"/>
              <a:gd name="connsiteX31" fmla="*/ 2441576 w 2441576"/>
              <a:gd name="connsiteY31" fmla="*/ 539847 h 901153"/>
              <a:gd name="connsiteX32" fmla="*/ 2441576 w 2441576"/>
              <a:gd name="connsiteY32" fmla="*/ 608455 h 901153"/>
              <a:gd name="connsiteX33" fmla="*/ 2441576 w 2441576"/>
              <a:gd name="connsiteY33" fmla="*/ 691899 h 901153"/>
              <a:gd name="connsiteX34" fmla="*/ 2441576 w 2441576"/>
              <a:gd name="connsiteY34" fmla="*/ 760507 h 901153"/>
              <a:gd name="connsiteX35" fmla="*/ 2441576 w 2441576"/>
              <a:gd name="connsiteY35" fmla="*/ 832545 h 901153"/>
              <a:gd name="connsiteX36" fmla="*/ 2441576 w 2441576"/>
              <a:gd name="connsiteY36" fmla="*/ 901153 h 901153"/>
              <a:gd name="connsiteX37" fmla="*/ 2321561 w 2441576"/>
              <a:gd name="connsiteY37" fmla="*/ 901153 h 901153"/>
              <a:gd name="connsiteX38" fmla="*/ 2239646 w 2441576"/>
              <a:gd name="connsiteY38" fmla="*/ 901153 h 901153"/>
              <a:gd name="connsiteX39" fmla="*/ 2176781 w 2441576"/>
              <a:gd name="connsiteY39" fmla="*/ 901153 h 901153"/>
              <a:gd name="connsiteX40" fmla="*/ 2109259 w 2441576"/>
              <a:gd name="connsiteY40" fmla="*/ 901153 h 901153"/>
              <a:gd name="connsiteX41" fmla="*/ 1941949 w 2441576"/>
              <a:gd name="connsiteY41" fmla="*/ 901153 h 901153"/>
              <a:gd name="connsiteX42" fmla="*/ 1824412 w 2441576"/>
              <a:gd name="connsiteY42" fmla="*/ 901153 h 901153"/>
              <a:gd name="connsiteX43" fmla="*/ 1609632 w 2441576"/>
              <a:gd name="connsiteY43" fmla="*/ 901153 h 901153"/>
              <a:gd name="connsiteX44" fmla="*/ 1539566 w 2441576"/>
              <a:gd name="connsiteY44" fmla="*/ 901153 h 901153"/>
              <a:gd name="connsiteX45" fmla="*/ 1324785 w 2441576"/>
              <a:gd name="connsiteY45" fmla="*/ 901153 h 901153"/>
              <a:gd name="connsiteX46" fmla="*/ 1254721 w 2441576"/>
              <a:gd name="connsiteY46" fmla="*/ 901153 h 901153"/>
              <a:gd name="connsiteX47" fmla="*/ 1039939 w 2441576"/>
              <a:gd name="connsiteY47" fmla="*/ 901153 h 901153"/>
              <a:gd name="connsiteX48" fmla="*/ 969874 w 2441576"/>
              <a:gd name="connsiteY48" fmla="*/ 901153 h 901153"/>
              <a:gd name="connsiteX49" fmla="*/ 755093 w 2441576"/>
              <a:gd name="connsiteY49" fmla="*/ 901153 h 901153"/>
              <a:gd name="connsiteX50" fmla="*/ 685028 w 2441576"/>
              <a:gd name="connsiteY50" fmla="*/ 901153 h 901153"/>
              <a:gd name="connsiteX51" fmla="*/ 581332 w 2441576"/>
              <a:gd name="connsiteY51" fmla="*/ 901153 h 901153"/>
              <a:gd name="connsiteX52" fmla="*/ 471351 w 2441576"/>
              <a:gd name="connsiteY52" fmla="*/ 901153 h 901153"/>
              <a:gd name="connsiteX53" fmla="*/ 470246 w 2441576"/>
              <a:gd name="connsiteY53" fmla="*/ 901153 h 901153"/>
              <a:gd name="connsiteX54" fmla="*/ 377080 w 2441576"/>
              <a:gd name="connsiteY54" fmla="*/ 901153 h 901153"/>
              <a:gd name="connsiteX55" fmla="*/ 282811 w 2441576"/>
              <a:gd name="connsiteY55" fmla="*/ 901153 h 901153"/>
              <a:gd name="connsiteX56" fmla="*/ 188541 w 2441576"/>
              <a:gd name="connsiteY56" fmla="*/ 901153 h 901153"/>
              <a:gd name="connsiteX57" fmla="*/ 185400 w 2441576"/>
              <a:gd name="connsiteY57" fmla="*/ 901153 h 901153"/>
              <a:gd name="connsiteX58" fmla="*/ 94270 w 2441576"/>
              <a:gd name="connsiteY58" fmla="*/ 901153 h 901153"/>
              <a:gd name="connsiteX59" fmla="*/ 0 w 2441576"/>
              <a:gd name="connsiteY59" fmla="*/ 901153 h 901153"/>
              <a:gd name="connsiteX60" fmla="*/ 0 w 2441576"/>
              <a:gd name="connsiteY60" fmla="*/ 832545 h 901153"/>
              <a:gd name="connsiteX61" fmla="*/ 0 w 2441576"/>
              <a:gd name="connsiteY61" fmla="*/ 760507 h 901153"/>
              <a:gd name="connsiteX62" fmla="*/ 0 w 2441576"/>
              <a:gd name="connsiteY62" fmla="*/ 691899 h 901153"/>
              <a:gd name="connsiteX63" fmla="*/ 0 w 2441576"/>
              <a:gd name="connsiteY63" fmla="*/ 608455 h 901153"/>
              <a:gd name="connsiteX64" fmla="*/ 0 w 2441576"/>
              <a:gd name="connsiteY64" fmla="*/ 539847 h 901153"/>
              <a:gd name="connsiteX65" fmla="*/ 0 w 2441576"/>
              <a:gd name="connsiteY65" fmla="*/ 456403 h 901153"/>
              <a:gd name="connsiteX66" fmla="*/ 0 w 2441576"/>
              <a:gd name="connsiteY66" fmla="*/ 387795 h 901153"/>
              <a:gd name="connsiteX67" fmla="*/ 0 w 2441576"/>
              <a:gd name="connsiteY67" fmla="*/ 304351 h 901153"/>
              <a:gd name="connsiteX68" fmla="*/ 0 w 2441576"/>
              <a:gd name="connsiteY68" fmla="*/ 235743 h 901153"/>
              <a:gd name="connsiteX69" fmla="*/ 0 w 2441576"/>
              <a:gd name="connsiteY69" fmla="*/ 152299 h 901153"/>
              <a:gd name="connsiteX70" fmla="*/ 0 w 2441576"/>
              <a:gd name="connsiteY70" fmla="*/ 83691 h 901153"/>
              <a:gd name="connsiteX71" fmla="*/ 0 w 2441576"/>
              <a:gd name="connsiteY71" fmla="*/ 247 h 901153"/>
              <a:gd name="connsiteX0" fmla="*/ 0 w 2441576"/>
              <a:gd name="connsiteY0" fmla="*/ 247 h 901154"/>
              <a:gd name="connsiteX1" fmla="*/ 94270 w 2441576"/>
              <a:gd name="connsiteY1" fmla="*/ 247 h 901154"/>
              <a:gd name="connsiteX2" fmla="*/ 185400 w 2441576"/>
              <a:gd name="connsiteY2" fmla="*/ 247 h 901154"/>
              <a:gd name="connsiteX3" fmla="*/ 188541 w 2441576"/>
              <a:gd name="connsiteY3" fmla="*/ 247 h 901154"/>
              <a:gd name="connsiteX4" fmla="*/ 282811 w 2441576"/>
              <a:gd name="connsiteY4" fmla="*/ 247 h 901154"/>
              <a:gd name="connsiteX5" fmla="*/ 377080 w 2441576"/>
              <a:gd name="connsiteY5" fmla="*/ 247 h 901154"/>
              <a:gd name="connsiteX6" fmla="*/ 470246 w 2441576"/>
              <a:gd name="connsiteY6" fmla="*/ 247 h 901154"/>
              <a:gd name="connsiteX7" fmla="*/ 471351 w 2441576"/>
              <a:gd name="connsiteY7" fmla="*/ 247 h 901154"/>
              <a:gd name="connsiteX8" fmla="*/ 581332 w 2441576"/>
              <a:gd name="connsiteY8" fmla="*/ 247 h 901154"/>
              <a:gd name="connsiteX9" fmla="*/ 685028 w 2441576"/>
              <a:gd name="connsiteY9" fmla="*/ 247 h 901154"/>
              <a:gd name="connsiteX10" fmla="*/ 755093 w 2441576"/>
              <a:gd name="connsiteY10" fmla="*/ 247 h 901154"/>
              <a:gd name="connsiteX11" fmla="*/ 969874 w 2441576"/>
              <a:gd name="connsiteY11" fmla="*/ 247 h 901154"/>
              <a:gd name="connsiteX12" fmla="*/ 1039939 w 2441576"/>
              <a:gd name="connsiteY12" fmla="*/ 247 h 901154"/>
              <a:gd name="connsiteX13" fmla="*/ 1254721 w 2441576"/>
              <a:gd name="connsiteY13" fmla="*/ 247 h 901154"/>
              <a:gd name="connsiteX14" fmla="*/ 1324785 w 2441576"/>
              <a:gd name="connsiteY14" fmla="*/ 247 h 901154"/>
              <a:gd name="connsiteX15" fmla="*/ 1430031 w 2441576"/>
              <a:gd name="connsiteY15" fmla="*/ 0 h 901154"/>
              <a:gd name="connsiteX16" fmla="*/ 1539566 w 2441576"/>
              <a:gd name="connsiteY16" fmla="*/ 247 h 901154"/>
              <a:gd name="connsiteX17" fmla="*/ 1609632 w 2441576"/>
              <a:gd name="connsiteY17" fmla="*/ 247 h 901154"/>
              <a:gd name="connsiteX18" fmla="*/ 1824412 w 2441576"/>
              <a:gd name="connsiteY18" fmla="*/ 247 h 901154"/>
              <a:gd name="connsiteX19" fmla="*/ 1941949 w 2441576"/>
              <a:gd name="connsiteY19" fmla="*/ 247 h 901154"/>
              <a:gd name="connsiteX20" fmla="*/ 2094866 w 2441576"/>
              <a:gd name="connsiteY20" fmla="*/ 247 h 901154"/>
              <a:gd name="connsiteX21" fmla="*/ 2176781 w 2441576"/>
              <a:gd name="connsiteY21" fmla="*/ 247 h 901154"/>
              <a:gd name="connsiteX22" fmla="*/ 2258696 w 2441576"/>
              <a:gd name="connsiteY22" fmla="*/ 247 h 901154"/>
              <a:gd name="connsiteX23" fmla="*/ 2321561 w 2441576"/>
              <a:gd name="connsiteY23" fmla="*/ 247 h 901154"/>
              <a:gd name="connsiteX24" fmla="*/ 2441576 w 2441576"/>
              <a:gd name="connsiteY24" fmla="*/ 247 h 901154"/>
              <a:gd name="connsiteX25" fmla="*/ 2441576 w 2441576"/>
              <a:gd name="connsiteY25" fmla="*/ 83691 h 901154"/>
              <a:gd name="connsiteX26" fmla="*/ 2441576 w 2441576"/>
              <a:gd name="connsiteY26" fmla="*/ 152299 h 901154"/>
              <a:gd name="connsiteX27" fmla="*/ 2441576 w 2441576"/>
              <a:gd name="connsiteY27" fmla="*/ 235743 h 901154"/>
              <a:gd name="connsiteX28" fmla="*/ 2441576 w 2441576"/>
              <a:gd name="connsiteY28" fmla="*/ 304351 h 901154"/>
              <a:gd name="connsiteX29" fmla="*/ 2441576 w 2441576"/>
              <a:gd name="connsiteY29" fmla="*/ 387795 h 901154"/>
              <a:gd name="connsiteX30" fmla="*/ 2441576 w 2441576"/>
              <a:gd name="connsiteY30" fmla="*/ 456403 h 901154"/>
              <a:gd name="connsiteX31" fmla="*/ 2441576 w 2441576"/>
              <a:gd name="connsiteY31" fmla="*/ 539847 h 901154"/>
              <a:gd name="connsiteX32" fmla="*/ 2441576 w 2441576"/>
              <a:gd name="connsiteY32" fmla="*/ 608455 h 901154"/>
              <a:gd name="connsiteX33" fmla="*/ 2441576 w 2441576"/>
              <a:gd name="connsiteY33" fmla="*/ 691899 h 901154"/>
              <a:gd name="connsiteX34" fmla="*/ 2441576 w 2441576"/>
              <a:gd name="connsiteY34" fmla="*/ 760507 h 901154"/>
              <a:gd name="connsiteX35" fmla="*/ 2441576 w 2441576"/>
              <a:gd name="connsiteY35" fmla="*/ 832545 h 901154"/>
              <a:gd name="connsiteX36" fmla="*/ 2441576 w 2441576"/>
              <a:gd name="connsiteY36" fmla="*/ 901153 h 901154"/>
              <a:gd name="connsiteX37" fmla="*/ 2321561 w 2441576"/>
              <a:gd name="connsiteY37" fmla="*/ 901153 h 901154"/>
              <a:gd name="connsiteX38" fmla="*/ 2239646 w 2441576"/>
              <a:gd name="connsiteY38" fmla="*/ 901153 h 901154"/>
              <a:gd name="connsiteX39" fmla="*/ 2176781 w 2441576"/>
              <a:gd name="connsiteY39" fmla="*/ 901153 h 901154"/>
              <a:gd name="connsiteX40" fmla="*/ 2109259 w 2441576"/>
              <a:gd name="connsiteY40" fmla="*/ 901153 h 901154"/>
              <a:gd name="connsiteX41" fmla="*/ 1941949 w 2441576"/>
              <a:gd name="connsiteY41" fmla="*/ 901153 h 901154"/>
              <a:gd name="connsiteX42" fmla="*/ 1824412 w 2441576"/>
              <a:gd name="connsiteY42" fmla="*/ 901153 h 901154"/>
              <a:gd name="connsiteX43" fmla="*/ 1609632 w 2441576"/>
              <a:gd name="connsiteY43" fmla="*/ 901153 h 901154"/>
              <a:gd name="connsiteX44" fmla="*/ 1539566 w 2441576"/>
              <a:gd name="connsiteY44" fmla="*/ 901153 h 901154"/>
              <a:gd name="connsiteX45" fmla="*/ 1324785 w 2441576"/>
              <a:gd name="connsiteY45" fmla="*/ 901153 h 901154"/>
              <a:gd name="connsiteX46" fmla="*/ 1254721 w 2441576"/>
              <a:gd name="connsiteY46" fmla="*/ 901153 h 901154"/>
              <a:gd name="connsiteX47" fmla="*/ 1039939 w 2441576"/>
              <a:gd name="connsiteY47" fmla="*/ 901153 h 901154"/>
              <a:gd name="connsiteX48" fmla="*/ 969874 w 2441576"/>
              <a:gd name="connsiteY48" fmla="*/ 901153 h 901154"/>
              <a:gd name="connsiteX49" fmla="*/ 864820 w 2441576"/>
              <a:gd name="connsiteY49" fmla="*/ 901154 h 901154"/>
              <a:gd name="connsiteX50" fmla="*/ 755093 w 2441576"/>
              <a:gd name="connsiteY50" fmla="*/ 901153 h 901154"/>
              <a:gd name="connsiteX51" fmla="*/ 685028 w 2441576"/>
              <a:gd name="connsiteY51" fmla="*/ 901153 h 901154"/>
              <a:gd name="connsiteX52" fmla="*/ 581332 w 2441576"/>
              <a:gd name="connsiteY52" fmla="*/ 901153 h 901154"/>
              <a:gd name="connsiteX53" fmla="*/ 471351 w 2441576"/>
              <a:gd name="connsiteY53" fmla="*/ 901153 h 901154"/>
              <a:gd name="connsiteX54" fmla="*/ 470246 w 2441576"/>
              <a:gd name="connsiteY54" fmla="*/ 901153 h 901154"/>
              <a:gd name="connsiteX55" fmla="*/ 377080 w 2441576"/>
              <a:gd name="connsiteY55" fmla="*/ 901153 h 901154"/>
              <a:gd name="connsiteX56" fmla="*/ 282811 w 2441576"/>
              <a:gd name="connsiteY56" fmla="*/ 901153 h 901154"/>
              <a:gd name="connsiteX57" fmla="*/ 188541 w 2441576"/>
              <a:gd name="connsiteY57" fmla="*/ 901153 h 901154"/>
              <a:gd name="connsiteX58" fmla="*/ 185400 w 2441576"/>
              <a:gd name="connsiteY58" fmla="*/ 901153 h 901154"/>
              <a:gd name="connsiteX59" fmla="*/ 94270 w 2441576"/>
              <a:gd name="connsiteY59" fmla="*/ 901153 h 901154"/>
              <a:gd name="connsiteX60" fmla="*/ 0 w 2441576"/>
              <a:gd name="connsiteY60" fmla="*/ 901153 h 901154"/>
              <a:gd name="connsiteX61" fmla="*/ 0 w 2441576"/>
              <a:gd name="connsiteY61" fmla="*/ 832545 h 901154"/>
              <a:gd name="connsiteX62" fmla="*/ 0 w 2441576"/>
              <a:gd name="connsiteY62" fmla="*/ 760507 h 901154"/>
              <a:gd name="connsiteX63" fmla="*/ 0 w 2441576"/>
              <a:gd name="connsiteY63" fmla="*/ 691899 h 901154"/>
              <a:gd name="connsiteX64" fmla="*/ 0 w 2441576"/>
              <a:gd name="connsiteY64" fmla="*/ 608455 h 901154"/>
              <a:gd name="connsiteX65" fmla="*/ 0 w 2441576"/>
              <a:gd name="connsiteY65" fmla="*/ 539847 h 901154"/>
              <a:gd name="connsiteX66" fmla="*/ 0 w 2441576"/>
              <a:gd name="connsiteY66" fmla="*/ 456403 h 901154"/>
              <a:gd name="connsiteX67" fmla="*/ 0 w 2441576"/>
              <a:gd name="connsiteY67" fmla="*/ 387795 h 901154"/>
              <a:gd name="connsiteX68" fmla="*/ 0 w 2441576"/>
              <a:gd name="connsiteY68" fmla="*/ 304351 h 901154"/>
              <a:gd name="connsiteX69" fmla="*/ 0 w 2441576"/>
              <a:gd name="connsiteY69" fmla="*/ 235743 h 901154"/>
              <a:gd name="connsiteX70" fmla="*/ 0 w 2441576"/>
              <a:gd name="connsiteY70" fmla="*/ 152299 h 901154"/>
              <a:gd name="connsiteX71" fmla="*/ 0 w 2441576"/>
              <a:gd name="connsiteY71" fmla="*/ 83691 h 901154"/>
              <a:gd name="connsiteX72" fmla="*/ 0 w 2441576"/>
              <a:gd name="connsiteY72" fmla="*/ 247 h 901154"/>
              <a:gd name="connsiteX0" fmla="*/ 0 w 2441576"/>
              <a:gd name="connsiteY0" fmla="*/ 247 h 901154"/>
              <a:gd name="connsiteX1" fmla="*/ 94270 w 2441576"/>
              <a:gd name="connsiteY1" fmla="*/ 247 h 901154"/>
              <a:gd name="connsiteX2" fmla="*/ 185400 w 2441576"/>
              <a:gd name="connsiteY2" fmla="*/ 247 h 901154"/>
              <a:gd name="connsiteX3" fmla="*/ 188541 w 2441576"/>
              <a:gd name="connsiteY3" fmla="*/ 247 h 901154"/>
              <a:gd name="connsiteX4" fmla="*/ 282811 w 2441576"/>
              <a:gd name="connsiteY4" fmla="*/ 247 h 901154"/>
              <a:gd name="connsiteX5" fmla="*/ 377080 w 2441576"/>
              <a:gd name="connsiteY5" fmla="*/ 247 h 901154"/>
              <a:gd name="connsiteX6" fmla="*/ 470246 w 2441576"/>
              <a:gd name="connsiteY6" fmla="*/ 247 h 901154"/>
              <a:gd name="connsiteX7" fmla="*/ 471351 w 2441576"/>
              <a:gd name="connsiteY7" fmla="*/ 247 h 901154"/>
              <a:gd name="connsiteX8" fmla="*/ 581332 w 2441576"/>
              <a:gd name="connsiteY8" fmla="*/ 247 h 901154"/>
              <a:gd name="connsiteX9" fmla="*/ 685028 w 2441576"/>
              <a:gd name="connsiteY9" fmla="*/ 247 h 901154"/>
              <a:gd name="connsiteX10" fmla="*/ 755093 w 2441576"/>
              <a:gd name="connsiteY10" fmla="*/ 247 h 901154"/>
              <a:gd name="connsiteX11" fmla="*/ 969874 w 2441576"/>
              <a:gd name="connsiteY11" fmla="*/ 247 h 901154"/>
              <a:gd name="connsiteX12" fmla="*/ 1039939 w 2441576"/>
              <a:gd name="connsiteY12" fmla="*/ 247 h 901154"/>
              <a:gd name="connsiteX13" fmla="*/ 1254721 w 2441576"/>
              <a:gd name="connsiteY13" fmla="*/ 247 h 901154"/>
              <a:gd name="connsiteX14" fmla="*/ 1324785 w 2441576"/>
              <a:gd name="connsiteY14" fmla="*/ 247 h 901154"/>
              <a:gd name="connsiteX15" fmla="*/ 1430031 w 2441576"/>
              <a:gd name="connsiteY15" fmla="*/ 0 h 901154"/>
              <a:gd name="connsiteX16" fmla="*/ 1539566 w 2441576"/>
              <a:gd name="connsiteY16" fmla="*/ 247 h 901154"/>
              <a:gd name="connsiteX17" fmla="*/ 1609632 w 2441576"/>
              <a:gd name="connsiteY17" fmla="*/ 247 h 901154"/>
              <a:gd name="connsiteX18" fmla="*/ 1824412 w 2441576"/>
              <a:gd name="connsiteY18" fmla="*/ 247 h 901154"/>
              <a:gd name="connsiteX19" fmla="*/ 1941949 w 2441576"/>
              <a:gd name="connsiteY19" fmla="*/ 247 h 901154"/>
              <a:gd name="connsiteX20" fmla="*/ 2094866 w 2441576"/>
              <a:gd name="connsiteY20" fmla="*/ 247 h 901154"/>
              <a:gd name="connsiteX21" fmla="*/ 2176781 w 2441576"/>
              <a:gd name="connsiteY21" fmla="*/ 247 h 901154"/>
              <a:gd name="connsiteX22" fmla="*/ 2258696 w 2441576"/>
              <a:gd name="connsiteY22" fmla="*/ 247 h 901154"/>
              <a:gd name="connsiteX23" fmla="*/ 2321561 w 2441576"/>
              <a:gd name="connsiteY23" fmla="*/ 247 h 901154"/>
              <a:gd name="connsiteX24" fmla="*/ 2441576 w 2441576"/>
              <a:gd name="connsiteY24" fmla="*/ 247 h 901154"/>
              <a:gd name="connsiteX25" fmla="*/ 2441576 w 2441576"/>
              <a:gd name="connsiteY25" fmla="*/ 83691 h 901154"/>
              <a:gd name="connsiteX26" fmla="*/ 2441576 w 2441576"/>
              <a:gd name="connsiteY26" fmla="*/ 152299 h 901154"/>
              <a:gd name="connsiteX27" fmla="*/ 2441576 w 2441576"/>
              <a:gd name="connsiteY27" fmla="*/ 235743 h 901154"/>
              <a:gd name="connsiteX28" fmla="*/ 2441576 w 2441576"/>
              <a:gd name="connsiteY28" fmla="*/ 304351 h 901154"/>
              <a:gd name="connsiteX29" fmla="*/ 2441576 w 2441576"/>
              <a:gd name="connsiteY29" fmla="*/ 387795 h 901154"/>
              <a:gd name="connsiteX30" fmla="*/ 2441576 w 2441576"/>
              <a:gd name="connsiteY30" fmla="*/ 456403 h 901154"/>
              <a:gd name="connsiteX31" fmla="*/ 2441576 w 2441576"/>
              <a:gd name="connsiteY31" fmla="*/ 539847 h 901154"/>
              <a:gd name="connsiteX32" fmla="*/ 2441576 w 2441576"/>
              <a:gd name="connsiteY32" fmla="*/ 608455 h 901154"/>
              <a:gd name="connsiteX33" fmla="*/ 2441576 w 2441576"/>
              <a:gd name="connsiteY33" fmla="*/ 691899 h 901154"/>
              <a:gd name="connsiteX34" fmla="*/ 2441576 w 2441576"/>
              <a:gd name="connsiteY34" fmla="*/ 760507 h 901154"/>
              <a:gd name="connsiteX35" fmla="*/ 2441576 w 2441576"/>
              <a:gd name="connsiteY35" fmla="*/ 832545 h 901154"/>
              <a:gd name="connsiteX36" fmla="*/ 2441576 w 2441576"/>
              <a:gd name="connsiteY36" fmla="*/ 901153 h 901154"/>
              <a:gd name="connsiteX37" fmla="*/ 2321561 w 2441576"/>
              <a:gd name="connsiteY37" fmla="*/ 901153 h 901154"/>
              <a:gd name="connsiteX38" fmla="*/ 2239646 w 2441576"/>
              <a:gd name="connsiteY38" fmla="*/ 901153 h 901154"/>
              <a:gd name="connsiteX39" fmla="*/ 2176781 w 2441576"/>
              <a:gd name="connsiteY39" fmla="*/ 901153 h 901154"/>
              <a:gd name="connsiteX40" fmla="*/ 2109259 w 2441576"/>
              <a:gd name="connsiteY40" fmla="*/ 901153 h 901154"/>
              <a:gd name="connsiteX41" fmla="*/ 1941949 w 2441576"/>
              <a:gd name="connsiteY41" fmla="*/ 901153 h 901154"/>
              <a:gd name="connsiteX42" fmla="*/ 1824412 w 2441576"/>
              <a:gd name="connsiteY42" fmla="*/ 901153 h 901154"/>
              <a:gd name="connsiteX43" fmla="*/ 1609632 w 2441576"/>
              <a:gd name="connsiteY43" fmla="*/ 901153 h 901154"/>
              <a:gd name="connsiteX44" fmla="*/ 1539566 w 2441576"/>
              <a:gd name="connsiteY44" fmla="*/ 901153 h 901154"/>
              <a:gd name="connsiteX45" fmla="*/ 1324785 w 2441576"/>
              <a:gd name="connsiteY45" fmla="*/ 901153 h 901154"/>
              <a:gd name="connsiteX46" fmla="*/ 1254721 w 2441576"/>
              <a:gd name="connsiteY46" fmla="*/ 901153 h 901154"/>
              <a:gd name="connsiteX47" fmla="*/ 1146253 w 2441576"/>
              <a:gd name="connsiteY47" fmla="*/ 901153 h 901154"/>
              <a:gd name="connsiteX48" fmla="*/ 1039939 w 2441576"/>
              <a:gd name="connsiteY48" fmla="*/ 901153 h 901154"/>
              <a:gd name="connsiteX49" fmla="*/ 969874 w 2441576"/>
              <a:gd name="connsiteY49" fmla="*/ 901153 h 901154"/>
              <a:gd name="connsiteX50" fmla="*/ 864820 w 2441576"/>
              <a:gd name="connsiteY50" fmla="*/ 901154 h 901154"/>
              <a:gd name="connsiteX51" fmla="*/ 755093 w 2441576"/>
              <a:gd name="connsiteY51" fmla="*/ 901153 h 901154"/>
              <a:gd name="connsiteX52" fmla="*/ 685028 w 2441576"/>
              <a:gd name="connsiteY52" fmla="*/ 901153 h 901154"/>
              <a:gd name="connsiteX53" fmla="*/ 581332 w 2441576"/>
              <a:gd name="connsiteY53" fmla="*/ 901153 h 901154"/>
              <a:gd name="connsiteX54" fmla="*/ 471351 w 2441576"/>
              <a:gd name="connsiteY54" fmla="*/ 901153 h 901154"/>
              <a:gd name="connsiteX55" fmla="*/ 470246 w 2441576"/>
              <a:gd name="connsiteY55" fmla="*/ 901153 h 901154"/>
              <a:gd name="connsiteX56" fmla="*/ 377080 w 2441576"/>
              <a:gd name="connsiteY56" fmla="*/ 901153 h 901154"/>
              <a:gd name="connsiteX57" fmla="*/ 282811 w 2441576"/>
              <a:gd name="connsiteY57" fmla="*/ 901153 h 901154"/>
              <a:gd name="connsiteX58" fmla="*/ 188541 w 2441576"/>
              <a:gd name="connsiteY58" fmla="*/ 901153 h 901154"/>
              <a:gd name="connsiteX59" fmla="*/ 185400 w 2441576"/>
              <a:gd name="connsiteY59" fmla="*/ 901153 h 901154"/>
              <a:gd name="connsiteX60" fmla="*/ 94270 w 2441576"/>
              <a:gd name="connsiteY60" fmla="*/ 901153 h 901154"/>
              <a:gd name="connsiteX61" fmla="*/ 0 w 2441576"/>
              <a:gd name="connsiteY61" fmla="*/ 901153 h 901154"/>
              <a:gd name="connsiteX62" fmla="*/ 0 w 2441576"/>
              <a:gd name="connsiteY62" fmla="*/ 832545 h 901154"/>
              <a:gd name="connsiteX63" fmla="*/ 0 w 2441576"/>
              <a:gd name="connsiteY63" fmla="*/ 760507 h 901154"/>
              <a:gd name="connsiteX64" fmla="*/ 0 w 2441576"/>
              <a:gd name="connsiteY64" fmla="*/ 691899 h 901154"/>
              <a:gd name="connsiteX65" fmla="*/ 0 w 2441576"/>
              <a:gd name="connsiteY65" fmla="*/ 608455 h 901154"/>
              <a:gd name="connsiteX66" fmla="*/ 0 w 2441576"/>
              <a:gd name="connsiteY66" fmla="*/ 539847 h 901154"/>
              <a:gd name="connsiteX67" fmla="*/ 0 w 2441576"/>
              <a:gd name="connsiteY67" fmla="*/ 456403 h 901154"/>
              <a:gd name="connsiteX68" fmla="*/ 0 w 2441576"/>
              <a:gd name="connsiteY68" fmla="*/ 387795 h 901154"/>
              <a:gd name="connsiteX69" fmla="*/ 0 w 2441576"/>
              <a:gd name="connsiteY69" fmla="*/ 304351 h 901154"/>
              <a:gd name="connsiteX70" fmla="*/ 0 w 2441576"/>
              <a:gd name="connsiteY70" fmla="*/ 235743 h 901154"/>
              <a:gd name="connsiteX71" fmla="*/ 0 w 2441576"/>
              <a:gd name="connsiteY71" fmla="*/ 152299 h 901154"/>
              <a:gd name="connsiteX72" fmla="*/ 0 w 2441576"/>
              <a:gd name="connsiteY72" fmla="*/ 83691 h 901154"/>
              <a:gd name="connsiteX73" fmla="*/ 0 w 2441576"/>
              <a:gd name="connsiteY73" fmla="*/ 247 h 901154"/>
              <a:gd name="connsiteX0" fmla="*/ 0 w 2441576"/>
              <a:gd name="connsiteY0" fmla="*/ 247 h 901154"/>
              <a:gd name="connsiteX1" fmla="*/ 94270 w 2441576"/>
              <a:gd name="connsiteY1" fmla="*/ 247 h 901154"/>
              <a:gd name="connsiteX2" fmla="*/ 185400 w 2441576"/>
              <a:gd name="connsiteY2" fmla="*/ 247 h 901154"/>
              <a:gd name="connsiteX3" fmla="*/ 188541 w 2441576"/>
              <a:gd name="connsiteY3" fmla="*/ 247 h 901154"/>
              <a:gd name="connsiteX4" fmla="*/ 282811 w 2441576"/>
              <a:gd name="connsiteY4" fmla="*/ 247 h 901154"/>
              <a:gd name="connsiteX5" fmla="*/ 377080 w 2441576"/>
              <a:gd name="connsiteY5" fmla="*/ 247 h 901154"/>
              <a:gd name="connsiteX6" fmla="*/ 470246 w 2441576"/>
              <a:gd name="connsiteY6" fmla="*/ 247 h 901154"/>
              <a:gd name="connsiteX7" fmla="*/ 471351 w 2441576"/>
              <a:gd name="connsiteY7" fmla="*/ 247 h 901154"/>
              <a:gd name="connsiteX8" fmla="*/ 581332 w 2441576"/>
              <a:gd name="connsiteY8" fmla="*/ 247 h 901154"/>
              <a:gd name="connsiteX9" fmla="*/ 685028 w 2441576"/>
              <a:gd name="connsiteY9" fmla="*/ 247 h 901154"/>
              <a:gd name="connsiteX10" fmla="*/ 755093 w 2441576"/>
              <a:gd name="connsiteY10" fmla="*/ 247 h 901154"/>
              <a:gd name="connsiteX11" fmla="*/ 969874 w 2441576"/>
              <a:gd name="connsiteY11" fmla="*/ 247 h 901154"/>
              <a:gd name="connsiteX12" fmla="*/ 1039939 w 2441576"/>
              <a:gd name="connsiteY12" fmla="*/ 247 h 901154"/>
              <a:gd name="connsiteX13" fmla="*/ 1254721 w 2441576"/>
              <a:gd name="connsiteY13" fmla="*/ 247 h 901154"/>
              <a:gd name="connsiteX14" fmla="*/ 1324785 w 2441576"/>
              <a:gd name="connsiteY14" fmla="*/ 247 h 901154"/>
              <a:gd name="connsiteX15" fmla="*/ 1430031 w 2441576"/>
              <a:gd name="connsiteY15" fmla="*/ 0 h 901154"/>
              <a:gd name="connsiteX16" fmla="*/ 1539566 w 2441576"/>
              <a:gd name="connsiteY16" fmla="*/ 247 h 901154"/>
              <a:gd name="connsiteX17" fmla="*/ 1609632 w 2441576"/>
              <a:gd name="connsiteY17" fmla="*/ 247 h 901154"/>
              <a:gd name="connsiteX18" fmla="*/ 1824412 w 2441576"/>
              <a:gd name="connsiteY18" fmla="*/ 247 h 901154"/>
              <a:gd name="connsiteX19" fmla="*/ 1941949 w 2441576"/>
              <a:gd name="connsiteY19" fmla="*/ 247 h 901154"/>
              <a:gd name="connsiteX20" fmla="*/ 2094866 w 2441576"/>
              <a:gd name="connsiteY20" fmla="*/ 247 h 901154"/>
              <a:gd name="connsiteX21" fmla="*/ 2176781 w 2441576"/>
              <a:gd name="connsiteY21" fmla="*/ 247 h 901154"/>
              <a:gd name="connsiteX22" fmla="*/ 2258696 w 2441576"/>
              <a:gd name="connsiteY22" fmla="*/ 247 h 901154"/>
              <a:gd name="connsiteX23" fmla="*/ 2321561 w 2441576"/>
              <a:gd name="connsiteY23" fmla="*/ 247 h 901154"/>
              <a:gd name="connsiteX24" fmla="*/ 2441576 w 2441576"/>
              <a:gd name="connsiteY24" fmla="*/ 247 h 901154"/>
              <a:gd name="connsiteX25" fmla="*/ 2441576 w 2441576"/>
              <a:gd name="connsiteY25" fmla="*/ 83691 h 901154"/>
              <a:gd name="connsiteX26" fmla="*/ 2441576 w 2441576"/>
              <a:gd name="connsiteY26" fmla="*/ 152299 h 901154"/>
              <a:gd name="connsiteX27" fmla="*/ 2441576 w 2441576"/>
              <a:gd name="connsiteY27" fmla="*/ 235743 h 901154"/>
              <a:gd name="connsiteX28" fmla="*/ 2441576 w 2441576"/>
              <a:gd name="connsiteY28" fmla="*/ 304351 h 901154"/>
              <a:gd name="connsiteX29" fmla="*/ 2441576 w 2441576"/>
              <a:gd name="connsiteY29" fmla="*/ 387795 h 901154"/>
              <a:gd name="connsiteX30" fmla="*/ 2441576 w 2441576"/>
              <a:gd name="connsiteY30" fmla="*/ 456403 h 901154"/>
              <a:gd name="connsiteX31" fmla="*/ 2441576 w 2441576"/>
              <a:gd name="connsiteY31" fmla="*/ 539847 h 901154"/>
              <a:gd name="connsiteX32" fmla="*/ 2441576 w 2441576"/>
              <a:gd name="connsiteY32" fmla="*/ 608455 h 901154"/>
              <a:gd name="connsiteX33" fmla="*/ 2441576 w 2441576"/>
              <a:gd name="connsiteY33" fmla="*/ 691899 h 901154"/>
              <a:gd name="connsiteX34" fmla="*/ 2441576 w 2441576"/>
              <a:gd name="connsiteY34" fmla="*/ 760507 h 901154"/>
              <a:gd name="connsiteX35" fmla="*/ 2441576 w 2441576"/>
              <a:gd name="connsiteY35" fmla="*/ 832545 h 901154"/>
              <a:gd name="connsiteX36" fmla="*/ 2441576 w 2441576"/>
              <a:gd name="connsiteY36" fmla="*/ 901153 h 901154"/>
              <a:gd name="connsiteX37" fmla="*/ 2321561 w 2441576"/>
              <a:gd name="connsiteY37" fmla="*/ 901153 h 901154"/>
              <a:gd name="connsiteX38" fmla="*/ 2239646 w 2441576"/>
              <a:gd name="connsiteY38" fmla="*/ 901153 h 901154"/>
              <a:gd name="connsiteX39" fmla="*/ 2176781 w 2441576"/>
              <a:gd name="connsiteY39" fmla="*/ 901153 h 901154"/>
              <a:gd name="connsiteX40" fmla="*/ 2109259 w 2441576"/>
              <a:gd name="connsiteY40" fmla="*/ 901153 h 901154"/>
              <a:gd name="connsiteX41" fmla="*/ 1941949 w 2441576"/>
              <a:gd name="connsiteY41" fmla="*/ 901153 h 901154"/>
              <a:gd name="connsiteX42" fmla="*/ 1824412 w 2441576"/>
              <a:gd name="connsiteY42" fmla="*/ 901153 h 901154"/>
              <a:gd name="connsiteX43" fmla="*/ 1609632 w 2441576"/>
              <a:gd name="connsiteY43" fmla="*/ 901153 h 901154"/>
              <a:gd name="connsiteX44" fmla="*/ 1539566 w 2441576"/>
              <a:gd name="connsiteY44" fmla="*/ 901153 h 901154"/>
              <a:gd name="connsiteX45" fmla="*/ 1427685 w 2441576"/>
              <a:gd name="connsiteY45" fmla="*/ 901153 h 901154"/>
              <a:gd name="connsiteX46" fmla="*/ 1324785 w 2441576"/>
              <a:gd name="connsiteY46" fmla="*/ 901153 h 901154"/>
              <a:gd name="connsiteX47" fmla="*/ 1254721 w 2441576"/>
              <a:gd name="connsiteY47" fmla="*/ 901153 h 901154"/>
              <a:gd name="connsiteX48" fmla="*/ 1146253 w 2441576"/>
              <a:gd name="connsiteY48" fmla="*/ 901153 h 901154"/>
              <a:gd name="connsiteX49" fmla="*/ 1039939 w 2441576"/>
              <a:gd name="connsiteY49" fmla="*/ 901153 h 901154"/>
              <a:gd name="connsiteX50" fmla="*/ 969874 w 2441576"/>
              <a:gd name="connsiteY50" fmla="*/ 901153 h 901154"/>
              <a:gd name="connsiteX51" fmla="*/ 864820 w 2441576"/>
              <a:gd name="connsiteY51" fmla="*/ 901154 h 901154"/>
              <a:gd name="connsiteX52" fmla="*/ 755093 w 2441576"/>
              <a:gd name="connsiteY52" fmla="*/ 901153 h 901154"/>
              <a:gd name="connsiteX53" fmla="*/ 685028 w 2441576"/>
              <a:gd name="connsiteY53" fmla="*/ 901153 h 901154"/>
              <a:gd name="connsiteX54" fmla="*/ 581332 w 2441576"/>
              <a:gd name="connsiteY54" fmla="*/ 901153 h 901154"/>
              <a:gd name="connsiteX55" fmla="*/ 471351 w 2441576"/>
              <a:gd name="connsiteY55" fmla="*/ 901153 h 901154"/>
              <a:gd name="connsiteX56" fmla="*/ 470246 w 2441576"/>
              <a:gd name="connsiteY56" fmla="*/ 901153 h 901154"/>
              <a:gd name="connsiteX57" fmla="*/ 377080 w 2441576"/>
              <a:gd name="connsiteY57" fmla="*/ 901153 h 901154"/>
              <a:gd name="connsiteX58" fmla="*/ 282811 w 2441576"/>
              <a:gd name="connsiteY58" fmla="*/ 901153 h 901154"/>
              <a:gd name="connsiteX59" fmla="*/ 188541 w 2441576"/>
              <a:gd name="connsiteY59" fmla="*/ 901153 h 901154"/>
              <a:gd name="connsiteX60" fmla="*/ 185400 w 2441576"/>
              <a:gd name="connsiteY60" fmla="*/ 901153 h 901154"/>
              <a:gd name="connsiteX61" fmla="*/ 94270 w 2441576"/>
              <a:gd name="connsiteY61" fmla="*/ 901153 h 901154"/>
              <a:gd name="connsiteX62" fmla="*/ 0 w 2441576"/>
              <a:gd name="connsiteY62" fmla="*/ 901153 h 901154"/>
              <a:gd name="connsiteX63" fmla="*/ 0 w 2441576"/>
              <a:gd name="connsiteY63" fmla="*/ 832545 h 901154"/>
              <a:gd name="connsiteX64" fmla="*/ 0 w 2441576"/>
              <a:gd name="connsiteY64" fmla="*/ 760507 h 901154"/>
              <a:gd name="connsiteX65" fmla="*/ 0 w 2441576"/>
              <a:gd name="connsiteY65" fmla="*/ 691899 h 901154"/>
              <a:gd name="connsiteX66" fmla="*/ 0 w 2441576"/>
              <a:gd name="connsiteY66" fmla="*/ 608455 h 901154"/>
              <a:gd name="connsiteX67" fmla="*/ 0 w 2441576"/>
              <a:gd name="connsiteY67" fmla="*/ 539847 h 901154"/>
              <a:gd name="connsiteX68" fmla="*/ 0 w 2441576"/>
              <a:gd name="connsiteY68" fmla="*/ 456403 h 901154"/>
              <a:gd name="connsiteX69" fmla="*/ 0 w 2441576"/>
              <a:gd name="connsiteY69" fmla="*/ 387795 h 901154"/>
              <a:gd name="connsiteX70" fmla="*/ 0 w 2441576"/>
              <a:gd name="connsiteY70" fmla="*/ 304351 h 901154"/>
              <a:gd name="connsiteX71" fmla="*/ 0 w 2441576"/>
              <a:gd name="connsiteY71" fmla="*/ 235743 h 901154"/>
              <a:gd name="connsiteX72" fmla="*/ 0 w 2441576"/>
              <a:gd name="connsiteY72" fmla="*/ 152299 h 901154"/>
              <a:gd name="connsiteX73" fmla="*/ 0 w 2441576"/>
              <a:gd name="connsiteY73" fmla="*/ 83691 h 901154"/>
              <a:gd name="connsiteX74" fmla="*/ 0 w 2441576"/>
              <a:gd name="connsiteY74" fmla="*/ 247 h 901154"/>
              <a:gd name="connsiteX0" fmla="*/ 0 w 2441576"/>
              <a:gd name="connsiteY0" fmla="*/ 247 h 901154"/>
              <a:gd name="connsiteX1" fmla="*/ 94270 w 2441576"/>
              <a:gd name="connsiteY1" fmla="*/ 247 h 901154"/>
              <a:gd name="connsiteX2" fmla="*/ 185400 w 2441576"/>
              <a:gd name="connsiteY2" fmla="*/ 247 h 901154"/>
              <a:gd name="connsiteX3" fmla="*/ 188541 w 2441576"/>
              <a:gd name="connsiteY3" fmla="*/ 247 h 901154"/>
              <a:gd name="connsiteX4" fmla="*/ 282811 w 2441576"/>
              <a:gd name="connsiteY4" fmla="*/ 247 h 901154"/>
              <a:gd name="connsiteX5" fmla="*/ 377080 w 2441576"/>
              <a:gd name="connsiteY5" fmla="*/ 247 h 901154"/>
              <a:gd name="connsiteX6" fmla="*/ 470246 w 2441576"/>
              <a:gd name="connsiteY6" fmla="*/ 247 h 901154"/>
              <a:gd name="connsiteX7" fmla="*/ 471351 w 2441576"/>
              <a:gd name="connsiteY7" fmla="*/ 247 h 901154"/>
              <a:gd name="connsiteX8" fmla="*/ 581332 w 2441576"/>
              <a:gd name="connsiteY8" fmla="*/ 247 h 901154"/>
              <a:gd name="connsiteX9" fmla="*/ 685028 w 2441576"/>
              <a:gd name="connsiteY9" fmla="*/ 247 h 901154"/>
              <a:gd name="connsiteX10" fmla="*/ 755093 w 2441576"/>
              <a:gd name="connsiteY10" fmla="*/ 247 h 901154"/>
              <a:gd name="connsiteX11" fmla="*/ 969874 w 2441576"/>
              <a:gd name="connsiteY11" fmla="*/ 247 h 901154"/>
              <a:gd name="connsiteX12" fmla="*/ 1039939 w 2441576"/>
              <a:gd name="connsiteY12" fmla="*/ 247 h 901154"/>
              <a:gd name="connsiteX13" fmla="*/ 1254721 w 2441576"/>
              <a:gd name="connsiteY13" fmla="*/ 247 h 901154"/>
              <a:gd name="connsiteX14" fmla="*/ 1324785 w 2441576"/>
              <a:gd name="connsiteY14" fmla="*/ 247 h 901154"/>
              <a:gd name="connsiteX15" fmla="*/ 1430031 w 2441576"/>
              <a:gd name="connsiteY15" fmla="*/ 0 h 901154"/>
              <a:gd name="connsiteX16" fmla="*/ 1539566 w 2441576"/>
              <a:gd name="connsiteY16" fmla="*/ 247 h 901154"/>
              <a:gd name="connsiteX17" fmla="*/ 1609632 w 2441576"/>
              <a:gd name="connsiteY17" fmla="*/ 247 h 901154"/>
              <a:gd name="connsiteX18" fmla="*/ 1824412 w 2441576"/>
              <a:gd name="connsiteY18" fmla="*/ 247 h 901154"/>
              <a:gd name="connsiteX19" fmla="*/ 1941949 w 2441576"/>
              <a:gd name="connsiteY19" fmla="*/ 247 h 901154"/>
              <a:gd name="connsiteX20" fmla="*/ 2094866 w 2441576"/>
              <a:gd name="connsiteY20" fmla="*/ 247 h 901154"/>
              <a:gd name="connsiteX21" fmla="*/ 2176781 w 2441576"/>
              <a:gd name="connsiteY21" fmla="*/ 247 h 901154"/>
              <a:gd name="connsiteX22" fmla="*/ 2258696 w 2441576"/>
              <a:gd name="connsiteY22" fmla="*/ 247 h 901154"/>
              <a:gd name="connsiteX23" fmla="*/ 2321561 w 2441576"/>
              <a:gd name="connsiteY23" fmla="*/ 247 h 901154"/>
              <a:gd name="connsiteX24" fmla="*/ 2441576 w 2441576"/>
              <a:gd name="connsiteY24" fmla="*/ 247 h 901154"/>
              <a:gd name="connsiteX25" fmla="*/ 2441576 w 2441576"/>
              <a:gd name="connsiteY25" fmla="*/ 83691 h 901154"/>
              <a:gd name="connsiteX26" fmla="*/ 2441576 w 2441576"/>
              <a:gd name="connsiteY26" fmla="*/ 152299 h 901154"/>
              <a:gd name="connsiteX27" fmla="*/ 2441576 w 2441576"/>
              <a:gd name="connsiteY27" fmla="*/ 235743 h 901154"/>
              <a:gd name="connsiteX28" fmla="*/ 2441576 w 2441576"/>
              <a:gd name="connsiteY28" fmla="*/ 304351 h 901154"/>
              <a:gd name="connsiteX29" fmla="*/ 2441576 w 2441576"/>
              <a:gd name="connsiteY29" fmla="*/ 387795 h 901154"/>
              <a:gd name="connsiteX30" fmla="*/ 2441576 w 2441576"/>
              <a:gd name="connsiteY30" fmla="*/ 456403 h 901154"/>
              <a:gd name="connsiteX31" fmla="*/ 2441576 w 2441576"/>
              <a:gd name="connsiteY31" fmla="*/ 539847 h 901154"/>
              <a:gd name="connsiteX32" fmla="*/ 2441576 w 2441576"/>
              <a:gd name="connsiteY32" fmla="*/ 608455 h 901154"/>
              <a:gd name="connsiteX33" fmla="*/ 2441576 w 2441576"/>
              <a:gd name="connsiteY33" fmla="*/ 691899 h 901154"/>
              <a:gd name="connsiteX34" fmla="*/ 2441576 w 2441576"/>
              <a:gd name="connsiteY34" fmla="*/ 760507 h 901154"/>
              <a:gd name="connsiteX35" fmla="*/ 2441576 w 2441576"/>
              <a:gd name="connsiteY35" fmla="*/ 832545 h 901154"/>
              <a:gd name="connsiteX36" fmla="*/ 2441576 w 2441576"/>
              <a:gd name="connsiteY36" fmla="*/ 901153 h 901154"/>
              <a:gd name="connsiteX37" fmla="*/ 2321561 w 2441576"/>
              <a:gd name="connsiteY37" fmla="*/ 901153 h 901154"/>
              <a:gd name="connsiteX38" fmla="*/ 2239646 w 2441576"/>
              <a:gd name="connsiteY38" fmla="*/ 901153 h 901154"/>
              <a:gd name="connsiteX39" fmla="*/ 2176781 w 2441576"/>
              <a:gd name="connsiteY39" fmla="*/ 901153 h 901154"/>
              <a:gd name="connsiteX40" fmla="*/ 2109259 w 2441576"/>
              <a:gd name="connsiteY40" fmla="*/ 901153 h 901154"/>
              <a:gd name="connsiteX41" fmla="*/ 1941949 w 2441576"/>
              <a:gd name="connsiteY41" fmla="*/ 901153 h 901154"/>
              <a:gd name="connsiteX42" fmla="*/ 1824412 w 2441576"/>
              <a:gd name="connsiteY42" fmla="*/ 901153 h 901154"/>
              <a:gd name="connsiteX43" fmla="*/ 1720844 w 2441576"/>
              <a:gd name="connsiteY43" fmla="*/ 901153 h 901154"/>
              <a:gd name="connsiteX44" fmla="*/ 1609632 w 2441576"/>
              <a:gd name="connsiteY44" fmla="*/ 901153 h 901154"/>
              <a:gd name="connsiteX45" fmla="*/ 1539566 w 2441576"/>
              <a:gd name="connsiteY45" fmla="*/ 901153 h 901154"/>
              <a:gd name="connsiteX46" fmla="*/ 1427685 w 2441576"/>
              <a:gd name="connsiteY46" fmla="*/ 901153 h 901154"/>
              <a:gd name="connsiteX47" fmla="*/ 1324785 w 2441576"/>
              <a:gd name="connsiteY47" fmla="*/ 901153 h 901154"/>
              <a:gd name="connsiteX48" fmla="*/ 1254721 w 2441576"/>
              <a:gd name="connsiteY48" fmla="*/ 901153 h 901154"/>
              <a:gd name="connsiteX49" fmla="*/ 1146253 w 2441576"/>
              <a:gd name="connsiteY49" fmla="*/ 901153 h 901154"/>
              <a:gd name="connsiteX50" fmla="*/ 1039939 w 2441576"/>
              <a:gd name="connsiteY50" fmla="*/ 901153 h 901154"/>
              <a:gd name="connsiteX51" fmla="*/ 969874 w 2441576"/>
              <a:gd name="connsiteY51" fmla="*/ 901153 h 901154"/>
              <a:gd name="connsiteX52" fmla="*/ 864820 w 2441576"/>
              <a:gd name="connsiteY52" fmla="*/ 901154 h 901154"/>
              <a:gd name="connsiteX53" fmla="*/ 755093 w 2441576"/>
              <a:gd name="connsiteY53" fmla="*/ 901153 h 901154"/>
              <a:gd name="connsiteX54" fmla="*/ 685028 w 2441576"/>
              <a:gd name="connsiteY54" fmla="*/ 901153 h 901154"/>
              <a:gd name="connsiteX55" fmla="*/ 581332 w 2441576"/>
              <a:gd name="connsiteY55" fmla="*/ 901153 h 901154"/>
              <a:gd name="connsiteX56" fmla="*/ 471351 w 2441576"/>
              <a:gd name="connsiteY56" fmla="*/ 901153 h 901154"/>
              <a:gd name="connsiteX57" fmla="*/ 470246 w 2441576"/>
              <a:gd name="connsiteY57" fmla="*/ 901153 h 901154"/>
              <a:gd name="connsiteX58" fmla="*/ 377080 w 2441576"/>
              <a:gd name="connsiteY58" fmla="*/ 901153 h 901154"/>
              <a:gd name="connsiteX59" fmla="*/ 282811 w 2441576"/>
              <a:gd name="connsiteY59" fmla="*/ 901153 h 901154"/>
              <a:gd name="connsiteX60" fmla="*/ 188541 w 2441576"/>
              <a:gd name="connsiteY60" fmla="*/ 901153 h 901154"/>
              <a:gd name="connsiteX61" fmla="*/ 185400 w 2441576"/>
              <a:gd name="connsiteY61" fmla="*/ 901153 h 901154"/>
              <a:gd name="connsiteX62" fmla="*/ 94270 w 2441576"/>
              <a:gd name="connsiteY62" fmla="*/ 901153 h 901154"/>
              <a:gd name="connsiteX63" fmla="*/ 0 w 2441576"/>
              <a:gd name="connsiteY63" fmla="*/ 901153 h 901154"/>
              <a:gd name="connsiteX64" fmla="*/ 0 w 2441576"/>
              <a:gd name="connsiteY64" fmla="*/ 832545 h 901154"/>
              <a:gd name="connsiteX65" fmla="*/ 0 w 2441576"/>
              <a:gd name="connsiteY65" fmla="*/ 760507 h 901154"/>
              <a:gd name="connsiteX66" fmla="*/ 0 w 2441576"/>
              <a:gd name="connsiteY66" fmla="*/ 691899 h 901154"/>
              <a:gd name="connsiteX67" fmla="*/ 0 w 2441576"/>
              <a:gd name="connsiteY67" fmla="*/ 608455 h 901154"/>
              <a:gd name="connsiteX68" fmla="*/ 0 w 2441576"/>
              <a:gd name="connsiteY68" fmla="*/ 539847 h 901154"/>
              <a:gd name="connsiteX69" fmla="*/ 0 w 2441576"/>
              <a:gd name="connsiteY69" fmla="*/ 456403 h 901154"/>
              <a:gd name="connsiteX70" fmla="*/ 0 w 2441576"/>
              <a:gd name="connsiteY70" fmla="*/ 387795 h 901154"/>
              <a:gd name="connsiteX71" fmla="*/ 0 w 2441576"/>
              <a:gd name="connsiteY71" fmla="*/ 304351 h 901154"/>
              <a:gd name="connsiteX72" fmla="*/ 0 w 2441576"/>
              <a:gd name="connsiteY72" fmla="*/ 235743 h 901154"/>
              <a:gd name="connsiteX73" fmla="*/ 0 w 2441576"/>
              <a:gd name="connsiteY73" fmla="*/ 152299 h 901154"/>
              <a:gd name="connsiteX74" fmla="*/ 0 w 2441576"/>
              <a:gd name="connsiteY74" fmla="*/ 83691 h 901154"/>
              <a:gd name="connsiteX75" fmla="*/ 0 w 2441576"/>
              <a:gd name="connsiteY75" fmla="*/ 247 h 901154"/>
              <a:gd name="connsiteX0" fmla="*/ 0 w 2441576"/>
              <a:gd name="connsiteY0" fmla="*/ 247 h 901154"/>
              <a:gd name="connsiteX1" fmla="*/ 94270 w 2441576"/>
              <a:gd name="connsiteY1" fmla="*/ 247 h 901154"/>
              <a:gd name="connsiteX2" fmla="*/ 185400 w 2441576"/>
              <a:gd name="connsiteY2" fmla="*/ 247 h 901154"/>
              <a:gd name="connsiteX3" fmla="*/ 188541 w 2441576"/>
              <a:gd name="connsiteY3" fmla="*/ 247 h 901154"/>
              <a:gd name="connsiteX4" fmla="*/ 282811 w 2441576"/>
              <a:gd name="connsiteY4" fmla="*/ 247 h 901154"/>
              <a:gd name="connsiteX5" fmla="*/ 377080 w 2441576"/>
              <a:gd name="connsiteY5" fmla="*/ 247 h 901154"/>
              <a:gd name="connsiteX6" fmla="*/ 470246 w 2441576"/>
              <a:gd name="connsiteY6" fmla="*/ 247 h 901154"/>
              <a:gd name="connsiteX7" fmla="*/ 471351 w 2441576"/>
              <a:gd name="connsiteY7" fmla="*/ 247 h 901154"/>
              <a:gd name="connsiteX8" fmla="*/ 581332 w 2441576"/>
              <a:gd name="connsiteY8" fmla="*/ 247 h 901154"/>
              <a:gd name="connsiteX9" fmla="*/ 685028 w 2441576"/>
              <a:gd name="connsiteY9" fmla="*/ 247 h 901154"/>
              <a:gd name="connsiteX10" fmla="*/ 755093 w 2441576"/>
              <a:gd name="connsiteY10" fmla="*/ 247 h 901154"/>
              <a:gd name="connsiteX11" fmla="*/ 969874 w 2441576"/>
              <a:gd name="connsiteY11" fmla="*/ 247 h 901154"/>
              <a:gd name="connsiteX12" fmla="*/ 1039939 w 2441576"/>
              <a:gd name="connsiteY12" fmla="*/ 247 h 901154"/>
              <a:gd name="connsiteX13" fmla="*/ 1254721 w 2441576"/>
              <a:gd name="connsiteY13" fmla="*/ 247 h 901154"/>
              <a:gd name="connsiteX14" fmla="*/ 1324785 w 2441576"/>
              <a:gd name="connsiteY14" fmla="*/ 247 h 901154"/>
              <a:gd name="connsiteX15" fmla="*/ 1430031 w 2441576"/>
              <a:gd name="connsiteY15" fmla="*/ 0 h 901154"/>
              <a:gd name="connsiteX16" fmla="*/ 1539566 w 2441576"/>
              <a:gd name="connsiteY16" fmla="*/ 247 h 901154"/>
              <a:gd name="connsiteX17" fmla="*/ 1609632 w 2441576"/>
              <a:gd name="connsiteY17" fmla="*/ 247 h 901154"/>
              <a:gd name="connsiteX18" fmla="*/ 1824412 w 2441576"/>
              <a:gd name="connsiteY18" fmla="*/ 247 h 901154"/>
              <a:gd name="connsiteX19" fmla="*/ 1941949 w 2441576"/>
              <a:gd name="connsiteY19" fmla="*/ 247 h 901154"/>
              <a:gd name="connsiteX20" fmla="*/ 2094866 w 2441576"/>
              <a:gd name="connsiteY20" fmla="*/ 247 h 901154"/>
              <a:gd name="connsiteX21" fmla="*/ 2176781 w 2441576"/>
              <a:gd name="connsiteY21" fmla="*/ 247 h 901154"/>
              <a:gd name="connsiteX22" fmla="*/ 2258696 w 2441576"/>
              <a:gd name="connsiteY22" fmla="*/ 247 h 901154"/>
              <a:gd name="connsiteX23" fmla="*/ 2321561 w 2441576"/>
              <a:gd name="connsiteY23" fmla="*/ 247 h 901154"/>
              <a:gd name="connsiteX24" fmla="*/ 2441576 w 2441576"/>
              <a:gd name="connsiteY24" fmla="*/ 247 h 901154"/>
              <a:gd name="connsiteX25" fmla="*/ 2441576 w 2441576"/>
              <a:gd name="connsiteY25" fmla="*/ 83691 h 901154"/>
              <a:gd name="connsiteX26" fmla="*/ 2441576 w 2441576"/>
              <a:gd name="connsiteY26" fmla="*/ 152299 h 901154"/>
              <a:gd name="connsiteX27" fmla="*/ 2441576 w 2441576"/>
              <a:gd name="connsiteY27" fmla="*/ 235743 h 901154"/>
              <a:gd name="connsiteX28" fmla="*/ 2441576 w 2441576"/>
              <a:gd name="connsiteY28" fmla="*/ 304351 h 901154"/>
              <a:gd name="connsiteX29" fmla="*/ 2441576 w 2441576"/>
              <a:gd name="connsiteY29" fmla="*/ 387795 h 901154"/>
              <a:gd name="connsiteX30" fmla="*/ 2441576 w 2441576"/>
              <a:gd name="connsiteY30" fmla="*/ 456403 h 901154"/>
              <a:gd name="connsiteX31" fmla="*/ 2441576 w 2441576"/>
              <a:gd name="connsiteY31" fmla="*/ 539847 h 901154"/>
              <a:gd name="connsiteX32" fmla="*/ 2441576 w 2441576"/>
              <a:gd name="connsiteY32" fmla="*/ 608455 h 901154"/>
              <a:gd name="connsiteX33" fmla="*/ 2441576 w 2441576"/>
              <a:gd name="connsiteY33" fmla="*/ 691899 h 901154"/>
              <a:gd name="connsiteX34" fmla="*/ 2441576 w 2441576"/>
              <a:gd name="connsiteY34" fmla="*/ 760507 h 901154"/>
              <a:gd name="connsiteX35" fmla="*/ 2441576 w 2441576"/>
              <a:gd name="connsiteY35" fmla="*/ 832545 h 901154"/>
              <a:gd name="connsiteX36" fmla="*/ 2441576 w 2441576"/>
              <a:gd name="connsiteY36" fmla="*/ 901153 h 901154"/>
              <a:gd name="connsiteX37" fmla="*/ 2321561 w 2441576"/>
              <a:gd name="connsiteY37" fmla="*/ 901153 h 901154"/>
              <a:gd name="connsiteX38" fmla="*/ 2239646 w 2441576"/>
              <a:gd name="connsiteY38" fmla="*/ 901153 h 901154"/>
              <a:gd name="connsiteX39" fmla="*/ 2176781 w 2441576"/>
              <a:gd name="connsiteY39" fmla="*/ 901153 h 901154"/>
              <a:gd name="connsiteX40" fmla="*/ 2109259 w 2441576"/>
              <a:gd name="connsiteY40" fmla="*/ 901153 h 901154"/>
              <a:gd name="connsiteX41" fmla="*/ 2025730 w 2441576"/>
              <a:gd name="connsiteY41" fmla="*/ 901153 h 901154"/>
              <a:gd name="connsiteX42" fmla="*/ 1941949 w 2441576"/>
              <a:gd name="connsiteY42" fmla="*/ 901153 h 901154"/>
              <a:gd name="connsiteX43" fmla="*/ 1824412 w 2441576"/>
              <a:gd name="connsiteY43" fmla="*/ 901153 h 901154"/>
              <a:gd name="connsiteX44" fmla="*/ 1720844 w 2441576"/>
              <a:gd name="connsiteY44" fmla="*/ 901153 h 901154"/>
              <a:gd name="connsiteX45" fmla="*/ 1609632 w 2441576"/>
              <a:gd name="connsiteY45" fmla="*/ 901153 h 901154"/>
              <a:gd name="connsiteX46" fmla="*/ 1539566 w 2441576"/>
              <a:gd name="connsiteY46" fmla="*/ 901153 h 901154"/>
              <a:gd name="connsiteX47" fmla="*/ 1427685 w 2441576"/>
              <a:gd name="connsiteY47" fmla="*/ 901153 h 901154"/>
              <a:gd name="connsiteX48" fmla="*/ 1324785 w 2441576"/>
              <a:gd name="connsiteY48" fmla="*/ 901153 h 901154"/>
              <a:gd name="connsiteX49" fmla="*/ 1254721 w 2441576"/>
              <a:gd name="connsiteY49" fmla="*/ 901153 h 901154"/>
              <a:gd name="connsiteX50" fmla="*/ 1146253 w 2441576"/>
              <a:gd name="connsiteY50" fmla="*/ 901153 h 901154"/>
              <a:gd name="connsiteX51" fmla="*/ 1039939 w 2441576"/>
              <a:gd name="connsiteY51" fmla="*/ 901153 h 901154"/>
              <a:gd name="connsiteX52" fmla="*/ 969874 w 2441576"/>
              <a:gd name="connsiteY52" fmla="*/ 901153 h 901154"/>
              <a:gd name="connsiteX53" fmla="*/ 864820 w 2441576"/>
              <a:gd name="connsiteY53" fmla="*/ 901154 h 901154"/>
              <a:gd name="connsiteX54" fmla="*/ 755093 w 2441576"/>
              <a:gd name="connsiteY54" fmla="*/ 901153 h 901154"/>
              <a:gd name="connsiteX55" fmla="*/ 685028 w 2441576"/>
              <a:gd name="connsiteY55" fmla="*/ 901153 h 901154"/>
              <a:gd name="connsiteX56" fmla="*/ 581332 w 2441576"/>
              <a:gd name="connsiteY56" fmla="*/ 901153 h 901154"/>
              <a:gd name="connsiteX57" fmla="*/ 471351 w 2441576"/>
              <a:gd name="connsiteY57" fmla="*/ 901153 h 901154"/>
              <a:gd name="connsiteX58" fmla="*/ 470246 w 2441576"/>
              <a:gd name="connsiteY58" fmla="*/ 901153 h 901154"/>
              <a:gd name="connsiteX59" fmla="*/ 377080 w 2441576"/>
              <a:gd name="connsiteY59" fmla="*/ 901153 h 901154"/>
              <a:gd name="connsiteX60" fmla="*/ 282811 w 2441576"/>
              <a:gd name="connsiteY60" fmla="*/ 901153 h 901154"/>
              <a:gd name="connsiteX61" fmla="*/ 188541 w 2441576"/>
              <a:gd name="connsiteY61" fmla="*/ 901153 h 901154"/>
              <a:gd name="connsiteX62" fmla="*/ 185400 w 2441576"/>
              <a:gd name="connsiteY62" fmla="*/ 901153 h 901154"/>
              <a:gd name="connsiteX63" fmla="*/ 94270 w 2441576"/>
              <a:gd name="connsiteY63" fmla="*/ 901153 h 901154"/>
              <a:gd name="connsiteX64" fmla="*/ 0 w 2441576"/>
              <a:gd name="connsiteY64" fmla="*/ 901153 h 901154"/>
              <a:gd name="connsiteX65" fmla="*/ 0 w 2441576"/>
              <a:gd name="connsiteY65" fmla="*/ 832545 h 901154"/>
              <a:gd name="connsiteX66" fmla="*/ 0 w 2441576"/>
              <a:gd name="connsiteY66" fmla="*/ 760507 h 901154"/>
              <a:gd name="connsiteX67" fmla="*/ 0 w 2441576"/>
              <a:gd name="connsiteY67" fmla="*/ 691899 h 901154"/>
              <a:gd name="connsiteX68" fmla="*/ 0 w 2441576"/>
              <a:gd name="connsiteY68" fmla="*/ 608455 h 901154"/>
              <a:gd name="connsiteX69" fmla="*/ 0 w 2441576"/>
              <a:gd name="connsiteY69" fmla="*/ 539847 h 901154"/>
              <a:gd name="connsiteX70" fmla="*/ 0 w 2441576"/>
              <a:gd name="connsiteY70" fmla="*/ 456403 h 901154"/>
              <a:gd name="connsiteX71" fmla="*/ 0 w 2441576"/>
              <a:gd name="connsiteY71" fmla="*/ 387795 h 901154"/>
              <a:gd name="connsiteX72" fmla="*/ 0 w 2441576"/>
              <a:gd name="connsiteY72" fmla="*/ 304351 h 901154"/>
              <a:gd name="connsiteX73" fmla="*/ 0 w 2441576"/>
              <a:gd name="connsiteY73" fmla="*/ 235743 h 901154"/>
              <a:gd name="connsiteX74" fmla="*/ 0 w 2441576"/>
              <a:gd name="connsiteY74" fmla="*/ 152299 h 901154"/>
              <a:gd name="connsiteX75" fmla="*/ 0 w 2441576"/>
              <a:gd name="connsiteY75" fmla="*/ 83691 h 901154"/>
              <a:gd name="connsiteX76" fmla="*/ 0 w 2441576"/>
              <a:gd name="connsiteY76" fmla="*/ 247 h 901154"/>
              <a:gd name="connsiteX0" fmla="*/ 0 w 2441576"/>
              <a:gd name="connsiteY0" fmla="*/ 247 h 901154"/>
              <a:gd name="connsiteX1" fmla="*/ 94270 w 2441576"/>
              <a:gd name="connsiteY1" fmla="*/ 247 h 901154"/>
              <a:gd name="connsiteX2" fmla="*/ 185400 w 2441576"/>
              <a:gd name="connsiteY2" fmla="*/ 247 h 901154"/>
              <a:gd name="connsiteX3" fmla="*/ 188541 w 2441576"/>
              <a:gd name="connsiteY3" fmla="*/ 247 h 901154"/>
              <a:gd name="connsiteX4" fmla="*/ 282811 w 2441576"/>
              <a:gd name="connsiteY4" fmla="*/ 247 h 901154"/>
              <a:gd name="connsiteX5" fmla="*/ 377080 w 2441576"/>
              <a:gd name="connsiteY5" fmla="*/ 247 h 901154"/>
              <a:gd name="connsiteX6" fmla="*/ 470246 w 2441576"/>
              <a:gd name="connsiteY6" fmla="*/ 247 h 901154"/>
              <a:gd name="connsiteX7" fmla="*/ 471351 w 2441576"/>
              <a:gd name="connsiteY7" fmla="*/ 247 h 901154"/>
              <a:gd name="connsiteX8" fmla="*/ 581332 w 2441576"/>
              <a:gd name="connsiteY8" fmla="*/ 247 h 901154"/>
              <a:gd name="connsiteX9" fmla="*/ 685028 w 2441576"/>
              <a:gd name="connsiteY9" fmla="*/ 247 h 901154"/>
              <a:gd name="connsiteX10" fmla="*/ 755093 w 2441576"/>
              <a:gd name="connsiteY10" fmla="*/ 247 h 901154"/>
              <a:gd name="connsiteX11" fmla="*/ 969874 w 2441576"/>
              <a:gd name="connsiteY11" fmla="*/ 247 h 901154"/>
              <a:gd name="connsiteX12" fmla="*/ 1039939 w 2441576"/>
              <a:gd name="connsiteY12" fmla="*/ 247 h 901154"/>
              <a:gd name="connsiteX13" fmla="*/ 1254721 w 2441576"/>
              <a:gd name="connsiteY13" fmla="*/ 247 h 901154"/>
              <a:gd name="connsiteX14" fmla="*/ 1324785 w 2441576"/>
              <a:gd name="connsiteY14" fmla="*/ 247 h 901154"/>
              <a:gd name="connsiteX15" fmla="*/ 1430031 w 2441576"/>
              <a:gd name="connsiteY15" fmla="*/ 0 h 901154"/>
              <a:gd name="connsiteX16" fmla="*/ 1539566 w 2441576"/>
              <a:gd name="connsiteY16" fmla="*/ 247 h 901154"/>
              <a:gd name="connsiteX17" fmla="*/ 1609632 w 2441576"/>
              <a:gd name="connsiteY17" fmla="*/ 247 h 901154"/>
              <a:gd name="connsiteX18" fmla="*/ 1707946 w 2441576"/>
              <a:gd name="connsiteY18" fmla="*/ 1 h 901154"/>
              <a:gd name="connsiteX19" fmla="*/ 1824412 w 2441576"/>
              <a:gd name="connsiteY19" fmla="*/ 247 h 901154"/>
              <a:gd name="connsiteX20" fmla="*/ 1941949 w 2441576"/>
              <a:gd name="connsiteY20" fmla="*/ 247 h 901154"/>
              <a:gd name="connsiteX21" fmla="*/ 2094866 w 2441576"/>
              <a:gd name="connsiteY21" fmla="*/ 247 h 901154"/>
              <a:gd name="connsiteX22" fmla="*/ 2176781 w 2441576"/>
              <a:gd name="connsiteY22" fmla="*/ 247 h 901154"/>
              <a:gd name="connsiteX23" fmla="*/ 2258696 w 2441576"/>
              <a:gd name="connsiteY23" fmla="*/ 247 h 901154"/>
              <a:gd name="connsiteX24" fmla="*/ 2321561 w 2441576"/>
              <a:gd name="connsiteY24" fmla="*/ 247 h 901154"/>
              <a:gd name="connsiteX25" fmla="*/ 2441576 w 2441576"/>
              <a:gd name="connsiteY25" fmla="*/ 247 h 901154"/>
              <a:gd name="connsiteX26" fmla="*/ 2441576 w 2441576"/>
              <a:gd name="connsiteY26" fmla="*/ 83691 h 901154"/>
              <a:gd name="connsiteX27" fmla="*/ 2441576 w 2441576"/>
              <a:gd name="connsiteY27" fmla="*/ 152299 h 901154"/>
              <a:gd name="connsiteX28" fmla="*/ 2441576 w 2441576"/>
              <a:gd name="connsiteY28" fmla="*/ 235743 h 901154"/>
              <a:gd name="connsiteX29" fmla="*/ 2441576 w 2441576"/>
              <a:gd name="connsiteY29" fmla="*/ 304351 h 901154"/>
              <a:gd name="connsiteX30" fmla="*/ 2441576 w 2441576"/>
              <a:gd name="connsiteY30" fmla="*/ 387795 h 901154"/>
              <a:gd name="connsiteX31" fmla="*/ 2441576 w 2441576"/>
              <a:gd name="connsiteY31" fmla="*/ 456403 h 901154"/>
              <a:gd name="connsiteX32" fmla="*/ 2441576 w 2441576"/>
              <a:gd name="connsiteY32" fmla="*/ 539847 h 901154"/>
              <a:gd name="connsiteX33" fmla="*/ 2441576 w 2441576"/>
              <a:gd name="connsiteY33" fmla="*/ 608455 h 901154"/>
              <a:gd name="connsiteX34" fmla="*/ 2441576 w 2441576"/>
              <a:gd name="connsiteY34" fmla="*/ 691899 h 901154"/>
              <a:gd name="connsiteX35" fmla="*/ 2441576 w 2441576"/>
              <a:gd name="connsiteY35" fmla="*/ 760507 h 901154"/>
              <a:gd name="connsiteX36" fmla="*/ 2441576 w 2441576"/>
              <a:gd name="connsiteY36" fmla="*/ 832545 h 901154"/>
              <a:gd name="connsiteX37" fmla="*/ 2441576 w 2441576"/>
              <a:gd name="connsiteY37" fmla="*/ 901153 h 901154"/>
              <a:gd name="connsiteX38" fmla="*/ 2321561 w 2441576"/>
              <a:gd name="connsiteY38" fmla="*/ 901153 h 901154"/>
              <a:gd name="connsiteX39" fmla="*/ 2239646 w 2441576"/>
              <a:gd name="connsiteY39" fmla="*/ 901153 h 901154"/>
              <a:gd name="connsiteX40" fmla="*/ 2176781 w 2441576"/>
              <a:gd name="connsiteY40" fmla="*/ 901153 h 901154"/>
              <a:gd name="connsiteX41" fmla="*/ 2109259 w 2441576"/>
              <a:gd name="connsiteY41" fmla="*/ 901153 h 901154"/>
              <a:gd name="connsiteX42" fmla="*/ 2025730 w 2441576"/>
              <a:gd name="connsiteY42" fmla="*/ 901153 h 901154"/>
              <a:gd name="connsiteX43" fmla="*/ 1941949 w 2441576"/>
              <a:gd name="connsiteY43" fmla="*/ 901153 h 901154"/>
              <a:gd name="connsiteX44" fmla="*/ 1824412 w 2441576"/>
              <a:gd name="connsiteY44" fmla="*/ 901153 h 901154"/>
              <a:gd name="connsiteX45" fmla="*/ 1720844 w 2441576"/>
              <a:gd name="connsiteY45" fmla="*/ 901153 h 901154"/>
              <a:gd name="connsiteX46" fmla="*/ 1609632 w 2441576"/>
              <a:gd name="connsiteY46" fmla="*/ 901153 h 901154"/>
              <a:gd name="connsiteX47" fmla="*/ 1539566 w 2441576"/>
              <a:gd name="connsiteY47" fmla="*/ 901153 h 901154"/>
              <a:gd name="connsiteX48" fmla="*/ 1427685 w 2441576"/>
              <a:gd name="connsiteY48" fmla="*/ 901153 h 901154"/>
              <a:gd name="connsiteX49" fmla="*/ 1324785 w 2441576"/>
              <a:gd name="connsiteY49" fmla="*/ 901153 h 901154"/>
              <a:gd name="connsiteX50" fmla="*/ 1254721 w 2441576"/>
              <a:gd name="connsiteY50" fmla="*/ 901153 h 901154"/>
              <a:gd name="connsiteX51" fmla="*/ 1146253 w 2441576"/>
              <a:gd name="connsiteY51" fmla="*/ 901153 h 901154"/>
              <a:gd name="connsiteX52" fmla="*/ 1039939 w 2441576"/>
              <a:gd name="connsiteY52" fmla="*/ 901153 h 901154"/>
              <a:gd name="connsiteX53" fmla="*/ 969874 w 2441576"/>
              <a:gd name="connsiteY53" fmla="*/ 901153 h 901154"/>
              <a:gd name="connsiteX54" fmla="*/ 864820 w 2441576"/>
              <a:gd name="connsiteY54" fmla="*/ 901154 h 901154"/>
              <a:gd name="connsiteX55" fmla="*/ 755093 w 2441576"/>
              <a:gd name="connsiteY55" fmla="*/ 901153 h 901154"/>
              <a:gd name="connsiteX56" fmla="*/ 685028 w 2441576"/>
              <a:gd name="connsiteY56" fmla="*/ 901153 h 901154"/>
              <a:gd name="connsiteX57" fmla="*/ 581332 w 2441576"/>
              <a:gd name="connsiteY57" fmla="*/ 901153 h 901154"/>
              <a:gd name="connsiteX58" fmla="*/ 471351 w 2441576"/>
              <a:gd name="connsiteY58" fmla="*/ 901153 h 901154"/>
              <a:gd name="connsiteX59" fmla="*/ 470246 w 2441576"/>
              <a:gd name="connsiteY59" fmla="*/ 901153 h 901154"/>
              <a:gd name="connsiteX60" fmla="*/ 377080 w 2441576"/>
              <a:gd name="connsiteY60" fmla="*/ 901153 h 901154"/>
              <a:gd name="connsiteX61" fmla="*/ 282811 w 2441576"/>
              <a:gd name="connsiteY61" fmla="*/ 901153 h 901154"/>
              <a:gd name="connsiteX62" fmla="*/ 188541 w 2441576"/>
              <a:gd name="connsiteY62" fmla="*/ 901153 h 901154"/>
              <a:gd name="connsiteX63" fmla="*/ 185400 w 2441576"/>
              <a:gd name="connsiteY63" fmla="*/ 901153 h 901154"/>
              <a:gd name="connsiteX64" fmla="*/ 94270 w 2441576"/>
              <a:gd name="connsiteY64" fmla="*/ 901153 h 901154"/>
              <a:gd name="connsiteX65" fmla="*/ 0 w 2441576"/>
              <a:gd name="connsiteY65" fmla="*/ 901153 h 901154"/>
              <a:gd name="connsiteX66" fmla="*/ 0 w 2441576"/>
              <a:gd name="connsiteY66" fmla="*/ 832545 h 901154"/>
              <a:gd name="connsiteX67" fmla="*/ 0 w 2441576"/>
              <a:gd name="connsiteY67" fmla="*/ 760507 h 901154"/>
              <a:gd name="connsiteX68" fmla="*/ 0 w 2441576"/>
              <a:gd name="connsiteY68" fmla="*/ 691899 h 901154"/>
              <a:gd name="connsiteX69" fmla="*/ 0 w 2441576"/>
              <a:gd name="connsiteY69" fmla="*/ 608455 h 901154"/>
              <a:gd name="connsiteX70" fmla="*/ 0 w 2441576"/>
              <a:gd name="connsiteY70" fmla="*/ 539847 h 901154"/>
              <a:gd name="connsiteX71" fmla="*/ 0 w 2441576"/>
              <a:gd name="connsiteY71" fmla="*/ 456403 h 901154"/>
              <a:gd name="connsiteX72" fmla="*/ 0 w 2441576"/>
              <a:gd name="connsiteY72" fmla="*/ 387795 h 901154"/>
              <a:gd name="connsiteX73" fmla="*/ 0 w 2441576"/>
              <a:gd name="connsiteY73" fmla="*/ 304351 h 901154"/>
              <a:gd name="connsiteX74" fmla="*/ 0 w 2441576"/>
              <a:gd name="connsiteY74" fmla="*/ 235743 h 901154"/>
              <a:gd name="connsiteX75" fmla="*/ 0 w 2441576"/>
              <a:gd name="connsiteY75" fmla="*/ 152299 h 901154"/>
              <a:gd name="connsiteX76" fmla="*/ 0 w 2441576"/>
              <a:gd name="connsiteY76" fmla="*/ 83691 h 901154"/>
              <a:gd name="connsiteX77" fmla="*/ 0 w 2441576"/>
              <a:gd name="connsiteY77" fmla="*/ 247 h 901154"/>
              <a:gd name="connsiteX0" fmla="*/ 0 w 2441576"/>
              <a:gd name="connsiteY0" fmla="*/ 247 h 901154"/>
              <a:gd name="connsiteX1" fmla="*/ 94270 w 2441576"/>
              <a:gd name="connsiteY1" fmla="*/ 247 h 901154"/>
              <a:gd name="connsiteX2" fmla="*/ 185400 w 2441576"/>
              <a:gd name="connsiteY2" fmla="*/ 247 h 901154"/>
              <a:gd name="connsiteX3" fmla="*/ 188541 w 2441576"/>
              <a:gd name="connsiteY3" fmla="*/ 247 h 901154"/>
              <a:gd name="connsiteX4" fmla="*/ 282811 w 2441576"/>
              <a:gd name="connsiteY4" fmla="*/ 247 h 901154"/>
              <a:gd name="connsiteX5" fmla="*/ 377080 w 2441576"/>
              <a:gd name="connsiteY5" fmla="*/ 247 h 901154"/>
              <a:gd name="connsiteX6" fmla="*/ 470246 w 2441576"/>
              <a:gd name="connsiteY6" fmla="*/ 247 h 901154"/>
              <a:gd name="connsiteX7" fmla="*/ 471351 w 2441576"/>
              <a:gd name="connsiteY7" fmla="*/ 247 h 901154"/>
              <a:gd name="connsiteX8" fmla="*/ 581332 w 2441576"/>
              <a:gd name="connsiteY8" fmla="*/ 247 h 901154"/>
              <a:gd name="connsiteX9" fmla="*/ 685028 w 2441576"/>
              <a:gd name="connsiteY9" fmla="*/ 247 h 901154"/>
              <a:gd name="connsiteX10" fmla="*/ 755093 w 2441576"/>
              <a:gd name="connsiteY10" fmla="*/ 247 h 901154"/>
              <a:gd name="connsiteX11" fmla="*/ 969874 w 2441576"/>
              <a:gd name="connsiteY11" fmla="*/ 247 h 901154"/>
              <a:gd name="connsiteX12" fmla="*/ 1039939 w 2441576"/>
              <a:gd name="connsiteY12" fmla="*/ 247 h 901154"/>
              <a:gd name="connsiteX13" fmla="*/ 1146839 w 2441576"/>
              <a:gd name="connsiteY13" fmla="*/ 1 h 901154"/>
              <a:gd name="connsiteX14" fmla="*/ 1254721 w 2441576"/>
              <a:gd name="connsiteY14" fmla="*/ 247 h 901154"/>
              <a:gd name="connsiteX15" fmla="*/ 1324785 w 2441576"/>
              <a:gd name="connsiteY15" fmla="*/ 247 h 901154"/>
              <a:gd name="connsiteX16" fmla="*/ 1430031 w 2441576"/>
              <a:gd name="connsiteY16" fmla="*/ 0 h 901154"/>
              <a:gd name="connsiteX17" fmla="*/ 1539566 w 2441576"/>
              <a:gd name="connsiteY17" fmla="*/ 247 h 901154"/>
              <a:gd name="connsiteX18" fmla="*/ 1609632 w 2441576"/>
              <a:gd name="connsiteY18" fmla="*/ 247 h 901154"/>
              <a:gd name="connsiteX19" fmla="*/ 1707946 w 2441576"/>
              <a:gd name="connsiteY19" fmla="*/ 1 h 901154"/>
              <a:gd name="connsiteX20" fmla="*/ 1824412 w 2441576"/>
              <a:gd name="connsiteY20" fmla="*/ 247 h 901154"/>
              <a:gd name="connsiteX21" fmla="*/ 1941949 w 2441576"/>
              <a:gd name="connsiteY21" fmla="*/ 247 h 901154"/>
              <a:gd name="connsiteX22" fmla="*/ 2094866 w 2441576"/>
              <a:gd name="connsiteY22" fmla="*/ 247 h 901154"/>
              <a:gd name="connsiteX23" fmla="*/ 2176781 w 2441576"/>
              <a:gd name="connsiteY23" fmla="*/ 247 h 901154"/>
              <a:gd name="connsiteX24" fmla="*/ 2258696 w 2441576"/>
              <a:gd name="connsiteY24" fmla="*/ 247 h 901154"/>
              <a:gd name="connsiteX25" fmla="*/ 2321561 w 2441576"/>
              <a:gd name="connsiteY25" fmla="*/ 247 h 901154"/>
              <a:gd name="connsiteX26" fmla="*/ 2441576 w 2441576"/>
              <a:gd name="connsiteY26" fmla="*/ 247 h 901154"/>
              <a:gd name="connsiteX27" fmla="*/ 2441576 w 2441576"/>
              <a:gd name="connsiteY27" fmla="*/ 83691 h 901154"/>
              <a:gd name="connsiteX28" fmla="*/ 2441576 w 2441576"/>
              <a:gd name="connsiteY28" fmla="*/ 152299 h 901154"/>
              <a:gd name="connsiteX29" fmla="*/ 2441576 w 2441576"/>
              <a:gd name="connsiteY29" fmla="*/ 235743 h 901154"/>
              <a:gd name="connsiteX30" fmla="*/ 2441576 w 2441576"/>
              <a:gd name="connsiteY30" fmla="*/ 304351 h 901154"/>
              <a:gd name="connsiteX31" fmla="*/ 2441576 w 2441576"/>
              <a:gd name="connsiteY31" fmla="*/ 387795 h 901154"/>
              <a:gd name="connsiteX32" fmla="*/ 2441576 w 2441576"/>
              <a:gd name="connsiteY32" fmla="*/ 456403 h 901154"/>
              <a:gd name="connsiteX33" fmla="*/ 2441576 w 2441576"/>
              <a:gd name="connsiteY33" fmla="*/ 539847 h 901154"/>
              <a:gd name="connsiteX34" fmla="*/ 2441576 w 2441576"/>
              <a:gd name="connsiteY34" fmla="*/ 608455 h 901154"/>
              <a:gd name="connsiteX35" fmla="*/ 2441576 w 2441576"/>
              <a:gd name="connsiteY35" fmla="*/ 691899 h 901154"/>
              <a:gd name="connsiteX36" fmla="*/ 2441576 w 2441576"/>
              <a:gd name="connsiteY36" fmla="*/ 760507 h 901154"/>
              <a:gd name="connsiteX37" fmla="*/ 2441576 w 2441576"/>
              <a:gd name="connsiteY37" fmla="*/ 832545 h 901154"/>
              <a:gd name="connsiteX38" fmla="*/ 2441576 w 2441576"/>
              <a:gd name="connsiteY38" fmla="*/ 901153 h 901154"/>
              <a:gd name="connsiteX39" fmla="*/ 2321561 w 2441576"/>
              <a:gd name="connsiteY39" fmla="*/ 901153 h 901154"/>
              <a:gd name="connsiteX40" fmla="*/ 2239646 w 2441576"/>
              <a:gd name="connsiteY40" fmla="*/ 901153 h 901154"/>
              <a:gd name="connsiteX41" fmla="*/ 2176781 w 2441576"/>
              <a:gd name="connsiteY41" fmla="*/ 901153 h 901154"/>
              <a:gd name="connsiteX42" fmla="*/ 2109259 w 2441576"/>
              <a:gd name="connsiteY42" fmla="*/ 901153 h 901154"/>
              <a:gd name="connsiteX43" fmla="*/ 2025730 w 2441576"/>
              <a:gd name="connsiteY43" fmla="*/ 901153 h 901154"/>
              <a:gd name="connsiteX44" fmla="*/ 1941949 w 2441576"/>
              <a:gd name="connsiteY44" fmla="*/ 901153 h 901154"/>
              <a:gd name="connsiteX45" fmla="*/ 1824412 w 2441576"/>
              <a:gd name="connsiteY45" fmla="*/ 901153 h 901154"/>
              <a:gd name="connsiteX46" fmla="*/ 1720844 w 2441576"/>
              <a:gd name="connsiteY46" fmla="*/ 901153 h 901154"/>
              <a:gd name="connsiteX47" fmla="*/ 1609632 w 2441576"/>
              <a:gd name="connsiteY47" fmla="*/ 901153 h 901154"/>
              <a:gd name="connsiteX48" fmla="*/ 1539566 w 2441576"/>
              <a:gd name="connsiteY48" fmla="*/ 901153 h 901154"/>
              <a:gd name="connsiteX49" fmla="*/ 1427685 w 2441576"/>
              <a:gd name="connsiteY49" fmla="*/ 901153 h 901154"/>
              <a:gd name="connsiteX50" fmla="*/ 1324785 w 2441576"/>
              <a:gd name="connsiteY50" fmla="*/ 901153 h 901154"/>
              <a:gd name="connsiteX51" fmla="*/ 1254721 w 2441576"/>
              <a:gd name="connsiteY51" fmla="*/ 901153 h 901154"/>
              <a:gd name="connsiteX52" fmla="*/ 1146253 w 2441576"/>
              <a:gd name="connsiteY52" fmla="*/ 901153 h 901154"/>
              <a:gd name="connsiteX53" fmla="*/ 1039939 w 2441576"/>
              <a:gd name="connsiteY53" fmla="*/ 901153 h 901154"/>
              <a:gd name="connsiteX54" fmla="*/ 969874 w 2441576"/>
              <a:gd name="connsiteY54" fmla="*/ 901153 h 901154"/>
              <a:gd name="connsiteX55" fmla="*/ 864820 w 2441576"/>
              <a:gd name="connsiteY55" fmla="*/ 901154 h 901154"/>
              <a:gd name="connsiteX56" fmla="*/ 755093 w 2441576"/>
              <a:gd name="connsiteY56" fmla="*/ 901153 h 901154"/>
              <a:gd name="connsiteX57" fmla="*/ 685028 w 2441576"/>
              <a:gd name="connsiteY57" fmla="*/ 901153 h 901154"/>
              <a:gd name="connsiteX58" fmla="*/ 581332 w 2441576"/>
              <a:gd name="connsiteY58" fmla="*/ 901153 h 901154"/>
              <a:gd name="connsiteX59" fmla="*/ 471351 w 2441576"/>
              <a:gd name="connsiteY59" fmla="*/ 901153 h 901154"/>
              <a:gd name="connsiteX60" fmla="*/ 470246 w 2441576"/>
              <a:gd name="connsiteY60" fmla="*/ 901153 h 901154"/>
              <a:gd name="connsiteX61" fmla="*/ 377080 w 2441576"/>
              <a:gd name="connsiteY61" fmla="*/ 901153 h 901154"/>
              <a:gd name="connsiteX62" fmla="*/ 282811 w 2441576"/>
              <a:gd name="connsiteY62" fmla="*/ 901153 h 901154"/>
              <a:gd name="connsiteX63" fmla="*/ 188541 w 2441576"/>
              <a:gd name="connsiteY63" fmla="*/ 901153 h 901154"/>
              <a:gd name="connsiteX64" fmla="*/ 185400 w 2441576"/>
              <a:gd name="connsiteY64" fmla="*/ 901153 h 901154"/>
              <a:gd name="connsiteX65" fmla="*/ 94270 w 2441576"/>
              <a:gd name="connsiteY65" fmla="*/ 901153 h 901154"/>
              <a:gd name="connsiteX66" fmla="*/ 0 w 2441576"/>
              <a:gd name="connsiteY66" fmla="*/ 901153 h 901154"/>
              <a:gd name="connsiteX67" fmla="*/ 0 w 2441576"/>
              <a:gd name="connsiteY67" fmla="*/ 832545 h 901154"/>
              <a:gd name="connsiteX68" fmla="*/ 0 w 2441576"/>
              <a:gd name="connsiteY68" fmla="*/ 760507 h 901154"/>
              <a:gd name="connsiteX69" fmla="*/ 0 w 2441576"/>
              <a:gd name="connsiteY69" fmla="*/ 691899 h 901154"/>
              <a:gd name="connsiteX70" fmla="*/ 0 w 2441576"/>
              <a:gd name="connsiteY70" fmla="*/ 608455 h 901154"/>
              <a:gd name="connsiteX71" fmla="*/ 0 w 2441576"/>
              <a:gd name="connsiteY71" fmla="*/ 539847 h 901154"/>
              <a:gd name="connsiteX72" fmla="*/ 0 w 2441576"/>
              <a:gd name="connsiteY72" fmla="*/ 456403 h 901154"/>
              <a:gd name="connsiteX73" fmla="*/ 0 w 2441576"/>
              <a:gd name="connsiteY73" fmla="*/ 387795 h 901154"/>
              <a:gd name="connsiteX74" fmla="*/ 0 w 2441576"/>
              <a:gd name="connsiteY74" fmla="*/ 304351 h 901154"/>
              <a:gd name="connsiteX75" fmla="*/ 0 w 2441576"/>
              <a:gd name="connsiteY75" fmla="*/ 235743 h 901154"/>
              <a:gd name="connsiteX76" fmla="*/ 0 w 2441576"/>
              <a:gd name="connsiteY76" fmla="*/ 152299 h 901154"/>
              <a:gd name="connsiteX77" fmla="*/ 0 w 2441576"/>
              <a:gd name="connsiteY77" fmla="*/ 83691 h 901154"/>
              <a:gd name="connsiteX78" fmla="*/ 0 w 2441576"/>
              <a:gd name="connsiteY78" fmla="*/ 247 h 901154"/>
              <a:gd name="connsiteX0" fmla="*/ 0 w 2441576"/>
              <a:gd name="connsiteY0" fmla="*/ 247 h 901154"/>
              <a:gd name="connsiteX1" fmla="*/ 94270 w 2441576"/>
              <a:gd name="connsiteY1" fmla="*/ 247 h 901154"/>
              <a:gd name="connsiteX2" fmla="*/ 185400 w 2441576"/>
              <a:gd name="connsiteY2" fmla="*/ 247 h 901154"/>
              <a:gd name="connsiteX3" fmla="*/ 188541 w 2441576"/>
              <a:gd name="connsiteY3" fmla="*/ 247 h 901154"/>
              <a:gd name="connsiteX4" fmla="*/ 282811 w 2441576"/>
              <a:gd name="connsiteY4" fmla="*/ 247 h 901154"/>
              <a:gd name="connsiteX5" fmla="*/ 377080 w 2441576"/>
              <a:gd name="connsiteY5" fmla="*/ 247 h 901154"/>
              <a:gd name="connsiteX6" fmla="*/ 470246 w 2441576"/>
              <a:gd name="connsiteY6" fmla="*/ 247 h 901154"/>
              <a:gd name="connsiteX7" fmla="*/ 471351 w 2441576"/>
              <a:gd name="connsiteY7" fmla="*/ 247 h 901154"/>
              <a:gd name="connsiteX8" fmla="*/ 581332 w 2441576"/>
              <a:gd name="connsiteY8" fmla="*/ 247 h 901154"/>
              <a:gd name="connsiteX9" fmla="*/ 685028 w 2441576"/>
              <a:gd name="connsiteY9" fmla="*/ 247 h 901154"/>
              <a:gd name="connsiteX10" fmla="*/ 755093 w 2441576"/>
              <a:gd name="connsiteY10" fmla="*/ 247 h 901154"/>
              <a:gd name="connsiteX11" fmla="*/ 860129 w 2441576"/>
              <a:gd name="connsiteY11" fmla="*/ 1 h 901154"/>
              <a:gd name="connsiteX12" fmla="*/ 969874 w 2441576"/>
              <a:gd name="connsiteY12" fmla="*/ 247 h 901154"/>
              <a:gd name="connsiteX13" fmla="*/ 1039939 w 2441576"/>
              <a:gd name="connsiteY13" fmla="*/ 247 h 901154"/>
              <a:gd name="connsiteX14" fmla="*/ 1146839 w 2441576"/>
              <a:gd name="connsiteY14" fmla="*/ 1 h 901154"/>
              <a:gd name="connsiteX15" fmla="*/ 1254721 w 2441576"/>
              <a:gd name="connsiteY15" fmla="*/ 247 h 901154"/>
              <a:gd name="connsiteX16" fmla="*/ 1324785 w 2441576"/>
              <a:gd name="connsiteY16" fmla="*/ 247 h 901154"/>
              <a:gd name="connsiteX17" fmla="*/ 1430031 w 2441576"/>
              <a:gd name="connsiteY17" fmla="*/ 0 h 901154"/>
              <a:gd name="connsiteX18" fmla="*/ 1539566 w 2441576"/>
              <a:gd name="connsiteY18" fmla="*/ 247 h 901154"/>
              <a:gd name="connsiteX19" fmla="*/ 1609632 w 2441576"/>
              <a:gd name="connsiteY19" fmla="*/ 247 h 901154"/>
              <a:gd name="connsiteX20" fmla="*/ 1707946 w 2441576"/>
              <a:gd name="connsiteY20" fmla="*/ 1 h 901154"/>
              <a:gd name="connsiteX21" fmla="*/ 1824412 w 2441576"/>
              <a:gd name="connsiteY21" fmla="*/ 247 h 901154"/>
              <a:gd name="connsiteX22" fmla="*/ 1941949 w 2441576"/>
              <a:gd name="connsiteY22" fmla="*/ 247 h 901154"/>
              <a:gd name="connsiteX23" fmla="*/ 2094866 w 2441576"/>
              <a:gd name="connsiteY23" fmla="*/ 247 h 901154"/>
              <a:gd name="connsiteX24" fmla="*/ 2176781 w 2441576"/>
              <a:gd name="connsiteY24" fmla="*/ 247 h 901154"/>
              <a:gd name="connsiteX25" fmla="*/ 2258696 w 2441576"/>
              <a:gd name="connsiteY25" fmla="*/ 247 h 901154"/>
              <a:gd name="connsiteX26" fmla="*/ 2321561 w 2441576"/>
              <a:gd name="connsiteY26" fmla="*/ 247 h 901154"/>
              <a:gd name="connsiteX27" fmla="*/ 2441576 w 2441576"/>
              <a:gd name="connsiteY27" fmla="*/ 247 h 901154"/>
              <a:gd name="connsiteX28" fmla="*/ 2441576 w 2441576"/>
              <a:gd name="connsiteY28" fmla="*/ 83691 h 901154"/>
              <a:gd name="connsiteX29" fmla="*/ 2441576 w 2441576"/>
              <a:gd name="connsiteY29" fmla="*/ 152299 h 901154"/>
              <a:gd name="connsiteX30" fmla="*/ 2441576 w 2441576"/>
              <a:gd name="connsiteY30" fmla="*/ 235743 h 901154"/>
              <a:gd name="connsiteX31" fmla="*/ 2441576 w 2441576"/>
              <a:gd name="connsiteY31" fmla="*/ 304351 h 901154"/>
              <a:gd name="connsiteX32" fmla="*/ 2441576 w 2441576"/>
              <a:gd name="connsiteY32" fmla="*/ 387795 h 901154"/>
              <a:gd name="connsiteX33" fmla="*/ 2441576 w 2441576"/>
              <a:gd name="connsiteY33" fmla="*/ 456403 h 901154"/>
              <a:gd name="connsiteX34" fmla="*/ 2441576 w 2441576"/>
              <a:gd name="connsiteY34" fmla="*/ 539847 h 901154"/>
              <a:gd name="connsiteX35" fmla="*/ 2441576 w 2441576"/>
              <a:gd name="connsiteY35" fmla="*/ 608455 h 901154"/>
              <a:gd name="connsiteX36" fmla="*/ 2441576 w 2441576"/>
              <a:gd name="connsiteY36" fmla="*/ 691899 h 901154"/>
              <a:gd name="connsiteX37" fmla="*/ 2441576 w 2441576"/>
              <a:gd name="connsiteY37" fmla="*/ 760507 h 901154"/>
              <a:gd name="connsiteX38" fmla="*/ 2441576 w 2441576"/>
              <a:gd name="connsiteY38" fmla="*/ 832545 h 901154"/>
              <a:gd name="connsiteX39" fmla="*/ 2441576 w 2441576"/>
              <a:gd name="connsiteY39" fmla="*/ 901153 h 901154"/>
              <a:gd name="connsiteX40" fmla="*/ 2321561 w 2441576"/>
              <a:gd name="connsiteY40" fmla="*/ 901153 h 901154"/>
              <a:gd name="connsiteX41" fmla="*/ 2239646 w 2441576"/>
              <a:gd name="connsiteY41" fmla="*/ 901153 h 901154"/>
              <a:gd name="connsiteX42" fmla="*/ 2176781 w 2441576"/>
              <a:gd name="connsiteY42" fmla="*/ 901153 h 901154"/>
              <a:gd name="connsiteX43" fmla="*/ 2109259 w 2441576"/>
              <a:gd name="connsiteY43" fmla="*/ 901153 h 901154"/>
              <a:gd name="connsiteX44" fmla="*/ 2025730 w 2441576"/>
              <a:gd name="connsiteY44" fmla="*/ 901153 h 901154"/>
              <a:gd name="connsiteX45" fmla="*/ 1941949 w 2441576"/>
              <a:gd name="connsiteY45" fmla="*/ 901153 h 901154"/>
              <a:gd name="connsiteX46" fmla="*/ 1824412 w 2441576"/>
              <a:gd name="connsiteY46" fmla="*/ 901153 h 901154"/>
              <a:gd name="connsiteX47" fmla="*/ 1720844 w 2441576"/>
              <a:gd name="connsiteY47" fmla="*/ 901153 h 901154"/>
              <a:gd name="connsiteX48" fmla="*/ 1609632 w 2441576"/>
              <a:gd name="connsiteY48" fmla="*/ 901153 h 901154"/>
              <a:gd name="connsiteX49" fmla="*/ 1539566 w 2441576"/>
              <a:gd name="connsiteY49" fmla="*/ 901153 h 901154"/>
              <a:gd name="connsiteX50" fmla="*/ 1427685 w 2441576"/>
              <a:gd name="connsiteY50" fmla="*/ 901153 h 901154"/>
              <a:gd name="connsiteX51" fmla="*/ 1324785 w 2441576"/>
              <a:gd name="connsiteY51" fmla="*/ 901153 h 901154"/>
              <a:gd name="connsiteX52" fmla="*/ 1254721 w 2441576"/>
              <a:gd name="connsiteY52" fmla="*/ 901153 h 901154"/>
              <a:gd name="connsiteX53" fmla="*/ 1146253 w 2441576"/>
              <a:gd name="connsiteY53" fmla="*/ 901153 h 901154"/>
              <a:gd name="connsiteX54" fmla="*/ 1039939 w 2441576"/>
              <a:gd name="connsiteY54" fmla="*/ 901153 h 901154"/>
              <a:gd name="connsiteX55" fmla="*/ 969874 w 2441576"/>
              <a:gd name="connsiteY55" fmla="*/ 901153 h 901154"/>
              <a:gd name="connsiteX56" fmla="*/ 864820 w 2441576"/>
              <a:gd name="connsiteY56" fmla="*/ 901154 h 901154"/>
              <a:gd name="connsiteX57" fmla="*/ 755093 w 2441576"/>
              <a:gd name="connsiteY57" fmla="*/ 901153 h 901154"/>
              <a:gd name="connsiteX58" fmla="*/ 685028 w 2441576"/>
              <a:gd name="connsiteY58" fmla="*/ 901153 h 901154"/>
              <a:gd name="connsiteX59" fmla="*/ 581332 w 2441576"/>
              <a:gd name="connsiteY59" fmla="*/ 901153 h 901154"/>
              <a:gd name="connsiteX60" fmla="*/ 471351 w 2441576"/>
              <a:gd name="connsiteY60" fmla="*/ 901153 h 901154"/>
              <a:gd name="connsiteX61" fmla="*/ 470246 w 2441576"/>
              <a:gd name="connsiteY61" fmla="*/ 901153 h 901154"/>
              <a:gd name="connsiteX62" fmla="*/ 377080 w 2441576"/>
              <a:gd name="connsiteY62" fmla="*/ 901153 h 901154"/>
              <a:gd name="connsiteX63" fmla="*/ 282811 w 2441576"/>
              <a:gd name="connsiteY63" fmla="*/ 901153 h 901154"/>
              <a:gd name="connsiteX64" fmla="*/ 188541 w 2441576"/>
              <a:gd name="connsiteY64" fmla="*/ 901153 h 901154"/>
              <a:gd name="connsiteX65" fmla="*/ 185400 w 2441576"/>
              <a:gd name="connsiteY65" fmla="*/ 901153 h 901154"/>
              <a:gd name="connsiteX66" fmla="*/ 94270 w 2441576"/>
              <a:gd name="connsiteY66" fmla="*/ 901153 h 901154"/>
              <a:gd name="connsiteX67" fmla="*/ 0 w 2441576"/>
              <a:gd name="connsiteY67" fmla="*/ 901153 h 901154"/>
              <a:gd name="connsiteX68" fmla="*/ 0 w 2441576"/>
              <a:gd name="connsiteY68" fmla="*/ 832545 h 901154"/>
              <a:gd name="connsiteX69" fmla="*/ 0 w 2441576"/>
              <a:gd name="connsiteY69" fmla="*/ 760507 h 901154"/>
              <a:gd name="connsiteX70" fmla="*/ 0 w 2441576"/>
              <a:gd name="connsiteY70" fmla="*/ 691899 h 901154"/>
              <a:gd name="connsiteX71" fmla="*/ 0 w 2441576"/>
              <a:gd name="connsiteY71" fmla="*/ 608455 h 901154"/>
              <a:gd name="connsiteX72" fmla="*/ 0 w 2441576"/>
              <a:gd name="connsiteY72" fmla="*/ 539847 h 901154"/>
              <a:gd name="connsiteX73" fmla="*/ 0 w 2441576"/>
              <a:gd name="connsiteY73" fmla="*/ 456403 h 901154"/>
              <a:gd name="connsiteX74" fmla="*/ 0 w 2441576"/>
              <a:gd name="connsiteY74" fmla="*/ 387795 h 901154"/>
              <a:gd name="connsiteX75" fmla="*/ 0 w 2441576"/>
              <a:gd name="connsiteY75" fmla="*/ 304351 h 901154"/>
              <a:gd name="connsiteX76" fmla="*/ 0 w 2441576"/>
              <a:gd name="connsiteY76" fmla="*/ 235743 h 901154"/>
              <a:gd name="connsiteX77" fmla="*/ 0 w 2441576"/>
              <a:gd name="connsiteY77" fmla="*/ 152299 h 901154"/>
              <a:gd name="connsiteX78" fmla="*/ 0 w 2441576"/>
              <a:gd name="connsiteY78" fmla="*/ 83691 h 901154"/>
              <a:gd name="connsiteX79" fmla="*/ 0 w 2441576"/>
              <a:gd name="connsiteY79" fmla="*/ 247 h 901154"/>
              <a:gd name="connsiteX0" fmla="*/ 0 w 2441576"/>
              <a:gd name="connsiteY0" fmla="*/ 247 h 901154"/>
              <a:gd name="connsiteX1" fmla="*/ 94270 w 2441576"/>
              <a:gd name="connsiteY1" fmla="*/ 247 h 901154"/>
              <a:gd name="connsiteX2" fmla="*/ 185400 w 2441576"/>
              <a:gd name="connsiteY2" fmla="*/ 247 h 901154"/>
              <a:gd name="connsiteX3" fmla="*/ 188541 w 2441576"/>
              <a:gd name="connsiteY3" fmla="*/ 247 h 901154"/>
              <a:gd name="connsiteX4" fmla="*/ 282811 w 2441576"/>
              <a:gd name="connsiteY4" fmla="*/ 247 h 901154"/>
              <a:gd name="connsiteX5" fmla="*/ 377080 w 2441576"/>
              <a:gd name="connsiteY5" fmla="*/ 247 h 901154"/>
              <a:gd name="connsiteX6" fmla="*/ 470246 w 2441576"/>
              <a:gd name="connsiteY6" fmla="*/ 247 h 901154"/>
              <a:gd name="connsiteX7" fmla="*/ 581332 w 2441576"/>
              <a:gd name="connsiteY7" fmla="*/ 247 h 901154"/>
              <a:gd name="connsiteX8" fmla="*/ 685028 w 2441576"/>
              <a:gd name="connsiteY8" fmla="*/ 247 h 901154"/>
              <a:gd name="connsiteX9" fmla="*/ 755093 w 2441576"/>
              <a:gd name="connsiteY9" fmla="*/ 247 h 901154"/>
              <a:gd name="connsiteX10" fmla="*/ 860129 w 2441576"/>
              <a:gd name="connsiteY10" fmla="*/ 1 h 901154"/>
              <a:gd name="connsiteX11" fmla="*/ 969874 w 2441576"/>
              <a:gd name="connsiteY11" fmla="*/ 247 h 901154"/>
              <a:gd name="connsiteX12" fmla="*/ 1039939 w 2441576"/>
              <a:gd name="connsiteY12" fmla="*/ 247 h 901154"/>
              <a:gd name="connsiteX13" fmla="*/ 1146839 w 2441576"/>
              <a:gd name="connsiteY13" fmla="*/ 1 h 901154"/>
              <a:gd name="connsiteX14" fmla="*/ 1254721 w 2441576"/>
              <a:gd name="connsiteY14" fmla="*/ 247 h 901154"/>
              <a:gd name="connsiteX15" fmla="*/ 1324785 w 2441576"/>
              <a:gd name="connsiteY15" fmla="*/ 247 h 901154"/>
              <a:gd name="connsiteX16" fmla="*/ 1430031 w 2441576"/>
              <a:gd name="connsiteY16" fmla="*/ 0 h 901154"/>
              <a:gd name="connsiteX17" fmla="*/ 1539566 w 2441576"/>
              <a:gd name="connsiteY17" fmla="*/ 247 h 901154"/>
              <a:gd name="connsiteX18" fmla="*/ 1609632 w 2441576"/>
              <a:gd name="connsiteY18" fmla="*/ 247 h 901154"/>
              <a:gd name="connsiteX19" fmla="*/ 1707946 w 2441576"/>
              <a:gd name="connsiteY19" fmla="*/ 1 h 901154"/>
              <a:gd name="connsiteX20" fmla="*/ 1824412 w 2441576"/>
              <a:gd name="connsiteY20" fmla="*/ 247 h 901154"/>
              <a:gd name="connsiteX21" fmla="*/ 1941949 w 2441576"/>
              <a:gd name="connsiteY21" fmla="*/ 247 h 901154"/>
              <a:gd name="connsiteX22" fmla="*/ 2094866 w 2441576"/>
              <a:gd name="connsiteY22" fmla="*/ 247 h 901154"/>
              <a:gd name="connsiteX23" fmla="*/ 2176781 w 2441576"/>
              <a:gd name="connsiteY23" fmla="*/ 247 h 901154"/>
              <a:gd name="connsiteX24" fmla="*/ 2258696 w 2441576"/>
              <a:gd name="connsiteY24" fmla="*/ 247 h 901154"/>
              <a:gd name="connsiteX25" fmla="*/ 2321561 w 2441576"/>
              <a:gd name="connsiteY25" fmla="*/ 247 h 901154"/>
              <a:gd name="connsiteX26" fmla="*/ 2441576 w 2441576"/>
              <a:gd name="connsiteY26" fmla="*/ 247 h 901154"/>
              <a:gd name="connsiteX27" fmla="*/ 2441576 w 2441576"/>
              <a:gd name="connsiteY27" fmla="*/ 83691 h 901154"/>
              <a:gd name="connsiteX28" fmla="*/ 2441576 w 2441576"/>
              <a:gd name="connsiteY28" fmla="*/ 152299 h 901154"/>
              <a:gd name="connsiteX29" fmla="*/ 2441576 w 2441576"/>
              <a:gd name="connsiteY29" fmla="*/ 235743 h 901154"/>
              <a:gd name="connsiteX30" fmla="*/ 2441576 w 2441576"/>
              <a:gd name="connsiteY30" fmla="*/ 304351 h 901154"/>
              <a:gd name="connsiteX31" fmla="*/ 2441576 w 2441576"/>
              <a:gd name="connsiteY31" fmla="*/ 387795 h 901154"/>
              <a:gd name="connsiteX32" fmla="*/ 2441576 w 2441576"/>
              <a:gd name="connsiteY32" fmla="*/ 456403 h 901154"/>
              <a:gd name="connsiteX33" fmla="*/ 2441576 w 2441576"/>
              <a:gd name="connsiteY33" fmla="*/ 539847 h 901154"/>
              <a:gd name="connsiteX34" fmla="*/ 2441576 w 2441576"/>
              <a:gd name="connsiteY34" fmla="*/ 608455 h 901154"/>
              <a:gd name="connsiteX35" fmla="*/ 2441576 w 2441576"/>
              <a:gd name="connsiteY35" fmla="*/ 691899 h 901154"/>
              <a:gd name="connsiteX36" fmla="*/ 2441576 w 2441576"/>
              <a:gd name="connsiteY36" fmla="*/ 760507 h 901154"/>
              <a:gd name="connsiteX37" fmla="*/ 2441576 w 2441576"/>
              <a:gd name="connsiteY37" fmla="*/ 832545 h 901154"/>
              <a:gd name="connsiteX38" fmla="*/ 2441576 w 2441576"/>
              <a:gd name="connsiteY38" fmla="*/ 901153 h 901154"/>
              <a:gd name="connsiteX39" fmla="*/ 2321561 w 2441576"/>
              <a:gd name="connsiteY39" fmla="*/ 901153 h 901154"/>
              <a:gd name="connsiteX40" fmla="*/ 2239646 w 2441576"/>
              <a:gd name="connsiteY40" fmla="*/ 901153 h 901154"/>
              <a:gd name="connsiteX41" fmla="*/ 2176781 w 2441576"/>
              <a:gd name="connsiteY41" fmla="*/ 901153 h 901154"/>
              <a:gd name="connsiteX42" fmla="*/ 2109259 w 2441576"/>
              <a:gd name="connsiteY42" fmla="*/ 901153 h 901154"/>
              <a:gd name="connsiteX43" fmla="*/ 2025730 w 2441576"/>
              <a:gd name="connsiteY43" fmla="*/ 901153 h 901154"/>
              <a:gd name="connsiteX44" fmla="*/ 1941949 w 2441576"/>
              <a:gd name="connsiteY44" fmla="*/ 901153 h 901154"/>
              <a:gd name="connsiteX45" fmla="*/ 1824412 w 2441576"/>
              <a:gd name="connsiteY45" fmla="*/ 901153 h 901154"/>
              <a:gd name="connsiteX46" fmla="*/ 1720844 w 2441576"/>
              <a:gd name="connsiteY46" fmla="*/ 901153 h 901154"/>
              <a:gd name="connsiteX47" fmla="*/ 1609632 w 2441576"/>
              <a:gd name="connsiteY47" fmla="*/ 901153 h 901154"/>
              <a:gd name="connsiteX48" fmla="*/ 1539566 w 2441576"/>
              <a:gd name="connsiteY48" fmla="*/ 901153 h 901154"/>
              <a:gd name="connsiteX49" fmla="*/ 1427685 w 2441576"/>
              <a:gd name="connsiteY49" fmla="*/ 901153 h 901154"/>
              <a:gd name="connsiteX50" fmla="*/ 1324785 w 2441576"/>
              <a:gd name="connsiteY50" fmla="*/ 901153 h 901154"/>
              <a:gd name="connsiteX51" fmla="*/ 1254721 w 2441576"/>
              <a:gd name="connsiteY51" fmla="*/ 901153 h 901154"/>
              <a:gd name="connsiteX52" fmla="*/ 1146253 w 2441576"/>
              <a:gd name="connsiteY52" fmla="*/ 901153 h 901154"/>
              <a:gd name="connsiteX53" fmla="*/ 1039939 w 2441576"/>
              <a:gd name="connsiteY53" fmla="*/ 901153 h 901154"/>
              <a:gd name="connsiteX54" fmla="*/ 969874 w 2441576"/>
              <a:gd name="connsiteY54" fmla="*/ 901153 h 901154"/>
              <a:gd name="connsiteX55" fmla="*/ 864820 w 2441576"/>
              <a:gd name="connsiteY55" fmla="*/ 901154 h 901154"/>
              <a:gd name="connsiteX56" fmla="*/ 755093 w 2441576"/>
              <a:gd name="connsiteY56" fmla="*/ 901153 h 901154"/>
              <a:gd name="connsiteX57" fmla="*/ 685028 w 2441576"/>
              <a:gd name="connsiteY57" fmla="*/ 901153 h 901154"/>
              <a:gd name="connsiteX58" fmla="*/ 581332 w 2441576"/>
              <a:gd name="connsiteY58" fmla="*/ 901153 h 901154"/>
              <a:gd name="connsiteX59" fmla="*/ 471351 w 2441576"/>
              <a:gd name="connsiteY59" fmla="*/ 901153 h 901154"/>
              <a:gd name="connsiteX60" fmla="*/ 470246 w 2441576"/>
              <a:gd name="connsiteY60" fmla="*/ 901153 h 901154"/>
              <a:gd name="connsiteX61" fmla="*/ 377080 w 2441576"/>
              <a:gd name="connsiteY61" fmla="*/ 901153 h 901154"/>
              <a:gd name="connsiteX62" fmla="*/ 282811 w 2441576"/>
              <a:gd name="connsiteY62" fmla="*/ 901153 h 901154"/>
              <a:gd name="connsiteX63" fmla="*/ 188541 w 2441576"/>
              <a:gd name="connsiteY63" fmla="*/ 901153 h 901154"/>
              <a:gd name="connsiteX64" fmla="*/ 185400 w 2441576"/>
              <a:gd name="connsiteY64" fmla="*/ 901153 h 901154"/>
              <a:gd name="connsiteX65" fmla="*/ 94270 w 2441576"/>
              <a:gd name="connsiteY65" fmla="*/ 901153 h 901154"/>
              <a:gd name="connsiteX66" fmla="*/ 0 w 2441576"/>
              <a:gd name="connsiteY66" fmla="*/ 901153 h 901154"/>
              <a:gd name="connsiteX67" fmla="*/ 0 w 2441576"/>
              <a:gd name="connsiteY67" fmla="*/ 832545 h 901154"/>
              <a:gd name="connsiteX68" fmla="*/ 0 w 2441576"/>
              <a:gd name="connsiteY68" fmla="*/ 760507 h 901154"/>
              <a:gd name="connsiteX69" fmla="*/ 0 w 2441576"/>
              <a:gd name="connsiteY69" fmla="*/ 691899 h 901154"/>
              <a:gd name="connsiteX70" fmla="*/ 0 w 2441576"/>
              <a:gd name="connsiteY70" fmla="*/ 608455 h 901154"/>
              <a:gd name="connsiteX71" fmla="*/ 0 w 2441576"/>
              <a:gd name="connsiteY71" fmla="*/ 539847 h 901154"/>
              <a:gd name="connsiteX72" fmla="*/ 0 w 2441576"/>
              <a:gd name="connsiteY72" fmla="*/ 456403 h 901154"/>
              <a:gd name="connsiteX73" fmla="*/ 0 w 2441576"/>
              <a:gd name="connsiteY73" fmla="*/ 387795 h 901154"/>
              <a:gd name="connsiteX74" fmla="*/ 0 w 2441576"/>
              <a:gd name="connsiteY74" fmla="*/ 304351 h 901154"/>
              <a:gd name="connsiteX75" fmla="*/ 0 w 2441576"/>
              <a:gd name="connsiteY75" fmla="*/ 235743 h 901154"/>
              <a:gd name="connsiteX76" fmla="*/ 0 w 2441576"/>
              <a:gd name="connsiteY76" fmla="*/ 152299 h 901154"/>
              <a:gd name="connsiteX77" fmla="*/ 0 w 2441576"/>
              <a:gd name="connsiteY77" fmla="*/ 83691 h 901154"/>
              <a:gd name="connsiteX78" fmla="*/ 0 w 2441576"/>
              <a:gd name="connsiteY78" fmla="*/ 247 h 901154"/>
              <a:gd name="connsiteX0" fmla="*/ 0 w 2441576"/>
              <a:gd name="connsiteY0" fmla="*/ 247 h 901154"/>
              <a:gd name="connsiteX1" fmla="*/ 94270 w 2441576"/>
              <a:gd name="connsiteY1" fmla="*/ 247 h 901154"/>
              <a:gd name="connsiteX2" fmla="*/ 185400 w 2441576"/>
              <a:gd name="connsiteY2" fmla="*/ 247 h 901154"/>
              <a:gd name="connsiteX3" fmla="*/ 282811 w 2441576"/>
              <a:gd name="connsiteY3" fmla="*/ 247 h 901154"/>
              <a:gd name="connsiteX4" fmla="*/ 377080 w 2441576"/>
              <a:gd name="connsiteY4" fmla="*/ 247 h 901154"/>
              <a:gd name="connsiteX5" fmla="*/ 470246 w 2441576"/>
              <a:gd name="connsiteY5" fmla="*/ 247 h 901154"/>
              <a:gd name="connsiteX6" fmla="*/ 581332 w 2441576"/>
              <a:gd name="connsiteY6" fmla="*/ 247 h 901154"/>
              <a:gd name="connsiteX7" fmla="*/ 685028 w 2441576"/>
              <a:gd name="connsiteY7" fmla="*/ 247 h 901154"/>
              <a:gd name="connsiteX8" fmla="*/ 755093 w 2441576"/>
              <a:gd name="connsiteY8" fmla="*/ 247 h 901154"/>
              <a:gd name="connsiteX9" fmla="*/ 860129 w 2441576"/>
              <a:gd name="connsiteY9" fmla="*/ 1 h 901154"/>
              <a:gd name="connsiteX10" fmla="*/ 969874 w 2441576"/>
              <a:gd name="connsiteY10" fmla="*/ 247 h 901154"/>
              <a:gd name="connsiteX11" fmla="*/ 1039939 w 2441576"/>
              <a:gd name="connsiteY11" fmla="*/ 247 h 901154"/>
              <a:gd name="connsiteX12" fmla="*/ 1146839 w 2441576"/>
              <a:gd name="connsiteY12" fmla="*/ 1 h 901154"/>
              <a:gd name="connsiteX13" fmla="*/ 1254721 w 2441576"/>
              <a:gd name="connsiteY13" fmla="*/ 247 h 901154"/>
              <a:gd name="connsiteX14" fmla="*/ 1324785 w 2441576"/>
              <a:gd name="connsiteY14" fmla="*/ 247 h 901154"/>
              <a:gd name="connsiteX15" fmla="*/ 1430031 w 2441576"/>
              <a:gd name="connsiteY15" fmla="*/ 0 h 901154"/>
              <a:gd name="connsiteX16" fmla="*/ 1539566 w 2441576"/>
              <a:gd name="connsiteY16" fmla="*/ 247 h 901154"/>
              <a:gd name="connsiteX17" fmla="*/ 1609632 w 2441576"/>
              <a:gd name="connsiteY17" fmla="*/ 247 h 901154"/>
              <a:gd name="connsiteX18" fmla="*/ 1707946 w 2441576"/>
              <a:gd name="connsiteY18" fmla="*/ 1 h 901154"/>
              <a:gd name="connsiteX19" fmla="*/ 1824412 w 2441576"/>
              <a:gd name="connsiteY19" fmla="*/ 247 h 901154"/>
              <a:gd name="connsiteX20" fmla="*/ 1941949 w 2441576"/>
              <a:gd name="connsiteY20" fmla="*/ 247 h 901154"/>
              <a:gd name="connsiteX21" fmla="*/ 2094866 w 2441576"/>
              <a:gd name="connsiteY21" fmla="*/ 247 h 901154"/>
              <a:gd name="connsiteX22" fmla="*/ 2176781 w 2441576"/>
              <a:gd name="connsiteY22" fmla="*/ 247 h 901154"/>
              <a:gd name="connsiteX23" fmla="*/ 2258696 w 2441576"/>
              <a:gd name="connsiteY23" fmla="*/ 247 h 901154"/>
              <a:gd name="connsiteX24" fmla="*/ 2321561 w 2441576"/>
              <a:gd name="connsiteY24" fmla="*/ 247 h 901154"/>
              <a:gd name="connsiteX25" fmla="*/ 2441576 w 2441576"/>
              <a:gd name="connsiteY25" fmla="*/ 247 h 901154"/>
              <a:gd name="connsiteX26" fmla="*/ 2441576 w 2441576"/>
              <a:gd name="connsiteY26" fmla="*/ 83691 h 901154"/>
              <a:gd name="connsiteX27" fmla="*/ 2441576 w 2441576"/>
              <a:gd name="connsiteY27" fmla="*/ 152299 h 901154"/>
              <a:gd name="connsiteX28" fmla="*/ 2441576 w 2441576"/>
              <a:gd name="connsiteY28" fmla="*/ 235743 h 901154"/>
              <a:gd name="connsiteX29" fmla="*/ 2441576 w 2441576"/>
              <a:gd name="connsiteY29" fmla="*/ 304351 h 901154"/>
              <a:gd name="connsiteX30" fmla="*/ 2441576 w 2441576"/>
              <a:gd name="connsiteY30" fmla="*/ 387795 h 901154"/>
              <a:gd name="connsiteX31" fmla="*/ 2441576 w 2441576"/>
              <a:gd name="connsiteY31" fmla="*/ 456403 h 901154"/>
              <a:gd name="connsiteX32" fmla="*/ 2441576 w 2441576"/>
              <a:gd name="connsiteY32" fmla="*/ 539847 h 901154"/>
              <a:gd name="connsiteX33" fmla="*/ 2441576 w 2441576"/>
              <a:gd name="connsiteY33" fmla="*/ 608455 h 901154"/>
              <a:gd name="connsiteX34" fmla="*/ 2441576 w 2441576"/>
              <a:gd name="connsiteY34" fmla="*/ 691899 h 901154"/>
              <a:gd name="connsiteX35" fmla="*/ 2441576 w 2441576"/>
              <a:gd name="connsiteY35" fmla="*/ 760507 h 901154"/>
              <a:gd name="connsiteX36" fmla="*/ 2441576 w 2441576"/>
              <a:gd name="connsiteY36" fmla="*/ 832545 h 901154"/>
              <a:gd name="connsiteX37" fmla="*/ 2441576 w 2441576"/>
              <a:gd name="connsiteY37" fmla="*/ 901153 h 901154"/>
              <a:gd name="connsiteX38" fmla="*/ 2321561 w 2441576"/>
              <a:gd name="connsiteY38" fmla="*/ 901153 h 901154"/>
              <a:gd name="connsiteX39" fmla="*/ 2239646 w 2441576"/>
              <a:gd name="connsiteY39" fmla="*/ 901153 h 901154"/>
              <a:gd name="connsiteX40" fmla="*/ 2176781 w 2441576"/>
              <a:gd name="connsiteY40" fmla="*/ 901153 h 901154"/>
              <a:gd name="connsiteX41" fmla="*/ 2109259 w 2441576"/>
              <a:gd name="connsiteY41" fmla="*/ 901153 h 901154"/>
              <a:gd name="connsiteX42" fmla="*/ 2025730 w 2441576"/>
              <a:gd name="connsiteY42" fmla="*/ 901153 h 901154"/>
              <a:gd name="connsiteX43" fmla="*/ 1941949 w 2441576"/>
              <a:gd name="connsiteY43" fmla="*/ 901153 h 901154"/>
              <a:gd name="connsiteX44" fmla="*/ 1824412 w 2441576"/>
              <a:gd name="connsiteY44" fmla="*/ 901153 h 901154"/>
              <a:gd name="connsiteX45" fmla="*/ 1720844 w 2441576"/>
              <a:gd name="connsiteY45" fmla="*/ 901153 h 901154"/>
              <a:gd name="connsiteX46" fmla="*/ 1609632 w 2441576"/>
              <a:gd name="connsiteY46" fmla="*/ 901153 h 901154"/>
              <a:gd name="connsiteX47" fmla="*/ 1539566 w 2441576"/>
              <a:gd name="connsiteY47" fmla="*/ 901153 h 901154"/>
              <a:gd name="connsiteX48" fmla="*/ 1427685 w 2441576"/>
              <a:gd name="connsiteY48" fmla="*/ 901153 h 901154"/>
              <a:gd name="connsiteX49" fmla="*/ 1324785 w 2441576"/>
              <a:gd name="connsiteY49" fmla="*/ 901153 h 901154"/>
              <a:gd name="connsiteX50" fmla="*/ 1254721 w 2441576"/>
              <a:gd name="connsiteY50" fmla="*/ 901153 h 901154"/>
              <a:gd name="connsiteX51" fmla="*/ 1146253 w 2441576"/>
              <a:gd name="connsiteY51" fmla="*/ 901153 h 901154"/>
              <a:gd name="connsiteX52" fmla="*/ 1039939 w 2441576"/>
              <a:gd name="connsiteY52" fmla="*/ 901153 h 901154"/>
              <a:gd name="connsiteX53" fmla="*/ 969874 w 2441576"/>
              <a:gd name="connsiteY53" fmla="*/ 901153 h 901154"/>
              <a:gd name="connsiteX54" fmla="*/ 864820 w 2441576"/>
              <a:gd name="connsiteY54" fmla="*/ 901154 h 901154"/>
              <a:gd name="connsiteX55" fmla="*/ 755093 w 2441576"/>
              <a:gd name="connsiteY55" fmla="*/ 901153 h 901154"/>
              <a:gd name="connsiteX56" fmla="*/ 685028 w 2441576"/>
              <a:gd name="connsiteY56" fmla="*/ 901153 h 901154"/>
              <a:gd name="connsiteX57" fmla="*/ 581332 w 2441576"/>
              <a:gd name="connsiteY57" fmla="*/ 901153 h 901154"/>
              <a:gd name="connsiteX58" fmla="*/ 471351 w 2441576"/>
              <a:gd name="connsiteY58" fmla="*/ 901153 h 901154"/>
              <a:gd name="connsiteX59" fmla="*/ 470246 w 2441576"/>
              <a:gd name="connsiteY59" fmla="*/ 901153 h 901154"/>
              <a:gd name="connsiteX60" fmla="*/ 377080 w 2441576"/>
              <a:gd name="connsiteY60" fmla="*/ 901153 h 901154"/>
              <a:gd name="connsiteX61" fmla="*/ 282811 w 2441576"/>
              <a:gd name="connsiteY61" fmla="*/ 901153 h 901154"/>
              <a:gd name="connsiteX62" fmla="*/ 188541 w 2441576"/>
              <a:gd name="connsiteY62" fmla="*/ 901153 h 901154"/>
              <a:gd name="connsiteX63" fmla="*/ 185400 w 2441576"/>
              <a:gd name="connsiteY63" fmla="*/ 901153 h 901154"/>
              <a:gd name="connsiteX64" fmla="*/ 94270 w 2441576"/>
              <a:gd name="connsiteY64" fmla="*/ 901153 h 901154"/>
              <a:gd name="connsiteX65" fmla="*/ 0 w 2441576"/>
              <a:gd name="connsiteY65" fmla="*/ 901153 h 901154"/>
              <a:gd name="connsiteX66" fmla="*/ 0 w 2441576"/>
              <a:gd name="connsiteY66" fmla="*/ 832545 h 901154"/>
              <a:gd name="connsiteX67" fmla="*/ 0 w 2441576"/>
              <a:gd name="connsiteY67" fmla="*/ 760507 h 901154"/>
              <a:gd name="connsiteX68" fmla="*/ 0 w 2441576"/>
              <a:gd name="connsiteY68" fmla="*/ 691899 h 901154"/>
              <a:gd name="connsiteX69" fmla="*/ 0 w 2441576"/>
              <a:gd name="connsiteY69" fmla="*/ 608455 h 901154"/>
              <a:gd name="connsiteX70" fmla="*/ 0 w 2441576"/>
              <a:gd name="connsiteY70" fmla="*/ 539847 h 901154"/>
              <a:gd name="connsiteX71" fmla="*/ 0 w 2441576"/>
              <a:gd name="connsiteY71" fmla="*/ 456403 h 901154"/>
              <a:gd name="connsiteX72" fmla="*/ 0 w 2441576"/>
              <a:gd name="connsiteY72" fmla="*/ 387795 h 901154"/>
              <a:gd name="connsiteX73" fmla="*/ 0 w 2441576"/>
              <a:gd name="connsiteY73" fmla="*/ 304351 h 901154"/>
              <a:gd name="connsiteX74" fmla="*/ 0 w 2441576"/>
              <a:gd name="connsiteY74" fmla="*/ 235743 h 901154"/>
              <a:gd name="connsiteX75" fmla="*/ 0 w 2441576"/>
              <a:gd name="connsiteY75" fmla="*/ 152299 h 901154"/>
              <a:gd name="connsiteX76" fmla="*/ 0 w 2441576"/>
              <a:gd name="connsiteY76" fmla="*/ 83691 h 901154"/>
              <a:gd name="connsiteX77" fmla="*/ 0 w 2441576"/>
              <a:gd name="connsiteY77" fmla="*/ 247 h 901154"/>
              <a:gd name="connsiteX0" fmla="*/ 0 w 2441576"/>
              <a:gd name="connsiteY0" fmla="*/ 247 h 901154"/>
              <a:gd name="connsiteX1" fmla="*/ 94270 w 2441576"/>
              <a:gd name="connsiteY1" fmla="*/ 247 h 901154"/>
              <a:gd name="connsiteX2" fmla="*/ 185400 w 2441576"/>
              <a:gd name="connsiteY2" fmla="*/ 247 h 901154"/>
              <a:gd name="connsiteX3" fmla="*/ 282811 w 2441576"/>
              <a:gd name="connsiteY3" fmla="*/ 247 h 901154"/>
              <a:gd name="connsiteX4" fmla="*/ 377080 w 2441576"/>
              <a:gd name="connsiteY4" fmla="*/ 247 h 901154"/>
              <a:gd name="connsiteX5" fmla="*/ 470246 w 2441576"/>
              <a:gd name="connsiteY5" fmla="*/ 247 h 901154"/>
              <a:gd name="connsiteX6" fmla="*/ 581332 w 2441576"/>
              <a:gd name="connsiteY6" fmla="*/ 247 h 901154"/>
              <a:gd name="connsiteX7" fmla="*/ 685028 w 2441576"/>
              <a:gd name="connsiteY7" fmla="*/ 247 h 901154"/>
              <a:gd name="connsiteX8" fmla="*/ 755093 w 2441576"/>
              <a:gd name="connsiteY8" fmla="*/ 247 h 901154"/>
              <a:gd name="connsiteX9" fmla="*/ 860129 w 2441576"/>
              <a:gd name="connsiteY9" fmla="*/ 1 h 901154"/>
              <a:gd name="connsiteX10" fmla="*/ 969874 w 2441576"/>
              <a:gd name="connsiteY10" fmla="*/ 247 h 901154"/>
              <a:gd name="connsiteX11" fmla="*/ 1039939 w 2441576"/>
              <a:gd name="connsiteY11" fmla="*/ 247 h 901154"/>
              <a:gd name="connsiteX12" fmla="*/ 1146839 w 2441576"/>
              <a:gd name="connsiteY12" fmla="*/ 1 h 901154"/>
              <a:gd name="connsiteX13" fmla="*/ 1254721 w 2441576"/>
              <a:gd name="connsiteY13" fmla="*/ 247 h 901154"/>
              <a:gd name="connsiteX14" fmla="*/ 1324785 w 2441576"/>
              <a:gd name="connsiteY14" fmla="*/ 247 h 901154"/>
              <a:gd name="connsiteX15" fmla="*/ 1430031 w 2441576"/>
              <a:gd name="connsiteY15" fmla="*/ 0 h 901154"/>
              <a:gd name="connsiteX16" fmla="*/ 1539566 w 2441576"/>
              <a:gd name="connsiteY16" fmla="*/ 247 h 901154"/>
              <a:gd name="connsiteX17" fmla="*/ 1609632 w 2441576"/>
              <a:gd name="connsiteY17" fmla="*/ 247 h 901154"/>
              <a:gd name="connsiteX18" fmla="*/ 1707946 w 2441576"/>
              <a:gd name="connsiteY18" fmla="*/ 1 h 901154"/>
              <a:gd name="connsiteX19" fmla="*/ 1824412 w 2441576"/>
              <a:gd name="connsiteY19" fmla="*/ 247 h 901154"/>
              <a:gd name="connsiteX20" fmla="*/ 1941949 w 2441576"/>
              <a:gd name="connsiteY20" fmla="*/ 247 h 901154"/>
              <a:gd name="connsiteX21" fmla="*/ 2094866 w 2441576"/>
              <a:gd name="connsiteY21" fmla="*/ 247 h 901154"/>
              <a:gd name="connsiteX22" fmla="*/ 2176781 w 2441576"/>
              <a:gd name="connsiteY22" fmla="*/ 247 h 901154"/>
              <a:gd name="connsiteX23" fmla="*/ 2258696 w 2441576"/>
              <a:gd name="connsiteY23" fmla="*/ 247 h 901154"/>
              <a:gd name="connsiteX24" fmla="*/ 2321561 w 2441576"/>
              <a:gd name="connsiteY24" fmla="*/ 247 h 901154"/>
              <a:gd name="connsiteX25" fmla="*/ 2441576 w 2441576"/>
              <a:gd name="connsiteY25" fmla="*/ 247 h 901154"/>
              <a:gd name="connsiteX26" fmla="*/ 2441576 w 2441576"/>
              <a:gd name="connsiteY26" fmla="*/ 83691 h 901154"/>
              <a:gd name="connsiteX27" fmla="*/ 2441576 w 2441576"/>
              <a:gd name="connsiteY27" fmla="*/ 152299 h 901154"/>
              <a:gd name="connsiteX28" fmla="*/ 2441576 w 2441576"/>
              <a:gd name="connsiteY28" fmla="*/ 235743 h 901154"/>
              <a:gd name="connsiteX29" fmla="*/ 2441576 w 2441576"/>
              <a:gd name="connsiteY29" fmla="*/ 304351 h 901154"/>
              <a:gd name="connsiteX30" fmla="*/ 2441576 w 2441576"/>
              <a:gd name="connsiteY30" fmla="*/ 387795 h 901154"/>
              <a:gd name="connsiteX31" fmla="*/ 2441576 w 2441576"/>
              <a:gd name="connsiteY31" fmla="*/ 456403 h 901154"/>
              <a:gd name="connsiteX32" fmla="*/ 2441576 w 2441576"/>
              <a:gd name="connsiteY32" fmla="*/ 539847 h 901154"/>
              <a:gd name="connsiteX33" fmla="*/ 2441576 w 2441576"/>
              <a:gd name="connsiteY33" fmla="*/ 608455 h 901154"/>
              <a:gd name="connsiteX34" fmla="*/ 2441576 w 2441576"/>
              <a:gd name="connsiteY34" fmla="*/ 691899 h 901154"/>
              <a:gd name="connsiteX35" fmla="*/ 2441576 w 2441576"/>
              <a:gd name="connsiteY35" fmla="*/ 760507 h 901154"/>
              <a:gd name="connsiteX36" fmla="*/ 2441576 w 2441576"/>
              <a:gd name="connsiteY36" fmla="*/ 832545 h 901154"/>
              <a:gd name="connsiteX37" fmla="*/ 2441576 w 2441576"/>
              <a:gd name="connsiteY37" fmla="*/ 901153 h 901154"/>
              <a:gd name="connsiteX38" fmla="*/ 2321561 w 2441576"/>
              <a:gd name="connsiteY38" fmla="*/ 901153 h 901154"/>
              <a:gd name="connsiteX39" fmla="*/ 2239646 w 2441576"/>
              <a:gd name="connsiteY39" fmla="*/ 901153 h 901154"/>
              <a:gd name="connsiteX40" fmla="*/ 2176781 w 2441576"/>
              <a:gd name="connsiteY40" fmla="*/ 901153 h 901154"/>
              <a:gd name="connsiteX41" fmla="*/ 2109259 w 2441576"/>
              <a:gd name="connsiteY41" fmla="*/ 901153 h 901154"/>
              <a:gd name="connsiteX42" fmla="*/ 2025730 w 2441576"/>
              <a:gd name="connsiteY42" fmla="*/ 901153 h 901154"/>
              <a:gd name="connsiteX43" fmla="*/ 1941949 w 2441576"/>
              <a:gd name="connsiteY43" fmla="*/ 901153 h 901154"/>
              <a:gd name="connsiteX44" fmla="*/ 1824412 w 2441576"/>
              <a:gd name="connsiteY44" fmla="*/ 901153 h 901154"/>
              <a:gd name="connsiteX45" fmla="*/ 1720844 w 2441576"/>
              <a:gd name="connsiteY45" fmla="*/ 901153 h 901154"/>
              <a:gd name="connsiteX46" fmla="*/ 1609632 w 2441576"/>
              <a:gd name="connsiteY46" fmla="*/ 901153 h 901154"/>
              <a:gd name="connsiteX47" fmla="*/ 1539566 w 2441576"/>
              <a:gd name="connsiteY47" fmla="*/ 901153 h 901154"/>
              <a:gd name="connsiteX48" fmla="*/ 1427685 w 2441576"/>
              <a:gd name="connsiteY48" fmla="*/ 901153 h 901154"/>
              <a:gd name="connsiteX49" fmla="*/ 1324785 w 2441576"/>
              <a:gd name="connsiteY49" fmla="*/ 901153 h 901154"/>
              <a:gd name="connsiteX50" fmla="*/ 1254721 w 2441576"/>
              <a:gd name="connsiteY50" fmla="*/ 901153 h 901154"/>
              <a:gd name="connsiteX51" fmla="*/ 1146253 w 2441576"/>
              <a:gd name="connsiteY51" fmla="*/ 901153 h 901154"/>
              <a:gd name="connsiteX52" fmla="*/ 1039939 w 2441576"/>
              <a:gd name="connsiteY52" fmla="*/ 901153 h 901154"/>
              <a:gd name="connsiteX53" fmla="*/ 969874 w 2441576"/>
              <a:gd name="connsiteY53" fmla="*/ 901153 h 901154"/>
              <a:gd name="connsiteX54" fmla="*/ 864820 w 2441576"/>
              <a:gd name="connsiteY54" fmla="*/ 901154 h 901154"/>
              <a:gd name="connsiteX55" fmla="*/ 755093 w 2441576"/>
              <a:gd name="connsiteY55" fmla="*/ 901153 h 901154"/>
              <a:gd name="connsiteX56" fmla="*/ 685028 w 2441576"/>
              <a:gd name="connsiteY56" fmla="*/ 901153 h 901154"/>
              <a:gd name="connsiteX57" fmla="*/ 581332 w 2441576"/>
              <a:gd name="connsiteY57" fmla="*/ 901153 h 901154"/>
              <a:gd name="connsiteX58" fmla="*/ 471351 w 2441576"/>
              <a:gd name="connsiteY58" fmla="*/ 901153 h 901154"/>
              <a:gd name="connsiteX59" fmla="*/ 470246 w 2441576"/>
              <a:gd name="connsiteY59" fmla="*/ 901153 h 901154"/>
              <a:gd name="connsiteX60" fmla="*/ 377080 w 2441576"/>
              <a:gd name="connsiteY60" fmla="*/ 901153 h 901154"/>
              <a:gd name="connsiteX61" fmla="*/ 282811 w 2441576"/>
              <a:gd name="connsiteY61" fmla="*/ 901153 h 901154"/>
              <a:gd name="connsiteX62" fmla="*/ 185400 w 2441576"/>
              <a:gd name="connsiteY62" fmla="*/ 901153 h 901154"/>
              <a:gd name="connsiteX63" fmla="*/ 94270 w 2441576"/>
              <a:gd name="connsiteY63" fmla="*/ 901153 h 901154"/>
              <a:gd name="connsiteX64" fmla="*/ 0 w 2441576"/>
              <a:gd name="connsiteY64" fmla="*/ 901153 h 901154"/>
              <a:gd name="connsiteX65" fmla="*/ 0 w 2441576"/>
              <a:gd name="connsiteY65" fmla="*/ 832545 h 901154"/>
              <a:gd name="connsiteX66" fmla="*/ 0 w 2441576"/>
              <a:gd name="connsiteY66" fmla="*/ 760507 h 901154"/>
              <a:gd name="connsiteX67" fmla="*/ 0 w 2441576"/>
              <a:gd name="connsiteY67" fmla="*/ 691899 h 901154"/>
              <a:gd name="connsiteX68" fmla="*/ 0 w 2441576"/>
              <a:gd name="connsiteY68" fmla="*/ 608455 h 901154"/>
              <a:gd name="connsiteX69" fmla="*/ 0 w 2441576"/>
              <a:gd name="connsiteY69" fmla="*/ 539847 h 901154"/>
              <a:gd name="connsiteX70" fmla="*/ 0 w 2441576"/>
              <a:gd name="connsiteY70" fmla="*/ 456403 h 901154"/>
              <a:gd name="connsiteX71" fmla="*/ 0 w 2441576"/>
              <a:gd name="connsiteY71" fmla="*/ 387795 h 901154"/>
              <a:gd name="connsiteX72" fmla="*/ 0 w 2441576"/>
              <a:gd name="connsiteY72" fmla="*/ 304351 h 901154"/>
              <a:gd name="connsiteX73" fmla="*/ 0 w 2441576"/>
              <a:gd name="connsiteY73" fmla="*/ 235743 h 901154"/>
              <a:gd name="connsiteX74" fmla="*/ 0 w 2441576"/>
              <a:gd name="connsiteY74" fmla="*/ 152299 h 901154"/>
              <a:gd name="connsiteX75" fmla="*/ 0 w 2441576"/>
              <a:gd name="connsiteY75" fmla="*/ 83691 h 901154"/>
              <a:gd name="connsiteX76" fmla="*/ 0 w 2441576"/>
              <a:gd name="connsiteY76" fmla="*/ 247 h 901154"/>
              <a:gd name="connsiteX0" fmla="*/ 0 w 2441576"/>
              <a:gd name="connsiteY0" fmla="*/ 247 h 1193517"/>
              <a:gd name="connsiteX1" fmla="*/ 94270 w 2441576"/>
              <a:gd name="connsiteY1" fmla="*/ 247 h 1193517"/>
              <a:gd name="connsiteX2" fmla="*/ 185400 w 2441576"/>
              <a:gd name="connsiteY2" fmla="*/ 247 h 1193517"/>
              <a:gd name="connsiteX3" fmla="*/ 282811 w 2441576"/>
              <a:gd name="connsiteY3" fmla="*/ 247 h 1193517"/>
              <a:gd name="connsiteX4" fmla="*/ 377080 w 2441576"/>
              <a:gd name="connsiteY4" fmla="*/ 247 h 1193517"/>
              <a:gd name="connsiteX5" fmla="*/ 470246 w 2441576"/>
              <a:gd name="connsiteY5" fmla="*/ 247 h 1193517"/>
              <a:gd name="connsiteX6" fmla="*/ 581332 w 2441576"/>
              <a:gd name="connsiteY6" fmla="*/ 247 h 1193517"/>
              <a:gd name="connsiteX7" fmla="*/ 685028 w 2441576"/>
              <a:gd name="connsiteY7" fmla="*/ 247 h 1193517"/>
              <a:gd name="connsiteX8" fmla="*/ 755093 w 2441576"/>
              <a:gd name="connsiteY8" fmla="*/ 247 h 1193517"/>
              <a:gd name="connsiteX9" fmla="*/ 860129 w 2441576"/>
              <a:gd name="connsiteY9" fmla="*/ 1 h 1193517"/>
              <a:gd name="connsiteX10" fmla="*/ 969874 w 2441576"/>
              <a:gd name="connsiteY10" fmla="*/ 247 h 1193517"/>
              <a:gd name="connsiteX11" fmla="*/ 1039939 w 2441576"/>
              <a:gd name="connsiteY11" fmla="*/ 247 h 1193517"/>
              <a:gd name="connsiteX12" fmla="*/ 1146839 w 2441576"/>
              <a:gd name="connsiteY12" fmla="*/ 1 h 1193517"/>
              <a:gd name="connsiteX13" fmla="*/ 1254721 w 2441576"/>
              <a:gd name="connsiteY13" fmla="*/ 247 h 1193517"/>
              <a:gd name="connsiteX14" fmla="*/ 1324785 w 2441576"/>
              <a:gd name="connsiteY14" fmla="*/ 247 h 1193517"/>
              <a:gd name="connsiteX15" fmla="*/ 1430031 w 2441576"/>
              <a:gd name="connsiteY15" fmla="*/ 0 h 1193517"/>
              <a:gd name="connsiteX16" fmla="*/ 1539566 w 2441576"/>
              <a:gd name="connsiteY16" fmla="*/ 247 h 1193517"/>
              <a:gd name="connsiteX17" fmla="*/ 1609632 w 2441576"/>
              <a:gd name="connsiteY17" fmla="*/ 247 h 1193517"/>
              <a:gd name="connsiteX18" fmla="*/ 1707946 w 2441576"/>
              <a:gd name="connsiteY18" fmla="*/ 1 h 1193517"/>
              <a:gd name="connsiteX19" fmla="*/ 1824412 w 2441576"/>
              <a:gd name="connsiteY19" fmla="*/ 247 h 1193517"/>
              <a:gd name="connsiteX20" fmla="*/ 1941949 w 2441576"/>
              <a:gd name="connsiteY20" fmla="*/ 247 h 1193517"/>
              <a:gd name="connsiteX21" fmla="*/ 2094866 w 2441576"/>
              <a:gd name="connsiteY21" fmla="*/ 247 h 1193517"/>
              <a:gd name="connsiteX22" fmla="*/ 2176781 w 2441576"/>
              <a:gd name="connsiteY22" fmla="*/ 247 h 1193517"/>
              <a:gd name="connsiteX23" fmla="*/ 2258696 w 2441576"/>
              <a:gd name="connsiteY23" fmla="*/ 247 h 1193517"/>
              <a:gd name="connsiteX24" fmla="*/ 2321561 w 2441576"/>
              <a:gd name="connsiteY24" fmla="*/ 247 h 1193517"/>
              <a:gd name="connsiteX25" fmla="*/ 2441576 w 2441576"/>
              <a:gd name="connsiteY25" fmla="*/ 247 h 1193517"/>
              <a:gd name="connsiteX26" fmla="*/ 2441576 w 2441576"/>
              <a:gd name="connsiteY26" fmla="*/ 83691 h 1193517"/>
              <a:gd name="connsiteX27" fmla="*/ 2441576 w 2441576"/>
              <a:gd name="connsiteY27" fmla="*/ 152299 h 1193517"/>
              <a:gd name="connsiteX28" fmla="*/ 2441576 w 2441576"/>
              <a:gd name="connsiteY28" fmla="*/ 235743 h 1193517"/>
              <a:gd name="connsiteX29" fmla="*/ 2441576 w 2441576"/>
              <a:gd name="connsiteY29" fmla="*/ 304351 h 1193517"/>
              <a:gd name="connsiteX30" fmla="*/ 2441576 w 2441576"/>
              <a:gd name="connsiteY30" fmla="*/ 387795 h 1193517"/>
              <a:gd name="connsiteX31" fmla="*/ 2441576 w 2441576"/>
              <a:gd name="connsiteY31" fmla="*/ 456403 h 1193517"/>
              <a:gd name="connsiteX32" fmla="*/ 2441576 w 2441576"/>
              <a:gd name="connsiteY32" fmla="*/ 539847 h 1193517"/>
              <a:gd name="connsiteX33" fmla="*/ 2441576 w 2441576"/>
              <a:gd name="connsiteY33" fmla="*/ 608455 h 1193517"/>
              <a:gd name="connsiteX34" fmla="*/ 2441576 w 2441576"/>
              <a:gd name="connsiteY34" fmla="*/ 691899 h 1193517"/>
              <a:gd name="connsiteX35" fmla="*/ 2441576 w 2441576"/>
              <a:gd name="connsiteY35" fmla="*/ 760507 h 1193517"/>
              <a:gd name="connsiteX36" fmla="*/ 2441576 w 2441576"/>
              <a:gd name="connsiteY36" fmla="*/ 832545 h 1193517"/>
              <a:gd name="connsiteX37" fmla="*/ 2441576 w 2441576"/>
              <a:gd name="connsiteY37" fmla="*/ 901153 h 1193517"/>
              <a:gd name="connsiteX38" fmla="*/ 2321561 w 2441576"/>
              <a:gd name="connsiteY38" fmla="*/ 901153 h 1193517"/>
              <a:gd name="connsiteX39" fmla="*/ 2239646 w 2441576"/>
              <a:gd name="connsiteY39" fmla="*/ 901153 h 1193517"/>
              <a:gd name="connsiteX40" fmla="*/ 2176781 w 2441576"/>
              <a:gd name="connsiteY40" fmla="*/ 901153 h 1193517"/>
              <a:gd name="connsiteX41" fmla="*/ 2109259 w 2441576"/>
              <a:gd name="connsiteY41" fmla="*/ 901153 h 1193517"/>
              <a:gd name="connsiteX42" fmla="*/ 2025730 w 2441576"/>
              <a:gd name="connsiteY42" fmla="*/ 901153 h 1193517"/>
              <a:gd name="connsiteX43" fmla="*/ 1941949 w 2441576"/>
              <a:gd name="connsiteY43" fmla="*/ 901153 h 1193517"/>
              <a:gd name="connsiteX44" fmla="*/ 1824412 w 2441576"/>
              <a:gd name="connsiteY44" fmla="*/ 901153 h 1193517"/>
              <a:gd name="connsiteX45" fmla="*/ 1720844 w 2441576"/>
              <a:gd name="connsiteY45" fmla="*/ 901153 h 1193517"/>
              <a:gd name="connsiteX46" fmla="*/ 1829119 w 2441576"/>
              <a:gd name="connsiteY46" fmla="*/ 1193517 h 1193517"/>
              <a:gd name="connsiteX47" fmla="*/ 1539566 w 2441576"/>
              <a:gd name="connsiteY47" fmla="*/ 901153 h 1193517"/>
              <a:gd name="connsiteX48" fmla="*/ 1427685 w 2441576"/>
              <a:gd name="connsiteY48" fmla="*/ 901153 h 1193517"/>
              <a:gd name="connsiteX49" fmla="*/ 1324785 w 2441576"/>
              <a:gd name="connsiteY49" fmla="*/ 901153 h 1193517"/>
              <a:gd name="connsiteX50" fmla="*/ 1254721 w 2441576"/>
              <a:gd name="connsiteY50" fmla="*/ 901153 h 1193517"/>
              <a:gd name="connsiteX51" fmla="*/ 1146253 w 2441576"/>
              <a:gd name="connsiteY51" fmla="*/ 901153 h 1193517"/>
              <a:gd name="connsiteX52" fmla="*/ 1039939 w 2441576"/>
              <a:gd name="connsiteY52" fmla="*/ 901153 h 1193517"/>
              <a:gd name="connsiteX53" fmla="*/ 969874 w 2441576"/>
              <a:gd name="connsiteY53" fmla="*/ 901153 h 1193517"/>
              <a:gd name="connsiteX54" fmla="*/ 864820 w 2441576"/>
              <a:gd name="connsiteY54" fmla="*/ 901154 h 1193517"/>
              <a:gd name="connsiteX55" fmla="*/ 755093 w 2441576"/>
              <a:gd name="connsiteY55" fmla="*/ 901153 h 1193517"/>
              <a:gd name="connsiteX56" fmla="*/ 685028 w 2441576"/>
              <a:gd name="connsiteY56" fmla="*/ 901153 h 1193517"/>
              <a:gd name="connsiteX57" fmla="*/ 581332 w 2441576"/>
              <a:gd name="connsiteY57" fmla="*/ 901153 h 1193517"/>
              <a:gd name="connsiteX58" fmla="*/ 471351 w 2441576"/>
              <a:gd name="connsiteY58" fmla="*/ 901153 h 1193517"/>
              <a:gd name="connsiteX59" fmla="*/ 470246 w 2441576"/>
              <a:gd name="connsiteY59" fmla="*/ 901153 h 1193517"/>
              <a:gd name="connsiteX60" fmla="*/ 377080 w 2441576"/>
              <a:gd name="connsiteY60" fmla="*/ 901153 h 1193517"/>
              <a:gd name="connsiteX61" fmla="*/ 282811 w 2441576"/>
              <a:gd name="connsiteY61" fmla="*/ 901153 h 1193517"/>
              <a:gd name="connsiteX62" fmla="*/ 185400 w 2441576"/>
              <a:gd name="connsiteY62" fmla="*/ 901153 h 1193517"/>
              <a:gd name="connsiteX63" fmla="*/ 94270 w 2441576"/>
              <a:gd name="connsiteY63" fmla="*/ 901153 h 1193517"/>
              <a:gd name="connsiteX64" fmla="*/ 0 w 2441576"/>
              <a:gd name="connsiteY64" fmla="*/ 901153 h 1193517"/>
              <a:gd name="connsiteX65" fmla="*/ 0 w 2441576"/>
              <a:gd name="connsiteY65" fmla="*/ 832545 h 1193517"/>
              <a:gd name="connsiteX66" fmla="*/ 0 w 2441576"/>
              <a:gd name="connsiteY66" fmla="*/ 760507 h 1193517"/>
              <a:gd name="connsiteX67" fmla="*/ 0 w 2441576"/>
              <a:gd name="connsiteY67" fmla="*/ 691899 h 1193517"/>
              <a:gd name="connsiteX68" fmla="*/ 0 w 2441576"/>
              <a:gd name="connsiteY68" fmla="*/ 608455 h 1193517"/>
              <a:gd name="connsiteX69" fmla="*/ 0 w 2441576"/>
              <a:gd name="connsiteY69" fmla="*/ 539847 h 1193517"/>
              <a:gd name="connsiteX70" fmla="*/ 0 w 2441576"/>
              <a:gd name="connsiteY70" fmla="*/ 456403 h 1193517"/>
              <a:gd name="connsiteX71" fmla="*/ 0 w 2441576"/>
              <a:gd name="connsiteY71" fmla="*/ 387795 h 1193517"/>
              <a:gd name="connsiteX72" fmla="*/ 0 w 2441576"/>
              <a:gd name="connsiteY72" fmla="*/ 304351 h 1193517"/>
              <a:gd name="connsiteX73" fmla="*/ 0 w 2441576"/>
              <a:gd name="connsiteY73" fmla="*/ 235743 h 1193517"/>
              <a:gd name="connsiteX74" fmla="*/ 0 w 2441576"/>
              <a:gd name="connsiteY74" fmla="*/ 152299 h 1193517"/>
              <a:gd name="connsiteX75" fmla="*/ 0 w 2441576"/>
              <a:gd name="connsiteY75" fmla="*/ 83691 h 1193517"/>
              <a:gd name="connsiteX76" fmla="*/ 0 w 2441576"/>
              <a:gd name="connsiteY76" fmla="*/ 247 h 11935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2441576" h="1193517">
                <a:moveTo>
                  <a:pt x="0" y="247"/>
                </a:moveTo>
                <a:lnTo>
                  <a:pt x="94270" y="247"/>
                </a:lnTo>
                <a:lnTo>
                  <a:pt x="185400" y="247"/>
                </a:lnTo>
                <a:lnTo>
                  <a:pt x="282811" y="247"/>
                </a:lnTo>
                <a:lnTo>
                  <a:pt x="377080" y="247"/>
                </a:lnTo>
                <a:lnTo>
                  <a:pt x="470246" y="247"/>
                </a:lnTo>
                <a:lnTo>
                  <a:pt x="581332" y="247"/>
                </a:lnTo>
                <a:lnTo>
                  <a:pt x="685028" y="247"/>
                </a:lnTo>
                <a:lnTo>
                  <a:pt x="755093" y="247"/>
                </a:lnTo>
                <a:lnTo>
                  <a:pt x="860129" y="1"/>
                </a:lnTo>
                <a:lnTo>
                  <a:pt x="969874" y="247"/>
                </a:lnTo>
                <a:lnTo>
                  <a:pt x="1039939" y="247"/>
                </a:lnTo>
                <a:lnTo>
                  <a:pt x="1146839" y="1"/>
                </a:lnTo>
                <a:lnTo>
                  <a:pt x="1254721" y="247"/>
                </a:lnTo>
                <a:lnTo>
                  <a:pt x="1324785" y="247"/>
                </a:lnTo>
                <a:lnTo>
                  <a:pt x="1430031" y="0"/>
                </a:lnTo>
                <a:lnTo>
                  <a:pt x="1539566" y="247"/>
                </a:lnTo>
                <a:lnTo>
                  <a:pt x="1609632" y="247"/>
                </a:lnTo>
                <a:lnTo>
                  <a:pt x="1707946" y="1"/>
                </a:lnTo>
                <a:lnTo>
                  <a:pt x="1824412" y="247"/>
                </a:lnTo>
                <a:lnTo>
                  <a:pt x="1941949" y="247"/>
                </a:lnTo>
                <a:lnTo>
                  <a:pt x="2094866" y="247"/>
                </a:lnTo>
                <a:lnTo>
                  <a:pt x="2176781" y="247"/>
                </a:lnTo>
                <a:lnTo>
                  <a:pt x="2258696" y="247"/>
                </a:lnTo>
                <a:lnTo>
                  <a:pt x="2321561" y="247"/>
                </a:lnTo>
                <a:lnTo>
                  <a:pt x="2441576" y="247"/>
                </a:lnTo>
                <a:lnTo>
                  <a:pt x="2441576" y="83691"/>
                </a:lnTo>
                <a:lnTo>
                  <a:pt x="2441576" y="152299"/>
                </a:lnTo>
                <a:lnTo>
                  <a:pt x="2441576" y="235743"/>
                </a:lnTo>
                <a:lnTo>
                  <a:pt x="2441576" y="304351"/>
                </a:lnTo>
                <a:lnTo>
                  <a:pt x="2441576" y="387795"/>
                </a:lnTo>
                <a:lnTo>
                  <a:pt x="2441576" y="456403"/>
                </a:lnTo>
                <a:lnTo>
                  <a:pt x="2441576" y="539847"/>
                </a:lnTo>
                <a:lnTo>
                  <a:pt x="2441576" y="608455"/>
                </a:lnTo>
                <a:lnTo>
                  <a:pt x="2441576" y="691899"/>
                </a:lnTo>
                <a:lnTo>
                  <a:pt x="2441576" y="760507"/>
                </a:lnTo>
                <a:lnTo>
                  <a:pt x="2441576" y="832545"/>
                </a:lnTo>
                <a:lnTo>
                  <a:pt x="2441576" y="901153"/>
                </a:lnTo>
                <a:lnTo>
                  <a:pt x="2321561" y="901153"/>
                </a:lnTo>
                <a:lnTo>
                  <a:pt x="2239646" y="901153"/>
                </a:lnTo>
                <a:lnTo>
                  <a:pt x="2176781" y="901153"/>
                </a:lnTo>
                <a:lnTo>
                  <a:pt x="2109259" y="901153"/>
                </a:lnTo>
                <a:lnTo>
                  <a:pt x="2025730" y="901153"/>
                </a:lnTo>
                <a:lnTo>
                  <a:pt x="1941949" y="901153"/>
                </a:lnTo>
                <a:lnTo>
                  <a:pt x="1824412" y="901153"/>
                </a:lnTo>
                <a:lnTo>
                  <a:pt x="1720844" y="901153"/>
                </a:lnTo>
                <a:lnTo>
                  <a:pt x="1829119" y="1193517"/>
                </a:lnTo>
                <a:lnTo>
                  <a:pt x="1539566" y="901153"/>
                </a:lnTo>
                <a:lnTo>
                  <a:pt x="1427685" y="901153"/>
                </a:lnTo>
                <a:lnTo>
                  <a:pt x="1324785" y="901153"/>
                </a:lnTo>
                <a:lnTo>
                  <a:pt x="1254721" y="901153"/>
                </a:lnTo>
                <a:lnTo>
                  <a:pt x="1146253" y="901153"/>
                </a:lnTo>
                <a:lnTo>
                  <a:pt x="1039939" y="901153"/>
                </a:lnTo>
                <a:lnTo>
                  <a:pt x="969874" y="901153"/>
                </a:lnTo>
                <a:lnTo>
                  <a:pt x="864820" y="901154"/>
                </a:lnTo>
                <a:lnTo>
                  <a:pt x="755093" y="901153"/>
                </a:lnTo>
                <a:lnTo>
                  <a:pt x="685028" y="901153"/>
                </a:lnTo>
                <a:lnTo>
                  <a:pt x="581332" y="901153"/>
                </a:lnTo>
                <a:lnTo>
                  <a:pt x="471351" y="901153"/>
                </a:lnTo>
                <a:lnTo>
                  <a:pt x="470246" y="901153"/>
                </a:lnTo>
                <a:lnTo>
                  <a:pt x="377080" y="901153"/>
                </a:lnTo>
                <a:lnTo>
                  <a:pt x="282811" y="901153"/>
                </a:lnTo>
                <a:lnTo>
                  <a:pt x="185400" y="901153"/>
                </a:lnTo>
                <a:lnTo>
                  <a:pt x="94270" y="901153"/>
                </a:lnTo>
                <a:lnTo>
                  <a:pt x="0" y="901153"/>
                </a:lnTo>
                <a:lnTo>
                  <a:pt x="0" y="832545"/>
                </a:lnTo>
                <a:lnTo>
                  <a:pt x="0" y="760507"/>
                </a:lnTo>
                <a:lnTo>
                  <a:pt x="0" y="691899"/>
                </a:lnTo>
                <a:lnTo>
                  <a:pt x="0" y="608455"/>
                </a:lnTo>
                <a:lnTo>
                  <a:pt x="0" y="539847"/>
                </a:lnTo>
                <a:lnTo>
                  <a:pt x="0" y="456403"/>
                </a:lnTo>
                <a:lnTo>
                  <a:pt x="0" y="387795"/>
                </a:lnTo>
                <a:lnTo>
                  <a:pt x="0" y="304351"/>
                </a:lnTo>
                <a:lnTo>
                  <a:pt x="0" y="235743"/>
                </a:lnTo>
                <a:lnTo>
                  <a:pt x="0" y="152299"/>
                </a:lnTo>
                <a:lnTo>
                  <a:pt x="0" y="83691"/>
                </a:lnTo>
                <a:lnTo>
                  <a:pt x="0" y="247"/>
                </a:lnTo>
                <a:close/>
              </a:path>
            </a:pathLst>
          </a:custGeom>
          <a:solidFill>
            <a:schemeClr val="bg2"/>
          </a:solidFill>
          <a:ln w="12700" algn="ctr">
            <a:solidFill>
              <a:schemeClr val="accent2"/>
            </a:solidFill>
            <a:miter lim="800000"/>
            <a:headEnd/>
            <a:tailEnd/>
          </a:ln>
          <a:effectLst>
            <a:outerShdw dist="53340" dir="2700000" algn="tl" rotWithShape="0">
              <a:schemeClr val="tx1">
                <a:alpha val="8000"/>
              </a:schemeClr>
            </a:outerShdw>
          </a:effectLst>
        </p:spPr>
        <p:txBody>
          <a:bodyPr vert="horz" wrap="square" lIns="86855" tIns="43457" rIns="86855" bIns="43457" numCol="1" anchor="t" anchorCtr="0" compatLnSpc="1">
            <a:prstTxWarp prst="textNoShape">
              <a:avLst/>
            </a:prstTxWarp>
            <a:noAutofit/>
          </a:bodyPr>
          <a:lstStyle/>
          <a:p>
            <a:pPr defTabSz="868494">
              <a:defRPr/>
            </a:pPr>
            <a:endParaRPr lang="es-CL" sz="13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Rectangle 22"/>
          <p:cNvSpPr txBox="1">
            <a:spLocks/>
          </p:cNvSpPr>
          <p:nvPr>
            <p:custDataLst>
              <p:tags r:id="rId4"/>
            </p:custDataLst>
          </p:nvPr>
        </p:nvSpPr>
        <p:spPr>
          <a:xfrm flipH="1">
            <a:off x="4172228" y="1956810"/>
            <a:ext cx="809736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defTabSz="850403">
              <a:buClr>
                <a:srgbClr val="009A46"/>
              </a:buClr>
              <a:defRPr/>
            </a:pPr>
            <a:r>
              <a:rPr lang="es-CL" sz="1300">
                <a:solidFill>
                  <a:srgbClr val="000000"/>
                </a:solidFill>
              </a:rPr>
              <a:t>Equipo completo</a:t>
            </a:r>
          </a:p>
        </p:txBody>
      </p:sp>
      <p:sp>
        <p:nvSpPr>
          <p:cNvPr id="64" name="Rectangle 1"/>
          <p:cNvSpPr>
            <a:spLocks/>
          </p:cNvSpPr>
          <p:nvPr/>
        </p:nvSpPr>
        <p:spPr>
          <a:xfrm>
            <a:off x="5200514" y="1882934"/>
            <a:ext cx="1520440" cy="703578"/>
          </a:xfrm>
          <a:custGeom>
            <a:avLst/>
            <a:gdLst>
              <a:gd name="connsiteX0" fmla="*/ 0 w 2441576"/>
              <a:gd name="connsiteY0" fmla="*/ 0 h 900906"/>
              <a:gd name="connsiteX1" fmla="*/ 94270 w 2441576"/>
              <a:gd name="connsiteY1" fmla="*/ 0 h 900906"/>
              <a:gd name="connsiteX2" fmla="*/ 185400 w 2441576"/>
              <a:gd name="connsiteY2" fmla="*/ 0 h 900906"/>
              <a:gd name="connsiteX3" fmla="*/ 188541 w 2441576"/>
              <a:gd name="connsiteY3" fmla="*/ 0 h 900906"/>
              <a:gd name="connsiteX4" fmla="*/ 282811 w 2441576"/>
              <a:gd name="connsiteY4" fmla="*/ 0 h 900906"/>
              <a:gd name="connsiteX5" fmla="*/ 377080 w 2441576"/>
              <a:gd name="connsiteY5" fmla="*/ 0 h 900906"/>
              <a:gd name="connsiteX6" fmla="*/ 470246 w 2441576"/>
              <a:gd name="connsiteY6" fmla="*/ 0 h 900906"/>
              <a:gd name="connsiteX7" fmla="*/ 471351 w 2441576"/>
              <a:gd name="connsiteY7" fmla="*/ 0 h 900906"/>
              <a:gd name="connsiteX8" fmla="*/ 581332 w 2441576"/>
              <a:gd name="connsiteY8" fmla="*/ 0 h 900906"/>
              <a:gd name="connsiteX9" fmla="*/ 685028 w 2441576"/>
              <a:gd name="connsiteY9" fmla="*/ 0 h 900906"/>
              <a:gd name="connsiteX10" fmla="*/ 755093 w 2441576"/>
              <a:gd name="connsiteY10" fmla="*/ 0 h 900906"/>
              <a:gd name="connsiteX11" fmla="*/ 969874 w 2441576"/>
              <a:gd name="connsiteY11" fmla="*/ 0 h 900906"/>
              <a:gd name="connsiteX12" fmla="*/ 1039939 w 2441576"/>
              <a:gd name="connsiteY12" fmla="*/ 0 h 900906"/>
              <a:gd name="connsiteX13" fmla="*/ 1254721 w 2441576"/>
              <a:gd name="connsiteY13" fmla="*/ 0 h 900906"/>
              <a:gd name="connsiteX14" fmla="*/ 1324785 w 2441576"/>
              <a:gd name="connsiteY14" fmla="*/ 0 h 900906"/>
              <a:gd name="connsiteX15" fmla="*/ 1539566 w 2441576"/>
              <a:gd name="connsiteY15" fmla="*/ 0 h 900906"/>
              <a:gd name="connsiteX16" fmla="*/ 1609632 w 2441576"/>
              <a:gd name="connsiteY16" fmla="*/ 0 h 900906"/>
              <a:gd name="connsiteX17" fmla="*/ 1824412 w 2441576"/>
              <a:gd name="connsiteY17" fmla="*/ 0 h 900906"/>
              <a:gd name="connsiteX18" fmla="*/ 1941949 w 2441576"/>
              <a:gd name="connsiteY18" fmla="*/ 0 h 900906"/>
              <a:gd name="connsiteX19" fmla="*/ 2094866 w 2441576"/>
              <a:gd name="connsiteY19" fmla="*/ 0 h 900906"/>
              <a:gd name="connsiteX20" fmla="*/ 2176781 w 2441576"/>
              <a:gd name="connsiteY20" fmla="*/ 0 h 900906"/>
              <a:gd name="connsiteX21" fmla="*/ 2258696 w 2441576"/>
              <a:gd name="connsiteY21" fmla="*/ 0 h 900906"/>
              <a:gd name="connsiteX22" fmla="*/ 2321561 w 2441576"/>
              <a:gd name="connsiteY22" fmla="*/ 0 h 900906"/>
              <a:gd name="connsiteX23" fmla="*/ 2403476 w 2441576"/>
              <a:gd name="connsiteY23" fmla="*/ 0 h 900906"/>
              <a:gd name="connsiteX24" fmla="*/ 2441576 w 2441576"/>
              <a:gd name="connsiteY24" fmla="*/ 0 h 900906"/>
              <a:gd name="connsiteX25" fmla="*/ 2441576 w 2441576"/>
              <a:gd name="connsiteY25" fmla="*/ 83444 h 900906"/>
              <a:gd name="connsiteX26" fmla="*/ 2441576 w 2441576"/>
              <a:gd name="connsiteY26" fmla="*/ 152052 h 900906"/>
              <a:gd name="connsiteX27" fmla="*/ 2441576 w 2441576"/>
              <a:gd name="connsiteY27" fmla="*/ 235496 h 900906"/>
              <a:gd name="connsiteX28" fmla="*/ 2441576 w 2441576"/>
              <a:gd name="connsiteY28" fmla="*/ 304104 h 900906"/>
              <a:gd name="connsiteX29" fmla="*/ 2441576 w 2441576"/>
              <a:gd name="connsiteY29" fmla="*/ 387548 h 900906"/>
              <a:gd name="connsiteX30" fmla="*/ 2441576 w 2441576"/>
              <a:gd name="connsiteY30" fmla="*/ 456156 h 900906"/>
              <a:gd name="connsiteX31" fmla="*/ 2441576 w 2441576"/>
              <a:gd name="connsiteY31" fmla="*/ 539600 h 900906"/>
              <a:gd name="connsiteX32" fmla="*/ 2441576 w 2441576"/>
              <a:gd name="connsiteY32" fmla="*/ 608208 h 900906"/>
              <a:gd name="connsiteX33" fmla="*/ 2441576 w 2441576"/>
              <a:gd name="connsiteY33" fmla="*/ 691652 h 900906"/>
              <a:gd name="connsiteX34" fmla="*/ 2441576 w 2441576"/>
              <a:gd name="connsiteY34" fmla="*/ 748854 h 900906"/>
              <a:gd name="connsiteX35" fmla="*/ 2441576 w 2441576"/>
              <a:gd name="connsiteY35" fmla="*/ 760260 h 900906"/>
              <a:gd name="connsiteX36" fmla="*/ 2441576 w 2441576"/>
              <a:gd name="connsiteY36" fmla="*/ 832298 h 900906"/>
              <a:gd name="connsiteX37" fmla="*/ 2441576 w 2441576"/>
              <a:gd name="connsiteY37" fmla="*/ 900906 h 900906"/>
              <a:gd name="connsiteX38" fmla="*/ 2403476 w 2441576"/>
              <a:gd name="connsiteY38" fmla="*/ 900906 h 900906"/>
              <a:gd name="connsiteX39" fmla="*/ 2321561 w 2441576"/>
              <a:gd name="connsiteY39" fmla="*/ 900906 h 900906"/>
              <a:gd name="connsiteX40" fmla="*/ 2239646 w 2441576"/>
              <a:gd name="connsiteY40" fmla="*/ 900906 h 900906"/>
              <a:gd name="connsiteX41" fmla="*/ 2176781 w 2441576"/>
              <a:gd name="connsiteY41" fmla="*/ 900906 h 900906"/>
              <a:gd name="connsiteX42" fmla="*/ 2109259 w 2441576"/>
              <a:gd name="connsiteY42" fmla="*/ 900906 h 900906"/>
              <a:gd name="connsiteX43" fmla="*/ 2094866 w 2441576"/>
              <a:gd name="connsiteY43" fmla="*/ 900906 h 900906"/>
              <a:gd name="connsiteX44" fmla="*/ 1941949 w 2441576"/>
              <a:gd name="connsiteY44" fmla="*/ 900906 h 900906"/>
              <a:gd name="connsiteX45" fmla="*/ 1824412 w 2441576"/>
              <a:gd name="connsiteY45" fmla="*/ 900906 h 900906"/>
              <a:gd name="connsiteX46" fmla="*/ 1609632 w 2441576"/>
              <a:gd name="connsiteY46" fmla="*/ 900906 h 900906"/>
              <a:gd name="connsiteX47" fmla="*/ 1539566 w 2441576"/>
              <a:gd name="connsiteY47" fmla="*/ 900906 h 900906"/>
              <a:gd name="connsiteX48" fmla="*/ 1324785 w 2441576"/>
              <a:gd name="connsiteY48" fmla="*/ 900906 h 900906"/>
              <a:gd name="connsiteX49" fmla="*/ 1254721 w 2441576"/>
              <a:gd name="connsiteY49" fmla="*/ 900906 h 900906"/>
              <a:gd name="connsiteX50" fmla="*/ 1039939 w 2441576"/>
              <a:gd name="connsiteY50" fmla="*/ 900906 h 900906"/>
              <a:gd name="connsiteX51" fmla="*/ 969874 w 2441576"/>
              <a:gd name="connsiteY51" fmla="*/ 900906 h 900906"/>
              <a:gd name="connsiteX52" fmla="*/ 755093 w 2441576"/>
              <a:gd name="connsiteY52" fmla="*/ 900906 h 900906"/>
              <a:gd name="connsiteX53" fmla="*/ 685028 w 2441576"/>
              <a:gd name="connsiteY53" fmla="*/ 900906 h 900906"/>
              <a:gd name="connsiteX54" fmla="*/ 581332 w 2441576"/>
              <a:gd name="connsiteY54" fmla="*/ 900906 h 900906"/>
              <a:gd name="connsiteX55" fmla="*/ 471351 w 2441576"/>
              <a:gd name="connsiteY55" fmla="*/ 900906 h 900906"/>
              <a:gd name="connsiteX56" fmla="*/ 470246 w 2441576"/>
              <a:gd name="connsiteY56" fmla="*/ 900906 h 900906"/>
              <a:gd name="connsiteX57" fmla="*/ 377080 w 2441576"/>
              <a:gd name="connsiteY57" fmla="*/ 900906 h 900906"/>
              <a:gd name="connsiteX58" fmla="*/ 282811 w 2441576"/>
              <a:gd name="connsiteY58" fmla="*/ 900906 h 900906"/>
              <a:gd name="connsiteX59" fmla="*/ 188541 w 2441576"/>
              <a:gd name="connsiteY59" fmla="*/ 900906 h 900906"/>
              <a:gd name="connsiteX60" fmla="*/ 185400 w 2441576"/>
              <a:gd name="connsiteY60" fmla="*/ 900906 h 900906"/>
              <a:gd name="connsiteX61" fmla="*/ 94270 w 2441576"/>
              <a:gd name="connsiteY61" fmla="*/ 900906 h 900906"/>
              <a:gd name="connsiteX62" fmla="*/ 0 w 2441576"/>
              <a:gd name="connsiteY62" fmla="*/ 900906 h 900906"/>
              <a:gd name="connsiteX63" fmla="*/ 0 w 2441576"/>
              <a:gd name="connsiteY63" fmla="*/ 832298 h 900906"/>
              <a:gd name="connsiteX64" fmla="*/ 0 w 2441576"/>
              <a:gd name="connsiteY64" fmla="*/ 760260 h 900906"/>
              <a:gd name="connsiteX65" fmla="*/ 0 w 2441576"/>
              <a:gd name="connsiteY65" fmla="*/ 748854 h 900906"/>
              <a:gd name="connsiteX66" fmla="*/ 0 w 2441576"/>
              <a:gd name="connsiteY66" fmla="*/ 691652 h 900906"/>
              <a:gd name="connsiteX67" fmla="*/ 0 w 2441576"/>
              <a:gd name="connsiteY67" fmla="*/ 608208 h 900906"/>
              <a:gd name="connsiteX68" fmla="*/ 0 w 2441576"/>
              <a:gd name="connsiteY68" fmla="*/ 539600 h 900906"/>
              <a:gd name="connsiteX69" fmla="*/ 0 w 2441576"/>
              <a:gd name="connsiteY69" fmla="*/ 456156 h 900906"/>
              <a:gd name="connsiteX70" fmla="*/ 0 w 2441576"/>
              <a:gd name="connsiteY70" fmla="*/ 387548 h 900906"/>
              <a:gd name="connsiteX71" fmla="*/ 0 w 2441576"/>
              <a:gd name="connsiteY71" fmla="*/ 304104 h 900906"/>
              <a:gd name="connsiteX72" fmla="*/ 0 w 2441576"/>
              <a:gd name="connsiteY72" fmla="*/ 235496 h 900906"/>
              <a:gd name="connsiteX73" fmla="*/ 0 w 2441576"/>
              <a:gd name="connsiteY73" fmla="*/ 152052 h 900906"/>
              <a:gd name="connsiteX74" fmla="*/ 0 w 2441576"/>
              <a:gd name="connsiteY74" fmla="*/ 83444 h 900906"/>
              <a:gd name="connsiteX75" fmla="*/ 0 w 2441576"/>
              <a:gd name="connsiteY75" fmla="*/ 0 h 900906"/>
              <a:gd name="connsiteX0" fmla="*/ 0 w 2441576"/>
              <a:gd name="connsiteY0" fmla="*/ 0 h 900906"/>
              <a:gd name="connsiteX1" fmla="*/ 94270 w 2441576"/>
              <a:gd name="connsiteY1" fmla="*/ 0 h 900906"/>
              <a:gd name="connsiteX2" fmla="*/ 185400 w 2441576"/>
              <a:gd name="connsiteY2" fmla="*/ 0 h 900906"/>
              <a:gd name="connsiteX3" fmla="*/ 188541 w 2441576"/>
              <a:gd name="connsiteY3" fmla="*/ 0 h 900906"/>
              <a:gd name="connsiteX4" fmla="*/ 282811 w 2441576"/>
              <a:gd name="connsiteY4" fmla="*/ 0 h 900906"/>
              <a:gd name="connsiteX5" fmla="*/ 377080 w 2441576"/>
              <a:gd name="connsiteY5" fmla="*/ 0 h 900906"/>
              <a:gd name="connsiteX6" fmla="*/ 470246 w 2441576"/>
              <a:gd name="connsiteY6" fmla="*/ 0 h 900906"/>
              <a:gd name="connsiteX7" fmla="*/ 471351 w 2441576"/>
              <a:gd name="connsiteY7" fmla="*/ 0 h 900906"/>
              <a:gd name="connsiteX8" fmla="*/ 581332 w 2441576"/>
              <a:gd name="connsiteY8" fmla="*/ 0 h 900906"/>
              <a:gd name="connsiteX9" fmla="*/ 685028 w 2441576"/>
              <a:gd name="connsiteY9" fmla="*/ 0 h 900906"/>
              <a:gd name="connsiteX10" fmla="*/ 755093 w 2441576"/>
              <a:gd name="connsiteY10" fmla="*/ 0 h 900906"/>
              <a:gd name="connsiteX11" fmla="*/ 969874 w 2441576"/>
              <a:gd name="connsiteY11" fmla="*/ 0 h 900906"/>
              <a:gd name="connsiteX12" fmla="*/ 1039939 w 2441576"/>
              <a:gd name="connsiteY12" fmla="*/ 0 h 900906"/>
              <a:gd name="connsiteX13" fmla="*/ 1254721 w 2441576"/>
              <a:gd name="connsiteY13" fmla="*/ 0 h 900906"/>
              <a:gd name="connsiteX14" fmla="*/ 1324785 w 2441576"/>
              <a:gd name="connsiteY14" fmla="*/ 0 h 900906"/>
              <a:gd name="connsiteX15" fmla="*/ 1539566 w 2441576"/>
              <a:gd name="connsiteY15" fmla="*/ 0 h 900906"/>
              <a:gd name="connsiteX16" fmla="*/ 1609632 w 2441576"/>
              <a:gd name="connsiteY16" fmla="*/ 0 h 900906"/>
              <a:gd name="connsiteX17" fmla="*/ 1824412 w 2441576"/>
              <a:gd name="connsiteY17" fmla="*/ 0 h 900906"/>
              <a:gd name="connsiteX18" fmla="*/ 1941949 w 2441576"/>
              <a:gd name="connsiteY18" fmla="*/ 0 h 900906"/>
              <a:gd name="connsiteX19" fmla="*/ 2094866 w 2441576"/>
              <a:gd name="connsiteY19" fmla="*/ 0 h 900906"/>
              <a:gd name="connsiteX20" fmla="*/ 2176781 w 2441576"/>
              <a:gd name="connsiteY20" fmla="*/ 0 h 900906"/>
              <a:gd name="connsiteX21" fmla="*/ 2258696 w 2441576"/>
              <a:gd name="connsiteY21" fmla="*/ 0 h 900906"/>
              <a:gd name="connsiteX22" fmla="*/ 2321561 w 2441576"/>
              <a:gd name="connsiteY22" fmla="*/ 0 h 900906"/>
              <a:gd name="connsiteX23" fmla="*/ 2403476 w 2441576"/>
              <a:gd name="connsiteY23" fmla="*/ 0 h 900906"/>
              <a:gd name="connsiteX24" fmla="*/ 2441576 w 2441576"/>
              <a:gd name="connsiteY24" fmla="*/ 0 h 900906"/>
              <a:gd name="connsiteX25" fmla="*/ 2441576 w 2441576"/>
              <a:gd name="connsiteY25" fmla="*/ 83444 h 900906"/>
              <a:gd name="connsiteX26" fmla="*/ 2441576 w 2441576"/>
              <a:gd name="connsiteY26" fmla="*/ 152052 h 900906"/>
              <a:gd name="connsiteX27" fmla="*/ 2441576 w 2441576"/>
              <a:gd name="connsiteY27" fmla="*/ 235496 h 900906"/>
              <a:gd name="connsiteX28" fmla="*/ 2441576 w 2441576"/>
              <a:gd name="connsiteY28" fmla="*/ 304104 h 900906"/>
              <a:gd name="connsiteX29" fmla="*/ 2441576 w 2441576"/>
              <a:gd name="connsiteY29" fmla="*/ 387548 h 900906"/>
              <a:gd name="connsiteX30" fmla="*/ 2441576 w 2441576"/>
              <a:gd name="connsiteY30" fmla="*/ 456156 h 900906"/>
              <a:gd name="connsiteX31" fmla="*/ 2441576 w 2441576"/>
              <a:gd name="connsiteY31" fmla="*/ 539600 h 900906"/>
              <a:gd name="connsiteX32" fmla="*/ 2441576 w 2441576"/>
              <a:gd name="connsiteY32" fmla="*/ 608208 h 900906"/>
              <a:gd name="connsiteX33" fmla="*/ 2441576 w 2441576"/>
              <a:gd name="connsiteY33" fmla="*/ 691652 h 900906"/>
              <a:gd name="connsiteX34" fmla="*/ 2441576 w 2441576"/>
              <a:gd name="connsiteY34" fmla="*/ 748854 h 900906"/>
              <a:gd name="connsiteX35" fmla="*/ 2441576 w 2441576"/>
              <a:gd name="connsiteY35" fmla="*/ 760260 h 900906"/>
              <a:gd name="connsiteX36" fmla="*/ 2441576 w 2441576"/>
              <a:gd name="connsiteY36" fmla="*/ 832298 h 900906"/>
              <a:gd name="connsiteX37" fmla="*/ 2441576 w 2441576"/>
              <a:gd name="connsiteY37" fmla="*/ 900906 h 900906"/>
              <a:gd name="connsiteX38" fmla="*/ 2403476 w 2441576"/>
              <a:gd name="connsiteY38" fmla="*/ 900906 h 900906"/>
              <a:gd name="connsiteX39" fmla="*/ 2321561 w 2441576"/>
              <a:gd name="connsiteY39" fmla="*/ 900906 h 900906"/>
              <a:gd name="connsiteX40" fmla="*/ 2239646 w 2441576"/>
              <a:gd name="connsiteY40" fmla="*/ 900906 h 900906"/>
              <a:gd name="connsiteX41" fmla="*/ 2176781 w 2441576"/>
              <a:gd name="connsiteY41" fmla="*/ 900906 h 900906"/>
              <a:gd name="connsiteX42" fmla="*/ 2109259 w 2441576"/>
              <a:gd name="connsiteY42" fmla="*/ 900906 h 900906"/>
              <a:gd name="connsiteX43" fmla="*/ 1941949 w 2441576"/>
              <a:gd name="connsiteY43" fmla="*/ 900906 h 900906"/>
              <a:gd name="connsiteX44" fmla="*/ 1824412 w 2441576"/>
              <a:gd name="connsiteY44" fmla="*/ 900906 h 900906"/>
              <a:gd name="connsiteX45" fmla="*/ 1609632 w 2441576"/>
              <a:gd name="connsiteY45" fmla="*/ 900906 h 900906"/>
              <a:gd name="connsiteX46" fmla="*/ 1539566 w 2441576"/>
              <a:gd name="connsiteY46" fmla="*/ 900906 h 900906"/>
              <a:gd name="connsiteX47" fmla="*/ 1324785 w 2441576"/>
              <a:gd name="connsiteY47" fmla="*/ 900906 h 900906"/>
              <a:gd name="connsiteX48" fmla="*/ 1254721 w 2441576"/>
              <a:gd name="connsiteY48" fmla="*/ 900906 h 900906"/>
              <a:gd name="connsiteX49" fmla="*/ 1039939 w 2441576"/>
              <a:gd name="connsiteY49" fmla="*/ 900906 h 900906"/>
              <a:gd name="connsiteX50" fmla="*/ 969874 w 2441576"/>
              <a:gd name="connsiteY50" fmla="*/ 900906 h 900906"/>
              <a:gd name="connsiteX51" fmla="*/ 755093 w 2441576"/>
              <a:gd name="connsiteY51" fmla="*/ 900906 h 900906"/>
              <a:gd name="connsiteX52" fmla="*/ 685028 w 2441576"/>
              <a:gd name="connsiteY52" fmla="*/ 900906 h 900906"/>
              <a:gd name="connsiteX53" fmla="*/ 581332 w 2441576"/>
              <a:gd name="connsiteY53" fmla="*/ 900906 h 900906"/>
              <a:gd name="connsiteX54" fmla="*/ 471351 w 2441576"/>
              <a:gd name="connsiteY54" fmla="*/ 900906 h 900906"/>
              <a:gd name="connsiteX55" fmla="*/ 470246 w 2441576"/>
              <a:gd name="connsiteY55" fmla="*/ 900906 h 900906"/>
              <a:gd name="connsiteX56" fmla="*/ 377080 w 2441576"/>
              <a:gd name="connsiteY56" fmla="*/ 900906 h 900906"/>
              <a:gd name="connsiteX57" fmla="*/ 282811 w 2441576"/>
              <a:gd name="connsiteY57" fmla="*/ 900906 h 900906"/>
              <a:gd name="connsiteX58" fmla="*/ 188541 w 2441576"/>
              <a:gd name="connsiteY58" fmla="*/ 900906 h 900906"/>
              <a:gd name="connsiteX59" fmla="*/ 185400 w 2441576"/>
              <a:gd name="connsiteY59" fmla="*/ 900906 h 900906"/>
              <a:gd name="connsiteX60" fmla="*/ 94270 w 2441576"/>
              <a:gd name="connsiteY60" fmla="*/ 900906 h 900906"/>
              <a:gd name="connsiteX61" fmla="*/ 0 w 2441576"/>
              <a:gd name="connsiteY61" fmla="*/ 900906 h 900906"/>
              <a:gd name="connsiteX62" fmla="*/ 0 w 2441576"/>
              <a:gd name="connsiteY62" fmla="*/ 832298 h 900906"/>
              <a:gd name="connsiteX63" fmla="*/ 0 w 2441576"/>
              <a:gd name="connsiteY63" fmla="*/ 760260 h 900906"/>
              <a:gd name="connsiteX64" fmla="*/ 0 w 2441576"/>
              <a:gd name="connsiteY64" fmla="*/ 748854 h 900906"/>
              <a:gd name="connsiteX65" fmla="*/ 0 w 2441576"/>
              <a:gd name="connsiteY65" fmla="*/ 691652 h 900906"/>
              <a:gd name="connsiteX66" fmla="*/ 0 w 2441576"/>
              <a:gd name="connsiteY66" fmla="*/ 608208 h 900906"/>
              <a:gd name="connsiteX67" fmla="*/ 0 w 2441576"/>
              <a:gd name="connsiteY67" fmla="*/ 539600 h 900906"/>
              <a:gd name="connsiteX68" fmla="*/ 0 w 2441576"/>
              <a:gd name="connsiteY68" fmla="*/ 456156 h 900906"/>
              <a:gd name="connsiteX69" fmla="*/ 0 w 2441576"/>
              <a:gd name="connsiteY69" fmla="*/ 387548 h 900906"/>
              <a:gd name="connsiteX70" fmla="*/ 0 w 2441576"/>
              <a:gd name="connsiteY70" fmla="*/ 304104 h 900906"/>
              <a:gd name="connsiteX71" fmla="*/ 0 w 2441576"/>
              <a:gd name="connsiteY71" fmla="*/ 235496 h 900906"/>
              <a:gd name="connsiteX72" fmla="*/ 0 w 2441576"/>
              <a:gd name="connsiteY72" fmla="*/ 152052 h 900906"/>
              <a:gd name="connsiteX73" fmla="*/ 0 w 2441576"/>
              <a:gd name="connsiteY73" fmla="*/ 83444 h 900906"/>
              <a:gd name="connsiteX74" fmla="*/ 0 w 2441576"/>
              <a:gd name="connsiteY74" fmla="*/ 0 h 900906"/>
              <a:gd name="connsiteX0" fmla="*/ 0 w 2441576"/>
              <a:gd name="connsiteY0" fmla="*/ 0 h 900906"/>
              <a:gd name="connsiteX1" fmla="*/ 94270 w 2441576"/>
              <a:gd name="connsiteY1" fmla="*/ 0 h 900906"/>
              <a:gd name="connsiteX2" fmla="*/ 185400 w 2441576"/>
              <a:gd name="connsiteY2" fmla="*/ 0 h 900906"/>
              <a:gd name="connsiteX3" fmla="*/ 188541 w 2441576"/>
              <a:gd name="connsiteY3" fmla="*/ 0 h 900906"/>
              <a:gd name="connsiteX4" fmla="*/ 282811 w 2441576"/>
              <a:gd name="connsiteY4" fmla="*/ 0 h 900906"/>
              <a:gd name="connsiteX5" fmla="*/ 377080 w 2441576"/>
              <a:gd name="connsiteY5" fmla="*/ 0 h 900906"/>
              <a:gd name="connsiteX6" fmla="*/ 470246 w 2441576"/>
              <a:gd name="connsiteY6" fmla="*/ 0 h 900906"/>
              <a:gd name="connsiteX7" fmla="*/ 471351 w 2441576"/>
              <a:gd name="connsiteY7" fmla="*/ 0 h 900906"/>
              <a:gd name="connsiteX8" fmla="*/ 581332 w 2441576"/>
              <a:gd name="connsiteY8" fmla="*/ 0 h 900906"/>
              <a:gd name="connsiteX9" fmla="*/ 685028 w 2441576"/>
              <a:gd name="connsiteY9" fmla="*/ 0 h 900906"/>
              <a:gd name="connsiteX10" fmla="*/ 755093 w 2441576"/>
              <a:gd name="connsiteY10" fmla="*/ 0 h 900906"/>
              <a:gd name="connsiteX11" fmla="*/ 969874 w 2441576"/>
              <a:gd name="connsiteY11" fmla="*/ 0 h 900906"/>
              <a:gd name="connsiteX12" fmla="*/ 1039939 w 2441576"/>
              <a:gd name="connsiteY12" fmla="*/ 0 h 900906"/>
              <a:gd name="connsiteX13" fmla="*/ 1254721 w 2441576"/>
              <a:gd name="connsiteY13" fmla="*/ 0 h 900906"/>
              <a:gd name="connsiteX14" fmla="*/ 1324785 w 2441576"/>
              <a:gd name="connsiteY14" fmla="*/ 0 h 900906"/>
              <a:gd name="connsiteX15" fmla="*/ 1539566 w 2441576"/>
              <a:gd name="connsiteY15" fmla="*/ 0 h 900906"/>
              <a:gd name="connsiteX16" fmla="*/ 1609632 w 2441576"/>
              <a:gd name="connsiteY16" fmla="*/ 0 h 900906"/>
              <a:gd name="connsiteX17" fmla="*/ 1824412 w 2441576"/>
              <a:gd name="connsiteY17" fmla="*/ 0 h 900906"/>
              <a:gd name="connsiteX18" fmla="*/ 1941949 w 2441576"/>
              <a:gd name="connsiteY18" fmla="*/ 0 h 900906"/>
              <a:gd name="connsiteX19" fmla="*/ 2094866 w 2441576"/>
              <a:gd name="connsiteY19" fmla="*/ 0 h 900906"/>
              <a:gd name="connsiteX20" fmla="*/ 2176781 w 2441576"/>
              <a:gd name="connsiteY20" fmla="*/ 0 h 900906"/>
              <a:gd name="connsiteX21" fmla="*/ 2258696 w 2441576"/>
              <a:gd name="connsiteY21" fmla="*/ 0 h 900906"/>
              <a:gd name="connsiteX22" fmla="*/ 2321561 w 2441576"/>
              <a:gd name="connsiteY22" fmla="*/ 0 h 900906"/>
              <a:gd name="connsiteX23" fmla="*/ 2441576 w 2441576"/>
              <a:gd name="connsiteY23" fmla="*/ 0 h 900906"/>
              <a:gd name="connsiteX24" fmla="*/ 2441576 w 2441576"/>
              <a:gd name="connsiteY24" fmla="*/ 83444 h 900906"/>
              <a:gd name="connsiteX25" fmla="*/ 2441576 w 2441576"/>
              <a:gd name="connsiteY25" fmla="*/ 152052 h 900906"/>
              <a:gd name="connsiteX26" fmla="*/ 2441576 w 2441576"/>
              <a:gd name="connsiteY26" fmla="*/ 235496 h 900906"/>
              <a:gd name="connsiteX27" fmla="*/ 2441576 w 2441576"/>
              <a:gd name="connsiteY27" fmla="*/ 304104 h 900906"/>
              <a:gd name="connsiteX28" fmla="*/ 2441576 w 2441576"/>
              <a:gd name="connsiteY28" fmla="*/ 387548 h 900906"/>
              <a:gd name="connsiteX29" fmla="*/ 2441576 w 2441576"/>
              <a:gd name="connsiteY29" fmla="*/ 456156 h 900906"/>
              <a:gd name="connsiteX30" fmla="*/ 2441576 w 2441576"/>
              <a:gd name="connsiteY30" fmla="*/ 539600 h 900906"/>
              <a:gd name="connsiteX31" fmla="*/ 2441576 w 2441576"/>
              <a:gd name="connsiteY31" fmla="*/ 608208 h 900906"/>
              <a:gd name="connsiteX32" fmla="*/ 2441576 w 2441576"/>
              <a:gd name="connsiteY32" fmla="*/ 691652 h 900906"/>
              <a:gd name="connsiteX33" fmla="*/ 2441576 w 2441576"/>
              <a:gd name="connsiteY33" fmla="*/ 748854 h 900906"/>
              <a:gd name="connsiteX34" fmla="*/ 2441576 w 2441576"/>
              <a:gd name="connsiteY34" fmla="*/ 760260 h 900906"/>
              <a:gd name="connsiteX35" fmla="*/ 2441576 w 2441576"/>
              <a:gd name="connsiteY35" fmla="*/ 832298 h 900906"/>
              <a:gd name="connsiteX36" fmla="*/ 2441576 w 2441576"/>
              <a:gd name="connsiteY36" fmla="*/ 900906 h 900906"/>
              <a:gd name="connsiteX37" fmla="*/ 2403476 w 2441576"/>
              <a:gd name="connsiteY37" fmla="*/ 900906 h 900906"/>
              <a:gd name="connsiteX38" fmla="*/ 2321561 w 2441576"/>
              <a:gd name="connsiteY38" fmla="*/ 900906 h 900906"/>
              <a:gd name="connsiteX39" fmla="*/ 2239646 w 2441576"/>
              <a:gd name="connsiteY39" fmla="*/ 900906 h 900906"/>
              <a:gd name="connsiteX40" fmla="*/ 2176781 w 2441576"/>
              <a:gd name="connsiteY40" fmla="*/ 900906 h 900906"/>
              <a:gd name="connsiteX41" fmla="*/ 2109259 w 2441576"/>
              <a:gd name="connsiteY41" fmla="*/ 900906 h 900906"/>
              <a:gd name="connsiteX42" fmla="*/ 1941949 w 2441576"/>
              <a:gd name="connsiteY42" fmla="*/ 900906 h 900906"/>
              <a:gd name="connsiteX43" fmla="*/ 1824412 w 2441576"/>
              <a:gd name="connsiteY43" fmla="*/ 900906 h 900906"/>
              <a:gd name="connsiteX44" fmla="*/ 1609632 w 2441576"/>
              <a:gd name="connsiteY44" fmla="*/ 900906 h 900906"/>
              <a:gd name="connsiteX45" fmla="*/ 1539566 w 2441576"/>
              <a:gd name="connsiteY45" fmla="*/ 900906 h 900906"/>
              <a:gd name="connsiteX46" fmla="*/ 1324785 w 2441576"/>
              <a:gd name="connsiteY46" fmla="*/ 900906 h 900906"/>
              <a:gd name="connsiteX47" fmla="*/ 1254721 w 2441576"/>
              <a:gd name="connsiteY47" fmla="*/ 900906 h 900906"/>
              <a:gd name="connsiteX48" fmla="*/ 1039939 w 2441576"/>
              <a:gd name="connsiteY48" fmla="*/ 900906 h 900906"/>
              <a:gd name="connsiteX49" fmla="*/ 969874 w 2441576"/>
              <a:gd name="connsiteY49" fmla="*/ 900906 h 900906"/>
              <a:gd name="connsiteX50" fmla="*/ 755093 w 2441576"/>
              <a:gd name="connsiteY50" fmla="*/ 900906 h 900906"/>
              <a:gd name="connsiteX51" fmla="*/ 685028 w 2441576"/>
              <a:gd name="connsiteY51" fmla="*/ 900906 h 900906"/>
              <a:gd name="connsiteX52" fmla="*/ 581332 w 2441576"/>
              <a:gd name="connsiteY52" fmla="*/ 900906 h 900906"/>
              <a:gd name="connsiteX53" fmla="*/ 471351 w 2441576"/>
              <a:gd name="connsiteY53" fmla="*/ 900906 h 900906"/>
              <a:gd name="connsiteX54" fmla="*/ 470246 w 2441576"/>
              <a:gd name="connsiteY54" fmla="*/ 900906 h 900906"/>
              <a:gd name="connsiteX55" fmla="*/ 377080 w 2441576"/>
              <a:gd name="connsiteY55" fmla="*/ 900906 h 900906"/>
              <a:gd name="connsiteX56" fmla="*/ 282811 w 2441576"/>
              <a:gd name="connsiteY56" fmla="*/ 900906 h 900906"/>
              <a:gd name="connsiteX57" fmla="*/ 188541 w 2441576"/>
              <a:gd name="connsiteY57" fmla="*/ 900906 h 900906"/>
              <a:gd name="connsiteX58" fmla="*/ 185400 w 2441576"/>
              <a:gd name="connsiteY58" fmla="*/ 900906 h 900906"/>
              <a:gd name="connsiteX59" fmla="*/ 94270 w 2441576"/>
              <a:gd name="connsiteY59" fmla="*/ 900906 h 900906"/>
              <a:gd name="connsiteX60" fmla="*/ 0 w 2441576"/>
              <a:gd name="connsiteY60" fmla="*/ 900906 h 900906"/>
              <a:gd name="connsiteX61" fmla="*/ 0 w 2441576"/>
              <a:gd name="connsiteY61" fmla="*/ 832298 h 900906"/>
              <a:gd name="connsiteX62" fmla="*/ 0 w 2441576"/>
              <a:gd name="connsiteY62" fmla="*/ 760260 h 900906"/>
              <a:gd name="connsiteX63" fmla="*/ 0 w 2441576"/>
              <a:gd name="connsiteY63" fmla="*/ 748854 h 900906"/>
              <a:gd name="connsiteX64" fmla="*/ 0 w 2441576"/>
              <a:gd name="connsiteY64" fmla="*/ 691652 h 900906"/>
              <a:gd name="connsiteX65" fmla="*/ 0 w 2441576"/>
              <a:gd name="connsiteY65" fmla="*/ 608208 h 900906"/>
              <a:gd name="connsiteX66" fmla="*/ 0 w 2441576"/>
              <a:gd name="connsiteY66" fmla="*/ 539600 h 900906"/>
              <a:gd name="connsiteX67" fmla="*/ 0 w 2441576"/>
              <a:gd name="connsiteY67" fmla="*/ 456156 h 900906"/>
              <a:gd name="connsiteX68" fmla="*/ 0 w 2441576"/>
              <a:gd name="connsiteY68" fmla="*/ 387548 h 900906"/>
              <a:gd name="connsiteX69" fmla="*/ 0 w 2441576"/>
              <a:gd name="connsiteY69" fmla="*/ 304104 h 900906"/>
              <a:gd name="connsiteX70" fmla="*/ 0 w 2441576"/>
              <a:gd name="connsiteY70" fmla="*/ 235496 h 900906"/>
              <a:gd name="connsiteX71" fmla="*/ 0 w 2441576"/>
              <a:gd name="connsiteY71" fmla="*/ 152052 h 900906"/>
              <a:gd name="connsiteX72" fmla="*/ 0 w 2441576"/>
              <a:gd name="connsiteY72" fmla="*/ 83444 h 900906"/>
              <a:gd name="connsiteX73" fmla="*/ 0 w 2441576"/>
              <a:gd name="connsiteY73" fmla="*/ 0 h 900906"/>
              <a:gd name="connsiteX0" fmla="*/ 0 w 2441576"/>
              <a:gd name="connsiteY0" fmla="*/ 0 h 900906"/>
              <a:gd name="connsiteX1" fmla="*/ 94270 w 2441576"/>
              <a:gd name="connsiteY1" fmla="*/ 0 h 900906"/>
              <a:gd name="connsiteX2" fmla="*/ 185400 w 2441576"/>
              <a:gd name="connsiteY2" fmla="*/ 0 h 900906"/>
              <a:gd name="connsiteX3" fmla="*/ 188541 w 2441576"/>
              <a:gd name="connsiteY3" fmla="*/ 0 h 900906"/>
              <a:gd name="connsiteX4" fmla="*/ 282811 w 2441576"/>
              <a:gd name="connsiteY4" fmla="*/ 0 h 900906"/>
              <a:gd name="connsiteX5" fmla="*/ 377080 w 2441576"/>
              <a:gd name="connsiteY5" fmla="*/ 0 h 900906"/>
              <a:gd name="connsiteX6" fmla="*/ 470246 w 2441576"/>
              <a:gd name="connsiteY6" fmla="*/ 0 h 900906"/>
              <a:gd name="connsiteX7" fmla="*/ 471351 w 2441576"/>
              <a:gd name="connsiteY7" fmla="*/ 0 h 900906"/>
              <a:gd name="connsiteX8" fmla="*/ 581332 w 2441576"/>
              <a:gd name="connsiteY8" fmla="*/ 0 h 900906"/>
              <a:gd name="connsiteX9" fmla="*/ 685028 w 2441576"/>
              <a:gd name="connsiteY9" fmla="*/ 0 h 900906"/>
              <a:gd name="connsiteX10" fmla="*/ 755093 w 2441576"/>
              <a:gd name="connsiteY10" fmla="*/ 0 h 900906"/>
              <a:gd name="connsiteX11" fmla="*/ 969874 w 2441576"/>
              <a:gd name="connsiteY11" fmla="*/ 0 h 900906"/>
              <a:gd name="connsiteX12" fmla="*/ 1039939 w 2441576"/>
              <a:gd name="connsiteY12" fmla="*/ 0 h 900906"/>
              <a:gd name="connsiteX13" fmla="*/ 1254721 w 2441576"/>
              <a:gd name="connsiteY13" fmla="*/ 0 h 900906"/>
              <a:gd name="connsiteX14" fmla="*/ 1324785 w 2441576"/>
              <a:gd name="connsiteY14" fmla="*/ 0 h 900906"/>
              <a:gd name="connsiteX15" fmla="*/ 1539566 w 2441576"/>
              <a:gd name="connsiteY15" fmla="*/ 0 h 900906"/>
              <a:gd name="connsiteX16" fmla="*/ 1609632 w 2441576"/>
              <a:gd name="connsiteY16" fmla="*/ 0 h 900906"/>
              <a:gd name="connsiteX17" fmla="*/ 1824412 w 2441576"/>
              <a:gd name="connsiteY17" fmla="*/ 0 h 900906"/>
              <a:gd name="connsiteX18" fmla="*/ 1941949 w 2441576"/>
              <a:gd name="connsiteY18" fmla="*/ 0 h 900906"/>
              <a:gd name="connsiteX19" fmla="*/ 2094866 w 2441576"/>
              <a:gd name="connsiteY19" fmla="*/ 0 h 900906"/>
              <a:gd name="connsiteX20" fmla="*/ 2176781 w 2441576"/>
              <a:gd name="connsiteY20" fmla="*/ 0 h 900906"/>
              <a:gd name="connsiteX21" fmla="*/ 2258696 w 2441576"/>
              <a:gd name="connsiteY21" fmla="*/ 0 h 900906"/>
              <a:gd name="connsiteX22" fmla="*/ 2321561 w 2441576"/>
              <a:gd name="connsiteY22" fmla="*/ 0 h 900906"/>
              <a:gd name="connsiteX23" fmla="*/ 2441576 w 2441576"/>
              <a:gd name="connsiteY23" fmla="*/ 0 h 900906"/>
              <a:gd name="connsiteX24" fmla="*/ 2441576 w 2441576"/>
              <a:gd name="connsiteY24" fmla="*/ 83444 h 900906"/>
              <a:gd name="connsiteX25" fmla="*/ 2441576 w 2441576"/>
              <a:gd name="connsiteY25" fmla="*/ 152052 h 900906"/>
              <a:gd name="connsiteX26" fmla="*/ 2441576 w 2441576"/>
              <a:gd name="connsiteY26" fmla="*/ 235496 h 900906"/>
              <a:gd name="connsiteX27" fmla="*/ 2441576 w 2441576"/>
              <a:gd name="connsiteY27" fmla="*/ 304104 h 900906"/>
              <a:gd name="connsiteX28" fmla="*/ 2441576 w 2441576"/>
              <a:gd name="connsiteY28" fmla="*/ 387548 h 900906"/>
              <a:gd name="connsiteX29" fmla="*/ 2441576 w 2441576"/>
              <a:gd name="connsiteY29" fmla="*/ 456156 h 900906"/>
              <a:gd name="connsiteX30" fmla="*/ 2441576 w 2441576"/>
              <a:gd name="connsiteY30" fmla="*/ 539600 h 900906"/>
              <a:gd name="connsiteX31" fmla="*/ 2441576 w 2441576"/>
              <a:gd name="connsiteY31" fmla="*/ 608208 h 900906"/>
              <a:gd name="connsiteX32" fmla="*/ 2441576 w 2441576"/>
              <a:gd name="connsiteY32" fmla="*/ 691652 h 900906"/>
              <a:gd name="connsiteX33" fmla="*/ 2441576 w 2441576"/>
              <a:gd name="connsiteY33" fmla="*/ 748854 h 900906"/>
              <a:gd name="connsiteX34" fmla="*/ 2441576 w 2441576"/>
              <a:gd name="connsiteY34" fmla="*/ 760260 h 900906"/>
              <a:gd name="connsiteX35" fmla="*/ 2441576 w 2441576"/>
              <a:gd name="connsiteY35" fmla="*/ 832298 h 900906"/>
              <a:gd name="connsiteX36" fmla="*/ 2441576 w 2441576"/>
              <a:gd name="connsiteY36" fmla="*/ 900906 h 900906"/>
              <a:gd name="connsiteX37" fmla="*/ 2321561 w 2441576"/>
              <a:gd name="connsiteY37" fmla="*/ 900906 h 900906"/>
              <a:gd name="connsiteX38" fmla="*/ 2239646 w 2441576"/>
              <a:gd name="connsiteY38" fmla="*/ 900906 h 900906"/>
              <a:gd name="connsiteX39" fmla="*/ 2176781 w 2441576"/>
              <a:gd name="connsiteY39" fmla="*/ 900906 h 900906"/>
              <a:gd name="connsiteX40" fmla="*/ 2109259 w 2441576"/>
              <a:gd name="connsiteY40" fmla="*/ 900906 h 900906"/>
              <a:gd name="connsiteX41" fmla="*/ 1941949 w 2441576"/>
              <a:gd name="connsiteY41" fmla="*/ 900906 h 900906"/>
              <a:gd name="connsiteX42" fmla="*/ 1824412 w 2441576"/>
              <a:gd name="connsiteY42" fmla="*/ 900906 h 900906"/>
              <a:gd name="connsiteX43" fmla="*/ 1609632 w 2441576"/>
              <a:gd name="connsiteY43" fmla="*/ 900906 h 900906"/>
              <a:gd name="connsiteX44" fmla="*/ 1539566 w 2441576"/>
              <a:gd name="connsiteY44" fmla="*/ 900906 h 900906"/>
              <a:gd name="connsiteX45" fmla="*/ 1324785 w 2441576"/>
              <a:gd name="connsiteY45" fmla="*/ 900906 h 900906"/>
              <a:gd name="connsiteX46" fmla="*/ 1254721 w 2441576"/>
              <a:gd name="connsiteY46" fmla="*/ 900906 h 900906"/>
              <a:gd name="connsiteX47" fmla="*/ 1039939 w 2441576"/>
              <a:gd name="connsiteY47" fmla="*/ 900906 h 900906"/>
              <a:gd name="connsiteX48" fmla="*/ 969874 w 2441576"/>
              <a:gd name="connsiteY48" fmla="*/ 900906 h 900906"/>
              <a:gd name="connsiteX49" fmla="*/ 755093 w 2441576"/>
              <a:gd name="connsiteY49" fmla="*/ 900906 h 900906"/>
              <a:gd name="connsiteX50" fmla="*/ 685028 w 2441576"/>
              <a:gd name="connsiteY50" fmla="*/ 900906 h 900906"/>
              <a:gd name="connsiteX51" fmla="*/ 581332 w 2441576"/>
              <a:gd name="connsiteY51" fmla="*/ 900906 h 900906"/>
              <a:gd name="connsiteX52" fmla="*/ 471351 w 2441576"/>
              <a:gd name="connsiteY52" fmla="*/ 900906 h 900906"/>
              <a:gd name="connsiteX53" fmla="*/ 470246 w 2441576"/>
              <a:gd name="connsiteY53" fmla="*/ 900906 h 900906"/>
              <a:gd name="connsiteX54" fmla="*/ 377080 w 2441576"/>
              <a:gd name="connsiteY54" fmla="*/ 900906 h 900906"/>
              <a:gd name="connsiteX55" fmla="*/ 282811 w 2441576"/>
              <a:gd name="connsiteY55" fmla="*/ 900906 h 900906"/>
              <a:gd name="connsiteX56" fmla="*/ 188541 w 2441576"/>
              <a:gd name="connsiteY56" fmla="*/ 900906 h 900906"/>
              <a:gd name="connsiteX57" fmla="*/ 185400 w 2441576"/>
              <a:gd name="connsiteY57" fmla="*/ 900906 h 900906"/>
              <a:gd name="connsiteX58" fmla="*/ 94270 w 2441576"/>
              <a:gd name="connsiteY58" fmla="*/ 900906 h 900906"/>
              <a:gd name="connsiteX59" fmla="*/ 0 w 2441576"/>
              <a:gd name="connsiteY59" fmla="*/ 900906 h 900906"/>
              <a:gd name="connsiteX60" fmla="*/ 0 w 2441576"/>
              <a:gd name="connsiteY60" fmla="*/ 832298 h 900906"/>
              <a:gd name="connsiteX61" fmla="*/ 0 w 2441576"/>
              <a:gd name="connsiteY61" fmla="*/ 760260 h 900906"/>
              <a:gd name="connsiteX62" fmla="*/ 0 w 2441576"/>
              <a:gd name="connsiteY62" fmla="*/ 748854 h 900906"/>
              <a:gd name="connsiteX63" fmla="*/ 0 w 2441576"/>
              <a:gd name="connsiteY63" fmla="*/ 691652 h 900906"/>
              <a:gd name="connsiteX64" fmla="*/ 0 w 2441576"/>
              <a:gd name="connsiteY64" fmla="*/ 608208 h 900906"/>
              <a:gd name="connsiteX65" fmla="*/ 0 w 2441576"/>
              <a:gd name="connsiteY65" fmla="*/ 539600 h 900906"/>
              <a:gd name="connsiteX66" fmla="*/ 0 w 2441576"/>
              <a:gd name="connsiteY66" fmla="*/ 456156 h 900906"/>
              <a:gd name="connsiteX67" fmla="*/ 0 w 2441576"/>
              <a:gd name="connsiteY67" fmla="*/ 387548 h 900906"/>
              <a:gd name="connsiteX68" fmla="*/ 0 w 2441576"/>
              <a:gd name="connsiteY68" fmla="*/ 304104 h 900906"/>
              <a:gd name="connsiteX69" fmla="*/ 0 w 2441576"/>
              <a:gd name="connsiteY69" fmla="*/ 235496 h 900906"/>
              <a:gd name="connsiteX70" fmla="*/ 0 w 2441576"/>
              <a:gd name="connsiteY70" fmla="*/ 152052 h 900906"/>
              <a:gd name="connsiteX71" fmla="*/ 0 w 2441576"/>
              <a:gd name="connsiteY71" fmla="*/ 83444 h 900906"/>
              <a:gd name="connsiteX72" fmla="*/ 0 w 2441576"/>
              <a:gd name="connsiteY72" fmla="*/ 0 h 900906"/>
              <a:gd name="connsiteX0" fmla="*/ 0 w 2441576"/>
              <a:gd name="connsiteY0" fmla="*/ 0 h 900906"/>
              <a:gd name="connsiteX1" fmla="*/ 94270 w 2441576"/>
              <a:gd name="connsiteY1" fmla="*/ 0 h 900906"/>
              <a:gd name="connsiteX2" fmla="*/ 185400 w 2441576"/>
              <a:gd name="connsiteY2" fmla="*/ 0 h 900906"/>
              <a:gd name="connsiteX3" fmla="*/ 188541 w 2441576"/>
              <a:gd name="connsiteY3" fmla="*/ 0 h 900906"/>
              <a:gd name="connsiteX4" fmla="*/ 282811 w 2441576"/>
              <a:gd name="connsiteY4" fmla="*/ 0 h 900906"/>
              <a:gd name="connsiteX5" fmla="*/ 377080 w 2441576"/>
              <a:gd name="connsiteY5" fmla="*/ 0 h 900906"/>
              <a:gd name="connsiteX6" fmla="*/ 470246 w 2441576"/>
              <a:gd name="connsiteY6" fmla="*/ 0 h 900906"/>
              <a:gd name="connsiteX7" fmla="*/ 471351 w 2441576"/>
              <a:gd name="connsiteY7" fmla="*/ 0 h 900906"/>
              <a:gd name="connsiteX8" fmla="*/ 581332 w 2441576"/>
              <a:gd name="connsiteY8" fmla="*/ 0 h 900906"/>
              <a:gd name="connsiteX9" fmla="*/ 685028 w 2441576"/>
              <a:gd name="connsiteY9" fmla="*/ 0 h 900906"/>
              <a:gd name="connsiteX10" fmla="*/ 755093 w 2441576"/>
              <a:gd name="connsiteY10" fmla="*/ 0 h 900906"/>
              <a:gd name="connsiteX11" fmla="*/ 969874 w 2441576"/>
              <a:gd name="connsiteY11" fmla="*/ 0 h 900906"/>
              <a:gd name="connsiteX12" fmla="*/ 1039939 w 2441576"/>
              <a:gd name="connsiteY12" fmla="*/ 0 h 900906"/>
              <a:gd name="connsiteX13" fmla="*/ 1254721 w 2441576"/>
              <a:gd name="connsiteY13" fmla="*/ 0 h 900906"/>
              <a:gd name="connsiteX14" fmla="*/ 1324785 w 2441576"/>
              <a:gd name="connsiteY14" fmla="*/ 0 h 900906"/>
              <a:gd name="connsiteX15" fmla="*/ 1539566 w 2441576"/>
              <a:gd name="connsiteY15" fmla="*/ 0 h 900906"/>
              <a:gd name="connsiteX16" fmla="*/ 1609632 w 2441576"/>
              <a:gd name="connsiteY16" fmla="*/ 0 h 900906"/>
              <a:gd name="connsiteX17" fmla="*/ 1824412 w 2441576"/>
              <a:gd name="connsiteY17" fmla="*/ 0 h 900906"/>
              <a:gd name="connsiteX18" fmla="*/ 1941949 w 2441576"/>
              <a:gd name="connsiteY18" fmla="*/ 0 h 900906"/>
              <a:gd name="connsiteX19" fmla="*/ 2094866 w 2441576"/>
              <a:gd name="connsiteY19" fmla="*/ 0 h 900906"/>
              <a:gd name="connsiteX20" fmla="*/ 2176781 w 2441576"/>
              <a:gd name="connsiteY20" fmla="*/ 0 h 900906"/>
              <a:gd name="connsiteX21" fmla="*/ 2258696 w 2441576"/>
              <a:gd name="connsiteY21" fmla="*/ 0 h 900906"/>
              <a:gd name="connsiteX22" fmla="*/ 2321561 w 2441576"/>
              <a:gd name="connsiteY22" fmla="*/ 0 h 900906"/>
              <a:gd name="connsiteX23" fmla="*/ 2441576 w 2441576"/>
              <a:gd name="connsiteY23" fmla="*/ 0 h 900906"/>
              <a:gd name="connsiteX24" fmla="*/ 2441576 w 2441576"/>
              <a:gd name="connsiteY24" fmla="*/ 83444 h 900906"/>
              <a:gd name="connsiteX25" fmla="*/ 2441576 w 2441576"/>
              <a:gd name="connsiteY25" fmla="*/ 152052 h 900906"/>
              <a:gd name="connsiteX26" fmla="*/ 2441576 w 2441576"/>
              <a:gd name="connsiteY26" fmla="*/ 235496 h 900906"/>
              <a:gd name="connsiteX27" fmla="*/ 2441576 w 2441576"/>
              <a:gd name="connsiteY27" fmla="*/ 304104 h 900906"/>
              <a:gd name="connsiteX28" fmla="*/ 2441576 w 2441576"/>
              <a:gd name="connsiteY28" fmla="*/ 387548 h 900906"/>
              <a:gd name="connsiteX29" fmla="*/ 2441576 w 2441576"/>
              <a:gd name="connsiteY29" fmla="*/ 456156 h 900906"/>
              <a:gd name="connsiteX30" fmla="*/ 2441576 w 2441576"/>
              <a:gd name="connsiteY30" fmla="*/ 539600 h 900906"/>
              <a:gd name="connsiteX31" fmla="*/ 2441576 w 2441576"/>
              <a:gd name="connsiteY31" fmla="*/ 608208 h 900906"/>
              <a:gd name="connsiteX32" fmla="*/ 2441576 w 2441576"/>
              <a:gd name="connsiteY32" fmla="*/ 691652 h 900906"/>
              <a:gd name="connsiteX33" fmla="*/ 2441576 w 2441576"/>
              <a:gd name="connsiteY33" fmla="*/ 760260 h 900906"/>
              <a:gd name="connsiteX34" fmla="*/ 2441576 w 2441576"/>
              <a:gd name="connsiteY34" fmla="*/ 832298 h 900906"/>
              <a:gd name="connsiteX35" fmla="*/ 2441576 w 2441576"/>
              <a:gd name="connsiteY35" fmla="*/ 900906 h 900906"/>
              <a:gd name="connsiteX36" fmla="*/ 2321561 w 2441576"/>
              <a:gd name="connsiteY36" fmla="*/ 900906 h 900906"/>
              <a:gd name="connsiteX37" fmla="*/ 2239646 w 2441576"/>
              <a:gd name="connsiteY37" fmla="*/ 900906 h 900906"/>
              <a:gd name="connsiteX38" fmla="*/ 2176781 w 2441576"/>
              <a:gd name="connsiteY38" fmla="*/ 900906 h 900906"/>
              <a:gd name="connsiteX39" fmla="*/ 2109259 w 2441576"/>
              <a:gd name="connsiteY39" fmla="*/ 900906 h 900906"/>
              <a:gd name="connsiteX40" fmla="*/ 1941949 w 2441576"/>
              <a:gd name="connsiteY40" fmla="*/ 900906 h 900906"/>
              <a:gd name="connsiteX41" fmla="*/ 1824412 w 2441576"/>
              <a:gd name="connsiteY41" fmla="*/ 900906 h 900906"/>
              <a:gd name="connsiteX42" fmla="*/ 1609632 w 2441576"/>
              <a:gd name="connsiteY42" fmla="*/ 900906 h 900906"/>
              <a:gd name="connsiteX43" fmla="*/ 1539566 w 2441576"/>
              <a:gd name="connsiteY43" fmla="*/ 900906 h 900906"/>
              <a:gd name="connsiteX44" fmla="*/ 1324785 w 2441576"/>
              <a:gd name="connsiteY44" fmla="*/ 900906 h 900906"/>
              <a:gd name="connsiteX45" fmla="*/ 1254721 w 2441576"/>
              <a:gd name="connsiteY45" fmla="*/ 900906 h 900906"/>
              <a:gd name="connsiteX46" fmla="*/ 1039939 w 2441576"/>
              <a:gd name="connsiteY46" fmla="*/ 900906 h 900906"/>
              <a:gd name="connsiteX47" fmla="*/ 969874 w 2441576"/>
              <a:gd name="connsiteY47" fmla="*/ 900906 h 900906"/>
              <a:gd name="connsiteX48" fmla="*/ 755093 w 2441576"/>
              <a:gd name="connsiteY48" fmla="*/ 900906 h 900906"/>
              <a:gd name="connsiteX49" fmla="*/ 685028 w 2441576"/>
              <a:gd name="connsiteY49" fmla="*/ 900906 h 900906"/>
              <a:gd name="connsiteX50" fmla="*/ 581332 w 2441576"/>
              <a:gd name="connsiteY50" fmla="*/ 900906 h 900906"/>
              <a:gd name="connsiteX51" fmla="*/ 471351 w 2441576"/>
              <a:gd name="connsiteY51" fmla="*/ 900906 h 900906"/>
              <a:gd name="connsiteX52" fmla="*/ 470246 w 2441576"/>
              <a:gd name="connsiteY52" fmla="*/ 900906 h 900906"/>
              <a:gd name="connsiteX53" fmla="*/ 377080 w 2441576"/>
              <a:gd name="connsiteY53" fmla="*/ 900906 h 900906"/>
              <a:gd name="connsiteX54" fmla="*/ 282811 w 2441576"/>
              <a:gd name="connsiteY54" fmla="*/ 900906 h 900906"/>
              <a:gd name="connsiteX55" fmla="*/ 188541 w 2441576"/>
              <a:gd name="connsiteY55" fmla="*/ 900906 h 900906"/>
              <a:gd name="connsiteX56" fmla="*/ 185400 w 2441576"/>
              <a:gd name="connsiteY56" fmla="*/ 900906 h 900906"/>
              <a:gd name="connsiteX57" fmla="*/ 94270 w 2441576"/>
              <a:gd name="connsiteY57" fmla="*/ 900906 h 900906"/>
              <a:gd name="connsiteX58" fmla="*/ 0 w 2441576"/>
              <a:gd name="connsiteY58" fmla="*/ 900906 h 900906"/>
              <a:gd name="connsiteX59" fmla="*/ 0 w 2441576"/>
              <a:gd name="connsiteY59" fmla="*/ 832298 h 900906"/>
              <a:gd name="connsiteX60" fmla="*/ 0 w 2441576"/>
              <a:gd name="connsiteY60" fmla="*/ 760260 h 900906"/>
              <a:gd name="connsiteX61" fmla="*/ 0 w 2441576"/>
              <a:gd name="connsiteY61" fmla="*/ 748854 h 900906"/>
              <a:gd name="connsiteX62" fmla="*/ 0 w 2441576"/>
              <a:gd name="connsiteY62" fmla="*/ 691652 h 900906"/>
              <a:gd name="connsiteX63" fmla="*/ 0 w 2441576"/>
              <a:gd name="connsiteY63" fmla="*/ 608208 h 900906"/>
              <a:gd name="connsiteX64" fmla="*/ 0 w 2441576"/>
              <a:gd name="connsiteY64" fmla="*/ 539600 h 900906"/>
              <a:gd name="connsiteX65" fmla="*/ 0 w 2441576"/>
              <a:gd name="connsiteY65" fmla="*/ 456156 h 900906"/>
              <a:gd name="connsiteX66" fmla="*/ 0 w 2441576"/>
              <a:gd name="connsiteY66" fmla="*/ 387548 h 900906"/>
              <a:gd name="connsiteX67" fmla="*/ 0 w 2441576"/>
              <a:gd name="connsiteY67" fmla="*/ 304104 h 900906"/>
              <a:gd name="connsiteX68" fmla="*/ 0 w 2441576"/>
              <a:gd name="connsiteY68" fmla="*/ 235496 h 900906"/>
              <a:gd name="connsiteX69" fmla="*/ 0 w 2441576"/>
              <a:gd name="connsiteY69" fmla="*/ 152052 h 900906"/>
              <a:gd name="connsiteX70" fmla="*/ 0 w 2441576"/>
              <a:gd name="connsiteY70" fmla="*/ 83444 h 900906"/>
              <a:gd name="connsiteX71" fmla="*/ 0 w 2441576"/>
              <a:gd name="connsiteY71" fmla="*/ 0 h 900906"/>
              <a:gd name="connsiteX0" fmla="*/ 0 w 2441576"/>
              <a:gd name="connsiteY0" fmla="*/ 0 h 900906"/>
              <a:gd name="connsiteX1" fmla="*/ 94270 w 2441576"/>
              <a:gd name="connsiteY1" fmla="*/ 0 h 900906"/>
              <a:gd name="connsiteX2" fmla="*/ 185400 w 2441576"/>
              <a:gd name="connsiteY2" fmla="*/ 0 h 900906"/>
              <a:gd name="connsiteX3" fmla="*/ 188541 w 2441576"/>
              <a:gd name="connsiteY3" fmla="*/ 0 h 900906"/>
              <a:gd name="connsiteX4" fmla="*/ 282811 w 2441576"/>
              <a:gd name="connsiteY4" fmla="*/ 0 h 900906"/>
              <a:gd name="connsiteX5" fmla="*/ 377080 w 2441576"/>
              <a:gd name="connsiteY5" fmla="*/ 0 h 900906"/>
              <a:gd name="connsiteX6" fmla="*/ 470246 w 2441576"/>
              <a:gd name="connsiteY6" fmla="*/ 0 h 900906"/>
              <a:gd name="connsiteX7" fmla="*/ 471351 w 2441576"/>
              <a:gd name="connsiteY7" fmla="*/ 0 h 900906"/>
              <a:gd name="connsiteX8" fmla="*/ 581332 w 2441576"/>
              <a:gd name="connsiteY8" fmla="*/ 0 h 900906"/>
              <a:gd name="connsiteX9" fmla="*/ 685028 w 2441576"/>
              <a:gd name="connsiteY9" fmla="*/ 0 h 900906"/>
              <a:gd name="connsiteX10" fmla="*/ 755093 w 2441576"/>
              <a:gd name="connsiteY10" fmla="*/ 0 h 900906"/>
              <a:gd name="connsiteX11" fmla="*/ 969874 w 2441576"/>
              <a:gd name="connsiteY11" fmla="*/ 0 h 900906"/>
              <a:gd name="connsiteX12" fmla="*/ 1039939 w 2441576"/>
              <a:gd name="connsiteY12" fmla="*/ 0 h 900906"/>
              <a:gd name="connsiteX13" fmla="*/ 1254721 w 2441576"/>
              <a:gd name="connsiteY13" fmla="*/ 0 h 900906"/>
              <a:gd name="connsiteX14" fmla="*/ 1324785 w 2441576"/>
              <a:gd name="connsiteY14" fmla="*/ 0 h 900906"/>
              <a:gd name="connsiteX15" fmla="*/ 1539566 w 2441576"/>
              <a:gd name="connsiteY15" fmla="*/ 0 h 900906"/>
              <a:gd name="connsiteX16" fmla="*/ 1609632 w 2441576"/>
              <a:gd name="connsiteY16" fmla="*/ 0 h 900906"/>
              <a:gd name="connsiteX17" fmla="*/ 1824412 w 2441576"/>
              <a:gd name="connsiteY17" fmla="*/ 0 h 900906"/>
              <a:gd name="connsiteX18" fmla="*/ 1941949 w 2441576"/>
              <a:gd name="connsiteY18" fmla="*/ 0 h 900906"/>
              <a:gd name="connsiteX19" fmla="*/ 2094866 w 2441576"/>
              <a:gd name="connsiteY19" fmla="*/ 0 h 900906"/>
              <a:gd name="connsiteX20" fmla="*/ 2176781 w 2441576"/>
              <a:gd name="connsiteY20" fmla="*/ 0 h 900906"/>
              <a:gd name="connsiteX21" fmla="*/ 2258696 w 2441576"/>
              <a:gd name="connsiteY21" fmla="*/ 0 h 900906"/>
              <a:gd name="connsiteX22" fmla="*/ 2321561 w 2441576"/>
              <a:gd name="connsiteY22" fmla="*/ 0 h 900906"/>
              <a:gd name="connsiteX23" fmla="*/ 2441576 w 2441576"/>
              <a:gd name="connsiteY23" fmla="*/ 0 h 900906"/>
              <a:gd name="connsiteX24" fmla="*/ 2441576 w 2441576"/>
              <a:gd name="connsiteY24" fmla="*/ 83444 h 900906"/>
              <a:gd name="connsiteX25" fmla="*/ 2441576 w 2441576"/>
              <a:gd name="connsiteY25" fmla="*/ 152052 h 900906"/>
              <a:gd name="connsiteX26" fmla="*/ 2441576 w 2441576"/>
              <a:gd name="connsiteY26" fmla="*/ 235496 h 900906"/>
              <a:gd name="connsiteX27" fmla="*/ 2441576 w 2441576"/>
              <a:gd name="connsiteY27" fmla="*/ 304104 h 900906"/>
              <a:gd name="connsiteX28" fmla="*/ 2441576 w 2441576"/>
              <a:gd name="connsiteY28" fmla="*/ 387548 h 900906"/>
              <a:gd name="connsiteX29" fmla="*/ 2441576 w 2441576"/>
              <a:gd name="connsiteY29" fmla="*/ 456156 h 900906"/>
              <a:gd name="connsiteX30" fmla="*/ 2441576 w 2441576"/>
              <a:gd name="connsiteY30" fmla="*/ 539600 h 900906"/>
              <a:gd name="connsiteX31" fmla="*/ 2441576 w 2441576"/>
              <a:gd name="connsiteY31" fmla="*/ 608208 h 900906"/>
              <a:gd name="connsiteX32" fmla="*/ 2441576 w 2441576"/>
              <a:gd name="connsiteY32" fmla="*/ 691652 h 900906"/>
              <a:gd name="connsiteX33" fmla="*/ 2441576 w 2441576"/>
              <a:gd name="connsiteY33" fmla="*/ 760260 h 900906"/>
              <a:gd name="connsiteX34" fmla="*/ 2441576 w 2441576"/>
              <a:gd name="connsiteY34" fmla="*/ 832298 h 900906"/>
              <a:gd name="connsiteX35" fmla="*/ 2441576 w 2441576"/>
              <a:gd name="connsiteY35" fmla="*/ 900906 h 900906"/>
              <a:gd name="connsiteX36" fmla="*/ 2321561 w 2441576"/>
              <a:gd name="connsiteY36" fmla="*/ 900906 h 900906"/>
              <a:gd name="connsiteX37" fmla="*/ 2239646 w 2441576"/>
              <a:gd name="connsiteY37" fmla="*/ 900906 h 900906"/>
              <a:gd name="connsiteX38" fmla="*/ 2176781 w 2441576"/>
              <a:gd name="connsiteY38" fmla="*/ 900906 h 900906"/>
              <a:gd name="connsiteX39" fmla="*/ 2109259 w 2441576"/>
              <a:gd name="connsiteY39" fmla="*/ 900906 h 900906"/>
              <a:gd name="connsiteX40" fmla="*/ 1941949 w 2441576"/>
              <a:gd name="connsiteY40" fmla="*/ 900906 h 900906"/>
              <a:gd name="connsiteX41" fmla="*/ 1824412 w 2441576"/>
              <a:gd name="connsiteY41" fmla="*/ 900906 h 900906"/>
              <a:gd name="connsiteX42" fmla="*/ 1609632 w 2441576"/>
              <a:gd name="connsiteY42" fmla="*/ 900906 h 900906"/>
              <a:gd name="connsiteX43" fmla="*/ 1539566 w 2441576"/>
              <a:gd name="connsiteY43" fmla="*/ 900906 h 900906"/>
              <a:gd name="connsiteX44" fmla="*/ 1324785 w 2441576"/>
              <a:gd name="connsiteY44" fmla="*/ 900906 h 900906"/>
              <a:gd name="connsiteX45" fmla="*/ 1254721 w 2441576"/>
              <a:gd name="connsiteY45" fmla="*/ 900906 h 900906"/>
              <a:gd name="connsiteX46" fmla="*/ 1039939 w 2441576"/>
              <a:gd name="connsiteY46" fmla="*/ 900906 h 900906"/>
              <a:gd name="connsiteX47" fmla="*/ 969874 w 2441576"/>
              <a:gd name="connsiteY47" fmla="*/ 900906 h 900906"/>
              <a:gd name="connsiteX48" fmla="*/ 755093 w 2441576"/>
              <a:gd name="connsiteY48" fmla="*/ 900906 h 900906"/>
              <a:gd name="connsiteX49" fmla="*/ 685028 w 2441576"/>
              <a:gd name="connsiteY49" fmla="*/ 900906 h 900906"/>
              <a:gd name="connsiteX50" fmla="*/ 581332 w 2441576"/>
              <a:gd name="connsiteY50" fmla="*/ 900906 h 900906"/>
              <a:gd name="connsiteX51" fmla="*/ 471351 w 2441576"/>
              <a:gd name="connsiteY51" fmla="*/ 900906 h 900906"/>
              <a:gd name="connsiteX52" fmla="*/ 470246 w 2441576"/>
              <a:gd name="connsiteY52" fmla="*/ 900906 h 900906"/>
              <a:gd name="connsiteX53" fmla="*/ 377080 w 2441576"/>
              <a:gd name="connsiteY53" fmla="*/ 900906 h 900906"/>
              <a:gd name="connsiteX54" fmla="*/ 282811 w 2441576"/>
              <a:gd name="connsiteY54" fmla="*/ 900906 h 900906"/>
              <a:gd name="connsiteX55" fmla="*/ 188541 w 2441576"/>
              <a:gd name="connsiteY55" fmla="*/ 900906 h 900906"/>
              <a:gd name="connsiteX56" fmla="*/ 185400 w 2441576"/>
              <a:gd name="connsiteY56" fmla="*/ 900906 h 900906"/>
              <a:gd name="connsiteX57" fmla="*/ 94270 w 2441576"/>
              <a:gd name="connsiteY57" fmla="*/ 900906 h 900906"/>
              <a:gd name="connsiteX58" fmla="*/ 0 w 2441576"/>
              <a:gd name="connsiteY58" fmla="*/ 900906 h 900906"/>
              <a:gd name="connsiteX59" fmla="*/ 0 w 2441576"/>
              <a:gd name="connsiteY59" fmla="*/ 832298 h 900906"/>
              <a:gd name="connsiteX60" fmla="*/ 0 w 2441576"/>
              <a:gd name="connsiteY60" fmla="*/ 760260 h 900906"/>
              <a:gd name="connsiteX61" fmla="*/ 0 w 2441576"/>
              <a:gd name="connsiteY61" fmla="*/ 691652 h 900906"/>
              <a:gd name="connsiteX62" fmla="*/ 0 w 2441576"/>
              <a:gd name="connsiteY62" fmla="*/ 608208 h 900906"/>
              <a:gd name="connsiteX63" fmla="*/ 0 w 2441576"/>
              <a:gd name="connsiteY63" fmla="*/ 539600 h 900906"/>
              <a:gd name="connsiteX64" fmla="*/ 0 w 2441576"/>
              <a:gd name="connsiteY64" fmla="*/ 456156 h 900906"/>
              <a:gd name="connsiteX65" fmla="*/ 0 w 2441576"/>
              <a:gd name="connsiteY65" fmla="*/ 387548 h 900906"/>
              <a:gd name="connsiteX66" fmla="*/ 0 w 2441576"/>
              <a:gd name="connsiteY66" fmla="*/ 304104 h 900906"/>
              <a:gd name="connsiteX67" fmla="*/ 0 w 2441576"/>
              <a:gd name="connsiteY67" fmla="*/ 235496 h 900906"/>
              <a:gd name="connsiteX68" fmla="*/ 0 w 2441576"/>
              <a:gd name="connsiteY68" fmla="*/ 152052 h 900906"/>
              <a:gd name="connsiteX69" fmla="*/ 0 w 2441576"/>
              <a:gd name="connsiteY69" fmla="*/ 83444 h 900906"/>
              <a:gd name="connsiteX70" fmla="*/ 0 w 2441576"/>
              <a:gd name="connsiteY70" fmla="*/ 0 h 900906"/>
              <a:gd name="connsiteX0" fmla="*/ 0 w 2441576"/>
              <a:gd name="connsiteY0" fmla="*/ 247 h 901153"/>
              <a:gd name="connsiteX1" fmla="*/ 94270 w 2441576"/>
              <a:gd name="connsiteY1" fmla="*/ 247 h 901153"/>
              <a:gd name="connsiteX2" fmla="*/ 185400 w 2441576"/>
              <a:gd name="connsiteY2" fmla="*/ 247 h 901153"/>
              <a:gd name="connsiteX3" fmla="*/ 188541 w 2441576"/>
              <a:gd name="connsiteY3" fmla="*/ 247 h 901153"/>
              <a:gd name="connsiteX4" fmla="*/ 282811 w 2441576"/>
              <a:gd name="connsiteY4" fmla="*/ 247 h 901153"/>
              <a:gd name="connsiteX5" fmla="*/ 377080 w 2441576"/>
              <a:gd name="connsiteY5" fmla="*/ 247 h 901153"/>
              <a:gd name="connsiteX6" fmla="*/ 470246 w 2441576"/>
              <a:gd name="connsiteY6" fmla="*/ 247 h 901153"/>
              <a:gd name="connsiteX7" fmla="*/ 471351 w 2441576"/>
              <a:gd name="connsiteY7" fmla="*/ 247 h 901153"/>
              <a:gd name="connsiteX8" fmla="*/ 581332 w 2441576"/>
              <a:gd name="connsiteY8" fmla="*/ 247 h 901153"/>
              <a:gd name="connsiteX9" fmla="*/ 685028 w 2441576"/>
              <a:gd name="connsiteY9" fmla="*/ 247 h 901153"/>
              <a:gd name="connsiteX10" fmla="*/ 755093 w 2441576"/>
              <a:gd name="connsiteY10" fmla="*/ 247 h 901153"/>
              <a:gd name="connsiteX11" fmla="*/ 969874 w 2441576"/>
              <a:gd name="connsiteY11" fmla="*/ 247 h 901153"/>
              <a:gd name="connsiteX12" fmla="*/ 1039939 w 2441576"/>
              <a:gd name="connsiteY12" fmla="*/ 247 h 901153"/>
              <a:gd name="connsiteX13" fmla="*/ 1254721 w 2441576"/>
              <a:gd name="connsiteY13" fmla="*/ 247 h 901153"/>
              <a:gd name="connsiteX14" fmla="*/ 1324785 w 2441576"/>
              <a:gd name="connsiteY14" fmla="*/ 247 h 901153"/>
              <a:gd name="connsiteX15" fmla="*/ 1430031 w 2441576"/>
              <a:gd name="connsiteY15" fmla="*/ 0 h 901153"/>
              <a:gd name="connsiteX16" fmla="*/ 1539566 w 2441576"/>
              <a:gd name="connsiteY16" fmla="*/ 247 h 901153"/>
              <a:gd name="connsiteX17" fmla="*/ 1609632 w 2441576"/>
              <a:gd name="connsiteY17" fmla="*/ 247 h 901153"/>
              <a:gd name="connsiteX18" fmla="*/ 1824412 w 2441576"/>
              <a:gd name="connsiteY18" fmla="*/ 247 h 901153"/>
              <a:gd name="connsiteX19" fmla="*/ 1941949 w 2441576"/>
              <a:gd name="connsiteY19" fmla="*/ 247 h 901153"/>
              <a:gd name="connsiteX20" fmla="*/ 2094866 w 2441576"/>
              <a:gd name="connsiteY20" fmla="*/ 247 h 901153"/>
              <a:gd name="connsiteX21" fmla="*/ 2176781 w 2441576"/>
              <a:gd name="connsiteY21" fmla="*/ 247 h 901153"/>
              <a:gd name="connsiteX22" fmla="*/ 2258696 w 2441576"/>
              <a:gd name="connsiteY22" fmla="*/ 247 h 901153"/>
              <a:gd name="connsiteX23" fmla="*/ 2321561 w 2441576"/>
              <a:gd name="connsiteY23" fmla="*/ 247 h 901153"/>
              <a:gd name="connsiteX24" fmla="*/ 2441576 w 2441576"/>
              <a:gd name="connsiteY24" fmla="*/ 247 h 901153"/>
              <a:gd name="connsiteX25" fmla="*/ 2441576 w 2441576"/>
              <a:gd name="connsiteY25" fmla="*/ 83691 h 901153"/>
              <a:gd name="connsiteX26" fmla="*/ 2441576 w 2441576"/>
              <a:gd name="connsiteY26" fmla="*/ 152299 h 901153"/>
              <a:gd name="connsiteX27" fmla="*/ 2441576 w 2441576"/>
              <a:gd name="connsiteY27" fmla="*/ 235743 h 901153"/>
              <a:gd name="connsiteX28" fmla="*/ 2441576 w 2441576"/>
              <a:gd name="connsiteY28" fmla="*/ 304351 h 901153"/>
              <a:gd name="connsiteX29" fmla="*/ 2441576 w 2441576"/>
              <a:gd name="connsiteY29" fmla="*/ 387795 h 901153"/>
              <a:gd name="connsiteX30" fmla="*/ 2441576 w 2441576"/>
              <a:gd name="connsiteY30" fmla="*/ 456403 h 901153"/>
              <a:gd name="connsiteX31" fmla="*/ 2441576 w 2441576"/>
              <a:gd name="connsiteY31" fmla="*/ 539847 h 901153"/>
              <a:gd name="connsiteX32" fmla="*/ 2441576 w 2441576"/>
              <a:gd name="connsiteY32" fmla="*/ 608455 h 901153"/>
              <a:gd name="connsiteX33" fmla="*/ 2441576 w 2441576"/>
              <a:gd name="connsiteY33" fmla="*/ 691899 h 901153"/>
              <a:gd name="connsiteX34" fmla="*/ 2441576 w 2441576"/>
              <a:gd name="connsiteY34" fmla="*/ 760507 h 901153"/>
              <a:gd name="connsiteX35" fmla="*/ 2441576 w 2441576"/>
              <a:gd name="connsiteY35" fmla="*/ 832545 h 901153"/>
              <a:gd name="connsiteX36" fmla="*/ 2441576 w 2441576"/>
              <a:gd name="connsiteY36" fmla="*/ 901153 h 901153"/>
              <a:gd name="connsiteX37" fmla="*/ 2321561 w 2441576"/>
              <a:gd name="connsiteY37" fmla="*/ 901153 h 901153"/>
              <a:gd name="connsiteX38" fmla="*/ 2239646 w 2441576"/>
              <a:gd name="connsiteY38" fmla="*/ 901153 h 901153"/>
              <a:gd name="connsiteX39" fmla="*/ 2176781 w 2441576"/>
              <a:gd name="connsiteY39" fmla="*/ 901153 h 901153"/>
              <a:gd name="connsiteX40" fmla="*/ 2109259 w 2441576"/>
              <a:gd name="connsiteY40" fmla="*/ 901153 h 901153"/>
              <a:gd name="connsiteX41" fmla="*/ 1941949 w 2441576"/>
              <a:gd name="connsiteY41" fmla="*/ 901153 h 901153"/>
              <a:gd name="connsiteX42" fmla="*/ 1824412 w 2441576"/>
              <a:gd name="connsiteY42" fmla="*/ 901153 h 901153"/>
              <a:gd name="connsiteX43" fmla="*/ 1609632 w 2441576"/>
              <a:gd name="connsiteY43" fmla="*/ 901153 h 901153"/>
              <a:gd name="connsiteX44" fmla="*/ 1539566 w 2441576"/>
              <a:gd name="connsiteY44" fmla="*/ 901153 h 901153"/>
              <a:gd name="connsiteX45" fmla="*/ 1324785 w 2441576"/>
              <a:gd name="connsiteY45" fmla="*/ 901153 h 901153"/>
              <a:gd name="connsiteX46" fmla="*/ 1254721 w 2441576"/>
              <a:gd name="connsiteY46" fmla="*/ 901153 h 901153"/>
              <a:gd name="connsiteX47" fmla="*/ 1039939 w 2441576"/>
              <a:gd name="connsiteY47" fmla="*/ 901153 h 901153"/>
              <a:gd name="connsiteX48" fmla="*/ 969874 w 2441576"/>
              <a:gd name="connsiteY48" fmla="*/ 901153 h 901153"/>
              <a:gd name="connsiteX49" fmla="*/ 755093 w 2441576"/>
              <a:gd name="connsiteY49" fmla="*/ 901153 h 901153"/>
              <a:gd name="connsiteX50" fmla="*/ 685028 w 2441576"/>
              <a:gd name="connsiteY50" fmla="*/ 901153 h 901153"/>
              <a:gd name="connsiteX51" fmla="*/ 581332 w 2441576"/>
              <a:gd name="connsiteY51" fmla="*/ 901153 h 901153"/>
              <a:gd name="connsiteX52" fmla="*/ 471351 w 2441576"/>
              <a:gd name="connsiteY52" fmla="*/ 901153 h 901153"/>
              <a:gd name="connsiteX53" fmla="*/ 470246 w 2441576"/>
              <a:gd name="connsiteY53" fmla="*/ 901153 h 901153"/>
              <a:gd name="connsiteX54" fmla="*/ 377080 w 2441576"/>
              <a:gd name="connsiteY54" fmla="*/ 901153 h 901153"/>
              <a:gd name="connsiteX55" fmla="*/ 282811 w 2441576"/>
              <a:gd name="connsiteY55" fmla="*/ 901153 h 901153"/>
              <a:gd name="connsiteX56" fmla="*/ 188541 w 2441576"/>
              <a:gd name="connsiteY56" fmla="*/ 901153 h 901153"/>
              <a:gd name="connsiteX57" fmla="*/ 185400 w 2441576"/>
              <a:gd name="connsiteY57" fmla="*/ 901153 h 901153"/>
              <a:gd name="connsiteX58" fmla="*/ 94270 w 2441576"/>
              <a:gd name="connsiteY58" fmla="*/ 901153 h 901153"/>
              <a:gd name="connsiteX59" fmla="*/ 0 w 2441576"/>
              <a:gd name="connsiteY59" fmla="*/ 901153 h 901153"/>
              <a:gd name="connsiteX60" fmla="*/ 0 w 2441576"/>
              <a:gd name="connsiteY60" fmla="*/ 832545 h 901153"/>
              <a:gd name="connsiteX61" fmla="*/ 0 w 2441576"/>
              <a:gd name="connsiteY61" fmla="*/ 760507 h 901153"/>
              <a:gd name="connsiteX62" fmla="*/ 0 w 2441576"/>
              <a:gd name="connsiteY62" fmla="*/ 691899 h 901153"/>
              <a:gd name="connsiteX63" fmla="*/ 0 w 2441576"/>
              <a:gd name="connsiteY63" fmla="*/ 608455 h 901153"/>
              <a:gd name="connsiteX64" fmla="*/ 0 w 2441576"/>
              <a:gd name="connsiteY64" fmla="*/ 539847 h 901153"/>
              <a:gd name="connsiteX65" fmla="*/ 0 w 2441576"/>
              <a:gd name="connsiteY65" fmla="*/ 456403 h 901153"/>
              <a:gd name="connsiteX66" fmla="*/ 0 w 2441576"/>
              <a:gd name="connsiteY66" fmla="*/ 387795 h 901153"/>
              <a:gd name="connsiteX67" fmla="*/ 0 w 2441576"/>
              <a:gd name="connsiteY67" fmla="*/ 304351 h 901153"/>
              <a:gd name="connsiteX68" fmla="*/ 0 w 2441576"/>
              <a:gd name="connsiteY68" fmla="*/ 235743 h 901153"/>
              <a:gd name="connsiteX69" fmla="*/ 0 w 2441576"/>
              <a:gd name="connsiteY69" fmla="*/ 152299 h 901153"/>
              <a:gd name="connsiteX70" fmla="*/ 0 w 2441576"/>
              <a:gd name="connsiteY70" fmla="*/ 83691 h 901153"/>
              <a:gd name="connsiteX71" fmla="*/ 0 w 2441576"/>
              <a:gd name="connsiteY71" fmla="*/ 247 h 901153"/>
              <a:gd name="connsiteX0" fmla="*/ 0 w 2441576"/>
              <a:gd name="connsiteY0" fmla="*/ 247 h 901154"/>
              <a:gd name="connsiteX1" fmla="*/ 94270 w 2441576"/>
              <a:gd name="connsiteY1" fmla="*/ 247 h 901154"/>
              <a:gd name="connsiteX2" fmla="*/ 185400 w 2441576"/>
              <a:gd name="connsiteY2" fmla="*/ 247 h 901154"/>
              <a:gd name="connsiteX3" fmla="*/ 188541 w 2441576"/>
              <a:gd name="connsiteY3" fmla="*/ 247 h 901154"/>
              <a:gd name="connsiteX4" fmla="*/ 282811 w 2441576"/>
              <a:gd name="connsiteY4" fmla="*/ 247 h 901154"/>
              <a:gd name="connsiteX5" fmla="*/ 377080 w 2441576"/>
              <a:gd name="connsiteY5" fmla="*/ 247 h 901154"/>
              <a:gd name="connsiteX6" fmla="*/ 470246 w 2441576"/>
              <a:gd name="connsiteY6" fmla="*/ 247 h 901154"/>
              <a:gd name="connsiteX7" fmla="*/ 471351 w 2441576"/>
              <a:gd name="connsiteY7" fmla="*/ 247 h 901154"/>
              <a:gd name="connsiteX8" fmla="*/ 581332 w 2441576"/>
              <a:gd name="connsiteY8" fmla="*/ 247 h 901154"/>
              <a:gd name="connsiteX9" fmla="*/ 685028 w 2441576"/>
              <a:gd name="connsiteY9" fmla="*/ 247 h 901154"/>
              <a:gd name="connsiteX10" fmla="*/ 755093 w 2441576"/>
              <a:gd name="connsiteY10" fmla="*/ 247 h 901154"/>
              <a:gd name="connsiteX11" fmla="*/ 969874 w 2441576"/>
              <a:gd name="connsiteY11" fmla="*/ 247 h 901154"/>
              <a:gd name="connsiteX12" fmla="*/ 1039939 w 2441576"/>
              <a:gd name="connsiteY12" fmla="*/ 247 h 901154"/>
              <a:gd name="connsiteX13" fmla="*/ 1254721 w 2441576"/>
              <a:gd name="connsiteY13" fmla="*/ 247 h 901154"/>
              <a:gd name="connsiteX14" fmla="*/ 1324785 w 2441576"/>
              <a:gd name="connsiteY14" fmla="*/ 247 h 901154"/>
              <a:gd name="connsiteX15" fmla="*/ 1430031 w 2441576"/>
              <a:gd name="connsiteY15" fmla="*/ 0 h 901154"/>
              <a:gd name="connsiteX16" fmla="*/ 1539566 w 2441576"/>
              <a:gd name="connsiteY16" fmla="*/ 247 h 901154"/>
              <a:gd name="connsiteX17" fmla="*/ 1609632 w 2441576"/>
              <a:gd name="connsiteY17" fmla="*/ 247 h 901154"/>
              <a:gd name="connsiteX18" fmla="*/ 1824412 w 2441576"/>
              <a:gd name="connsiteY18" fmla="*/ 247 h 901154"/>
              <a:gd name="connsiteX19" fmla="*/ 1941949 w 2441576"/>
              <a:gd name="connsiteY19" fmla="*/ 247 h 901154"/>
              <a:gd name="connsiteX20" fmla="*/ 2094866 w 2441576"/>
              <a:gd name="connsiteY20" fmla="*/ 247 h 901154"/>
              <a:gd name="connsiteX21" fmla="*/ 2176781 w 2441576"/>
              <a:gd name="connsiteY21" fmla="*/ 247 h 901154"/>
              <a:gd name="connsiteX22" fmla="*/ 2258696 w 2441576"/>
              <a:gd name="connsiteY22" fmla="*/ 247 h 901154"/>
              <a:gd name="connsiteX23" fmla="*/ 2321561 w 2441576"/>
              <a:gd name="connsiteY23" fmla="*/ 247 h 901154"/>
              <a:gd name="connsiteX24" fmla="*/ 2441576 w 2441576"/>
              <a:gd name="connsiteY24" fmla="*/ 247 h 901154"/>
              <a:gd name="connsiteX25" fmla="*/ 2441576 w 2441576"/>
              <a:gd name="connsiteY25" fmla="*/ 83691 h 901154"/>
              <a:gd name="connsiteX26" fmla="*/ 2441576 w 2441576"/>
              <a:gd name="connsiteY26" fmla="*/ 152299 h 901154"/>
              <a:gd name="connsiteX27" fmla="*/ 2441576 w 2441576"/>
              <a:gd name="connsiteY27" fmla="*/ 235743 h 901154"/>
              <a:gd name="connsiteX28" fmla="*/ 2441576 w 2441576"/>
              <a:gd name="connsiteY28" fmla="*/ 304351 h 901154"/>
              <a:gd name="connsiteX29" fmla="*/ 2441576 w 2441576"/>
              <a:gd name="connsiteY29" fmla="*/ 387795 h 901154"/>
              <a:gd name="connsiteX30" fmla="*/ 2441576 w 2441576"/>
              <a:gd name="connsiteY30" fmla="*/ 456403 h 901154"/>
              <a:gd name="connsiteX31" fmla="*/ 2441576 w 2441576"/>
              <a:gd name="connsiteY31" fmla="*/ 539847 h 901154"/>
              <a:gd name="connsiteX32" fmla="*/ 2441576 w 2441576"/>
              <a:gd name="connsiteY32" fmla="*/ 608455 h 901154"/>
              <a:gd name="connsiteX33" fmla="*/ 2441576 w 2441576"/>
              <a:gd name="connsiteY33" fmla="*/ 691899 h 901154"/>
              <a:gd name="connsiteX34" fmla="*/ 2441576 w 2441576"/>
              <a:gd name="connsiteY34" fmla="*/ 760507 h 901154"/>
              <a:gd name="connsiteX35" fmla="*/ 2441576 w 2441576"/>
              <a:gd name="connsiteY35" fmla="*/ 832545 h 901154"/>
              <a:gd name="connsiteX36" fmla="*/ 2441576 w 2441576"/>
              <a:gd name="connsiteY36" fmla="*/ 901153 h 901154"/>
              <a:gd name="connsiteX37" fmla="*/ 2321561 w 2441576"/>
              <a:gd name="connsiteY37" fmla="*/ 901153 h 901154"/>
              <a:gd name="connsiteX38" fmla="*/ 2239646 w 2441576"/>
              <a:gd name="connsiteY38" fmla="*/ 901153 h 901154"/>
              <a:gd name="connsiteX39" fmla="*/ 2176781 w 2441576"/>
              <a:gd name="connsiteY39" fmla="*/ 901153 h 901154"/>
              <a:gd name="connsiteX40" fmla="*/ 2109259 w 2441576"/>
              <a:gd name="connsiteY40" fmla="*/ 901153 h 901154"/>
              <a:gd name="connsiteX41" fmla="*/ 1941949 w 2441576"/>
              <a:gd name="connsiteY41" fmla="*/ 901153 h 901154"/>
              <a:gd name="connsiteX42" fmla="*/ 1824412 w 2441576"/>
              <a:gd name="connsiteY42" fmla="*/ 901153 h 901154"/>
              <a:gd name="connsiteX43" fmla="*/ 1609632 w 2441576"/>
              <a:gd name="connsiteY43" fmla="*/ 901153 h 901154"/>
              <a:gd name="connsiteX44" fmla="*/ 1539566 w 2441576"/>
              <a:gd name="connsiteY44" fmla="*/ 901153 h 901154"/>
              <a:gd name="connsiteX45" fmla="*/ 1324785 w 2441576"/>
              <a:gd name="connsiteY45" fmla="*/ 901153 h 901154"/>
              <a:gd name="connsiteX46" fmla="*/ 1254721 w 2441576"/>
              <a:gd name="connsiteY46" fmla="*/ 901153 h 901154"/>
              <a:gd name="connsiteX47" fmla="*/ 1039939 w 2441576"/>
              <a:gd name="connsiteY47" fmla="*/ 901153 h 901154"/>
              <a:gd name="connsiteX48" fmla="*/ 969874 w 2441576"/>
              <a:gd name="connsiteY48" fmla="*/ 901153 h 901154"/>
              <a:gd name="connsiteX49" fmla="*/ 864820 w 2441576"/>
              <a:gd name="connsiteY49" fmla="*/ 901154 h 901154"/>
              <a:gd name="connsiteX50" fmla="*/ 755093 w 2441576"/>
              <a:gd name="connsiteY50" fmla="*/ 901153 h 901154"/>
              <a:gd name="connsiteX51" fmla="*/ 685028 w 2441576"/>
              <a:gd name="connsiteY51" fmla="*/ 901153 h 901154"/>
              <a:gd name="connsiteX52" fmla="*/ 581332 w 2441576"/>
              <a:gd name="connsiteY52" fmla="*/ 901153 h 901154"/>
              <a:gd name="connsiteX53" fmla="*/ 471351 w 2441576"/>
              <a:gd name="connsiteY53" fmla="*/ 901153 h 901154"/>
              <a:gd name="connsiteX54" fmla="*/ 470246 w 2441576"/>
              <a:gd name="connsiteY54" fmla="*/ 901153 h 901154"/>
              <a:gd name="connsiteX55" fmla="*/ 377080 w 2441576"/>
              <a:gd name="connsiteY55" fmla="*/ 901153 h 901154"/>
              <a:gd name="connsiteX56" fmla="*/ 282811 w 2441576"/>
              <a:gd name="connsiteY56" fmla="*/ 901153 h 901154"/>
              <a:gd name="connsiteX57" fmla="*/ 188541 w 2441576"/>
              <a:gd name="connsiteY57" fmla="*/ 901153 h 901154"/>
              <a:gd name="connsiteX58" fmla="*/ 185400 w 2441576"/>
              <a:gd name="connsiteY58" fmla="*/ 901153 h 901154"/>
              <a:gd name="connsiteX59" fmla="*/ 94270 w 2441576"/>
              <a:gd name="connsiteY59" fmla="*/ 901153 h 901154"/>
              <a:gd name="connsiteX60" fmla="*/ 0 w 2441576"/>
              <a:gd name="connsiteY60" fmla="*/ 901153 h 901154"/>
              <a:gd name="connsiteX61" fmla="*/ 0 w 2441576"/>
              <a:gd name="connsiteY61" fmla="*/ 832545 h 901154"/>
              <a:gd name="connsiteX62" fmla="*/ 0 w 2441576"/>
              <a:gd name="connsiteY62" fmla="*/ 760507 h 901154"/>
              <a:gd name="connsiteX63" fmla="*/ 0 w 2441576"/>
              <a:gd name="connsiteY63" fmla="*/ 691899 h 901154"/>
              <a:gd name="connsiteX64" fmla="*/ 0 w 2441576"/>
              <a:gd name="connsiteY64" fmla="*/ 608455 h 901154"/>
              <a:gd name="connsiteX65" fmla="*/ 0 w 2441576"/>
              <a:gd name="connsiteY65" fmla="*/ 539847 h 901154"/>
              <a:gd name="connsiteX66" fmla="*/ 0 w 2441576"/>
              <a:gd name="connsiteY66" fmla="*/ 456403 h 901154"/>
              <a:gd name="connsiteX67" fmla="*/ 0 w 2441576"/>
              <a:gd name="connsiteY67" fmla="*/ 387795 h 901154"/>
              <a:gd name="connsiteX68" fmla="*/ 0 w 2441576"/>
              <a:gd name="connsiteY68" fmla="*/ 304351 h 901154"/>
              <a:gd name="connsiteX69" fmla="*/ 0 w 2441576"/>
              <a:gd name="connsiteY69" fmla="*/ 235743 h 901154"/>
              <a:gd name="connsiteX70" fmla="*/ 0 w 2441576"/>
              <a:gd name="connsiteY70" fmla="*/ 152299 h 901154"/>
              <a:gd name="connsiteX71" fmla="*/ 0 w 2441576"/>
              <a:gd name="connsiteY71" fmla="*/ 83691 h 901154"/>
              <a:gd name="connsiteX72" fmla="*/ 0 w 2441576"/>
              <a:gd name="connsiteY72" fmla="*/ 247 h 901154"/>
              <a:gd name="connsiteX0" fmla="*/ 0 w 2441576"/>
              <a:gd name="connsiteY0" fmla="*/ 247 h 901154"/>
              <a:gd name="connsiteX1" fmla="*/ 94270 w 2441576"/>
              <a:gd name="connsiteY1" fmla="*/ 247 h 901154"/>
              <a:gd name="connsiteX2" fmla="*/ 185400 w 2441576"/>
              <a:gd name="connsiteY2" fmla="*/ 247 h 901154"/>
              <a:gd name="connsiteX3" fmla="*/ 188541 w 2441576"/>
              <a:gd name="connsiteY3" fmla="*/ 247 h 901154"/>
              <a:gd name="connsiteX4" fmla="*/ 282811 w 2441576"/>
              <a:gd name="connsiteY4" fmla="*/ 247 h 901154"/>
              <a:gd name="connsiteX5" fmla="*/ 377080 w 2441576"/>
              <a:gd name="connsiteY5" fmla="*/ 247 h 901154"/>
              <a:gd name="connsiteX6" fmla="*/ 470246 w 2441576"/>
              <a:gd name="connsiteY6" fmla="*/ 247 h 901154"/>
              <a:gd name="connsiteX7" fmla="*/ 471351 w 2441576"/>
              <a:gd name="connsiteY7" fmla="*/ 247 h 901154"/>
              <a:gd name="connsiteX8" fmla="*/ 581332 w 2441576"/>
              <a:gd name="connsiteY8" fmla="*/ 247 h 901154"/>
              <a:gd name="connsiteX9" fmla="*/ 685028 w 2441576"/>
              <a:gd name="connsiteY9" fmla="*/ 247 h 901154"/>
              <a:gd name="connsiteX10" fmla="*/ 755093 w 2441576"/>
              <a:gd name="connsiteY10" fmla="*/ 247 h 901154"/>
              <a:gd name="connsiteX11" fmla="*/ 969874 w 2441576"/>
              <a:gd name="connsiteY11" fmla="*/ 247 h 901154"/>
              <a:gd name="connsiteX12" fmla="*/ 1039939 w 2441576"/>
              <a:gd name="connsiteY12" fmla="*/ 247 h 901154"/>
              <a:gd name="connsiteX13" fmla="*/ 1254721 w 2441576"/>
              <a:gd name="connsiteY13" fmla="*/ 247 h 901154"/>
              <a:gd name="connsiteX14" fmla="*/ 1324785 w 2441576"/>
              <a:gd name="connsiteY14" fmla="*/ 247 h 901154"/>
              <a:gd name="connsiteX15" fmla="*/ 1430031 w 2441576"/>
              <a:gd name="connsiteY15" fmla="*/ 0 h 901154"/>
              <a:gd name="connsiteX16" fmla="*/ 1539566 w 2441576"/>
              <a:gd name="connsiteY16" fmla="*/ 247 h 901154"/>
              <a:gd name="connsiteX17" fmla="*/ 1609632 w 2441576"/>
              <a:gd name="connsiteY17" fmla="*/ 247 h 901154"/>
              <a:gd name="connsiteX18" fmla="*/ 1824412 w 2441576"/>
              <a:gd name="connsiteY18" fmla="*/ 247 h 901154"/>
              <a:gd name="connsiteX19" fmla="*/ 1941949 w 2441576"/>
              <a:gd name="connsiteY19" fmla="*/ 247 h 901154"/>
              <a:gd name="connsiteX20" fmla="*/ 2094866 w 2441576"/>
              <a:gd name="connsiteY20" fmla="*/ 247 h 901154"/>
              <a:gd name="connsiteX21" fmla="*/ 2176781 w 2441576"/>
              <a:gd name="connsiteY21" fmla="*/ 247 h 901154"/>
              <a:gd name="connsiteX22" fmla="*/ 2258696 w 2441576"/>
              <a:gd name="connsiteY22" fmla="*/ 247 h 901154"/>
              <a:gd name="connsiteX23" fmla="*/ 2321561 w 2441576"/>
              <a:gd name="connsiteY23" fmla="*/ 247 h 901154"/>
              <a:gd name="connsiteX24" fmla="*/ 2441576 w 2441576"/>
              <a:gd name="connsiteY24" fmla="*/ 247 h 901154"/>
              <a:gd name="connsiteX25" fmla="*/ 2441576 w 2441576"/>
              <a:gd name="connsiteY25" fmla="*/ 83691 h 901154"/>
              <a:gd name="connsiteX26" fmla="*/ 2441576 w 2441576"/>
              <a:gd name="connsiteY26" fmla="*/ 152299 h 901154"/>
              <a:gd name="connsiteX27" fmla="*/ 2441576 w 2441576"/>
              <a:gd name="connsiteY27" fmla="*/ 235743 h 901154"/>
              <a:gd name="connsiteX28" fmla="*/ 2441576 w 2441576"/>
              <a:gd name="connsiteY28" fmla="*/ 304351 h 901154"/>
              <a:gd name="connsiteX29" fmla="*/ 2441576 w 2441576"/>
              <a:gd name="connsiteY29" fmla="*/ 387795 h 901154"/>
              <a:gd name="connsiteX30" fmla="*/ 2441576 w 2441576"/>
              <a:gd name="connsiteY30" fmla="*/ 456403 h 901154"/>
              <a:gd name="connsiteX31" fmla="*/ 2441576 w 2441576"/>
              <a:gd name="connsiteY31" fmla="*/ 539847 h 901154"/>
              <a:gd name="connsiteX32" fmla="*/ 2441576 w 2441576"/>
              <a:gd name="connsiteY32" fmla="*/ 608455 h 901154"/>
              <a:gd name="connsiteX33" fmla="*/ 2441576 w 2441576"/>
              <a:gd name="connsiteY33" fmla="*/ 691899 h 901154"/>
              <a:gd name="connsiteX34" fmla="*/ 2441576 w 2441576"/>
              <a:gd name="connsiteY34" fmla="*/ 760507 h 901154"/>
              <a:gd name="connsiteX35" fmla="*/ 2441576 w 2441576"/>
              <a:gd name="connsiteY35" fmla="*/ 832545 h 901154"/>
              <a:gd name="connsiteX36" fmla="*/ 2441576 w 2441576"/>
              <a:gd name="connsiteY36" fmla="*/ 901153 h 901154"/>
              <a:gd name="connsiteX37" fmla="*/ 2321561 w 2441576"/>
              <a:gd name="connsiteY37" fmla="*/ 901153 h 901154"/>
              <a:gd name="connsiteX38" fmla="*/ 2239646 w 2441576"/>
              <a:gd name="connsiteY38" fmla="*/ 901153 h 901154"/>
              <a:gd name="connsiteX39" fmla="*/ 2176781 w 2441576"/>
              <a:gd name="connsiteY39" fmla="*/ 901153 h 901154"/>
              <a:gd name="connsiteX40" fmla="*/ 2109259 w 2441576"/>
              <a:gd name="connsiteY40" fmla="*/ 901153 h 901154"/>
              <a:gd name="connsiteX41" fmla="*/ 1941949 w 2441576"/>
              <a:gd name="connsiteY41" fmla="*/ 901153 h 901154"/>
              <a:gd name="connsiteX42" fmla="*/ 1824412 w 2441576"/>
              <a:gd name="connsiteY42" fmla="*/ 901153 h 901154"/>
              <a:gd name="connsiteX43" fmla="*/ 1609632 w 2441576"/>
              <a:gd name="connsiteY43" fmla="*/ 901153 h 901154"/>
              <a:gd name="connsiteX44" fmla="*/ 1539566 w 2441576"/>
              <a:gd name="connsiteY44" fmla="*/ 901153 h 901154"/>
              <a:gd name="connsiteX45" fmla="*/ 1324785 w 2441576"/>
              <a:gd name="connsiteY45" fmla="*/ 901153 h 901154"/>
              <a:gd name="connsiteX46" fmla="*/ 1254721 w 2441576"/>
              <a:gd name="connsiteY46" fmla="*/ 901153 h 901154"/>
              <a:gd name="connsiteX47" fmla="*/ 1146253 w 2441576"/>
              <a:gd name="connsiteY47" fmla="*/ 901153 h 901154"/>
              <a:gd name="connsiteX48" fmla="*/ 1039939 w 2441576"/>
              <a:gd name="connsiteY48" fmla="*/ 901153 h 901154"/>
              <a:gd name="connsiteX49" fmla="*/ 969874 w 2441576"/>
              <a:gd name="connsiteY49" fmla="*/ 901153 h 901154"/>
              <a:gd name="connsiteX50" fmla="*/ 864820 w 2441576"/>
              <a:gd name="connsiteY50" fmla="*/ 901154 h 901154"/>
              <a:gd name="connsiteX51" fmla="*/ 755093 w 2441576"/>
              <a:gd name="connsiteY51" fmla="*/ 901153 h 901154"/>
              <a:gd name="connsiteX52" fmla="*/ 685028 w 2441576"/>
              <a:gd name="connsiteY52" fmla="*/ 901153 h 901154"/>
              <a:gd name="connsiteX53" fmla="*/ 581332 w 2441576"/>
              <a:gd name="connsiteY53" fmla="*/ 901153 h 901154"/>
              <a:gd name="connsiteX54" fmla="*/ 471351 w 2441576"/>
              <a:gd name="connsiteY54" fmla="*/ 901153 h 901154"/>
              <a:gd name="connsiteX55" fmla="*/ 470246 w 2441576"/>
              <a:gd name="connsiteY55" fmla="*/ 901153 h 901154"/>
              <a:gd name="connsiteX56" fmla="*/ 377080 w 2441576"/>
              <a:gd name="connsiteY56" fmla="*/ 901153 h 901154"/>
              <a:gd name="connsiteX57" fmla="*/ 282811 w 2441576"/>
              <a:gd name="connsiteY57" fmla="*/ 901153 h 901154"/>
              <a:gd name="connsiteX58" fmla="*/ 188541 w 2441576"/>
              <a:gd name="connsiteY58" fmla="*/ 901153 h 901154"/>
              <a:gd name="connsiteX59" fmla="*/ 185400 w 2441576"/>
              <a:gd name="connsiteY59" fmla="*/ 901153 h 901154"/>
              <a:gd name="connsiteX60" fmla="*/ 94270 w 2441576"/>
              <a:gd name="connsiteY60" fmla="*/ 901153 h 901154"/>
              <a:gd name="connsiteX61" fmla="*/ 0 w 2441576"/>
              <a:gd name="connsiteY61" fmla="*/ 901153 h 901154"/>
              <a:gd name="connsiteX62" fmla="*/ 0 w 2441576"/>
              <a:gd name="connsiteY62" fmla="*/ 832545 h 901154"/>
              <a:gd name="connsiteX63" fmla="*/ 0 w 2441576"/>
              <a:gd name="connsiteY63" fmla="*/ 760507 h 901154"/>
              <a:gd name="connsiteX64" fmla="*/ 0 w 2441576"/>
              <a:gd name="connsiteY64" fmla="*/ 691899 h 901154"/>
              <a:gd name="connsiteX65" fmla="*/ 0 w 2441576"/>
              <a:gd name="connsiteY65" fmla="*/ 608455 h 901154"/>
              <a:gd name="connsiteX66" fmla="*/ 0 w 2441576"/>
              <a:gd name="connsiteY66" fmla="*/ 539847 h 901154"/>
              <a:gd name="connsiteX67" fmla="*/ 0 w 2441576"/>
              <a:gd name="connsiteY67" fmla="*/ 456403 h 901154"/>
              <a:gd name="connsiteX68" fmla="*/ 0 w 2441576"/>
              <a:gd name="connsiteY68" fmla="*/ 387795 h 901154"/>
              <a:gd name="connsiteX69" fmla="*/ 0 w 2441576"/>
              <a:gd name="connsiteY69" fmla="*/ 304351 h 901154"/>
              <a:gd name="connsiteX70" fmla="*/ 0 w 2441576"/>
              <a:gd name="connsiteY70" fmla="*/ 235743 h 901154"/>
              <a:gd name="connsiteX71" fmla="*/ 0 w 2441576"/>
              <a:gd name="connsiteY71" fmla="*/ 152299 h 901154"/>
              <a:gd name="connsiteX72" fmla="*/ 0 w 2441576"/>
              <a:gd name="connsiteY72" fmla="*/ 83691 h 901154"/>
              <a:gd name="connsiteX73" fmla="*/ 0 w 2441576"/>
              <a:gd name="connsiteY73" fmla="*/ 247 h 901154"/>
              <a:gd name="connsiteX0" fmla="*/ 0 w 2441576"/>
              <a:gd name="connsiteY0" fmla="*/ 247 h 901154"/>
              <a:gd name="connsiteX1" fmla="*/ 94270 w 2441576"/>
              <a:gd name="connsiteY1" fmla="*/ 247 h 901154"/>
              <a:gd name="connsiteX2" fmla="*/ 185400 w 2441576"/>
              <a:gd name="connsiteY2" fmla="*/ 247 h 901154"/>
              <a:gd name="connsiteX3" fmla="*/ 188541 w 2441576"/>
              <a:gd name="connsiteY3" fmla="*/ 247 h 901154"/>
              <a:gd name="connsiteX4" fmla="*/ 282811 w 2441576"/>
              <a:gd name="connsiteY4" fmla="*/ 247 h 901154"/>
              <a:gd name="connsiteX5" fmla="*/ 377080 w 2441576"/>
              <a:gd name="connsiteY5" fmla="*/ 247 h 901154"/>
              <a:gd name="connsiteX6" fmla="*/ 470246 w 2441576"/>
              <a:gd name="connsiteY6" fmla="*/ 247 h 901154"/>
              <a:gd name="connsiteX7" fmla="*/ 471351 w 2441576"/>
              <a:gd name="connsiteY7" fmla="*/ 247 h 901154"/>
              <a:gd name="connsiteX8" fmla="*/ 581332 w 2441576"/>
              <a:gd name="connsiteY8" fmla="*/ 247 h 901154"/>
              <a:gd name="connsiteX9" fmla="*/ 685028 w 2441576"/>
              <a:gd name="connsiteY9" fmla="*/ 247 h 901154"/>
              <a:gd name="connsiteX10" fmla="*/ 755093 w 2441576"/>
              <a:gd name="connsiteY10" fmla="*/ 247 h 901154"/>
              <a:gd name="connsiteX11" fmla="*/ 969874 w 2441576"/>
              <a:gd name="connsiteY11" fmla="*/ 247 h 901154"/>
              <a:gd name="connsiteX12" fmla="*/ 1039939 w 2441576"/>
              <a:gd name="connsiteY12" fmla="*/ 247 h 901154"/>
              <a:gd name="connsiteX13" fmla="*/ 1254721 w 2441576"/>
              <a:gd name="connsiteY13" fmla="*/ 247 h 901154"/>
              <a:gd name="connsiteX14" fmla="*/ 1324785 w 2441576"/>
              <a:gd name="connsiteY14" fmla="*/ 247 h 901154"/>
              <a:gd name="connsiteX15" fmla="*/ 1430031 w 2441576"/>
              <a:gd name="connsiteY15" fmla="*/ 0 h 901154"/>
              <a:gd name="connsiteX16" fmla="*/ 1539566 w 2441576"/>
              <a:gd name="connsiteY16" fmla="*/ 247 h 901154"/>
              <a:gd name="connsiteX17" fmla="*/ 1609632 w 2441576"/>
              <a:gd name="connsiteY17" fmla="*/ 247 h 901154"/>
              <a:gd name="connsiteX18" fmla="*/ 1824412 w 2441576"/>
              <a:gd name="connsiteY18" fmla="*/ 247 h 901154"/>
              <a:gd name="connsiteX19" fmla="*/ 1941949 w 2441576"/>
              <a:gd name="connsiteY19" fmla="*/ 247 h 901154"/>
              <a:gd name="connsiteX20" fmla="*/ 2094866 w 2441576"/>
              <a:gd name="connsiteY20" fmla="*/ 247 h 901154"/>
              <a:gd name="connsiteX21" fmla="*/ 2176781 w 2441576"/>
              <a:gd name="connsiteY21" fmla="*/ 247 h 901154"/>
              <a:gd name="connsiteX22" fmla="*/ 2258696 w 2441576"/>
              <a:gd name="connsiteY22" fmla="*/ 247 h 901154"/>
              <a:gd name="connsiteX23" fmla="*/ 2321561 w 2441576"/>
              <a:gd name="connsiteY23" fmla="*/ 247 h 901154"/>
              <a:gd name="connsiteX24" fmla="*/ 2441576 w 2441576"/>
              <a:gd name="connsiteY24" fmla="*/ 247 h 901154"/>
              <a:gd name="connsiteX25" fmla="*/ 2441576 w 2441576"/>
              <a:gd name="connsiteY25" fmla="*/ 83691 h 901154"/>
              <a:gd name="connsiteX26" fmla="*/ 2441576 w 2441576"/>
              <a:gd name="connsiteY26" fmla="*/ 152299 h 901154"/>
              <a:gd name="connsiteX27" fmla="*/ 2441576 w 2441576"/>
              <a:gd name="connsiteY27" fmla="*/ 235743 h 901154"/>
              <a:gd name="connsiteX28" fmla="*/ 2441576 w 2441576"/>
              <a:gd name="connsiteY28" fmla="*/ 304351 h 901154"/>
              <a:gd name="connsiteX29" fmla="*/ 2441576 w 2441576"/>
              <a:gd name="connsiteY29" fmla="*/ 387795 h 901154"/>
              <a:gd name="connsiteX30" fmla="*/ 2441576 w 2441576"/>
              <a:gd name="connsiteY30" fmla="*/ 456403 h 901154"/>
              <a:gd name="connsiteX31" fmla="*/ 2441576 w 2441576"/>
              <a:gd name="connsiteY31" fmla="*/ 539847 h 901154"/>
              <a:gd name="connsiteX32" fmla="*/ 2441576 w 2441576"/>
              <a:gd name="connsiteY32" fmla="*/ 608455 h 901154"/>
              <a:gd name="connsiteX33" fmla="*/ 2441576 w 2441576"/>
              <a:gd name="connsiteY33" fmla="*/ 691899 h 901154"/>
              <a:gd name="connsiteX34" fmla="*/ 2441576 w 2441576"/>
              <a:gd name="connsiteY34" fmla="*/ 760507 h 901154"/>
              <a:gd name="connsiteX35" fmla="*/ 2441576 w 2441576"/>
              <a:gd name="connsiteY35" fmla="*/ 832545 h 901154"/>
              <a:gd name="connsiteX36" fmla="*/ 2441576 w 2441576"/>
              <a:gd name="connsiteY36" fmla="*/ 901153 h 901154"/>
              <a:gd name="connsiteX37" fmla="*/ 2321561 w 2441576"/>
              <a:gd name="connsiteY37" fmla="*/ 901153 h 901154"/>
              <a:gd name="connsiteX38" fmla="*/ 2239646 w 2441576"/>
              <a:gd name="connsiteY38" fmla="*/ 901153 h 901154"/>
              <a:gd name="connsiteX39" fmla="*/ 2176781 w 2441576"/>
              <a:gd name="connsiteY39" fmla="*/ 901153 h 901154"/>
              <a:gd name="connsiteX40" fmla="*/ 2109259 w 2441576"/>
              <a:gd name="connsiteY40" fmla="*/ 901153 h 901154"/>
              <a:gd name="connsiteX41" fmla="*/ 1941949 w 2441576"/>
              <a:gd name="connsiteY41" fmla="*/ 901153 h 901154"/>
              <a:gd name="connsiteX42" fmla="*/ 1824412 w 2441576"/>
              <a:gd name="connsiteY42" fmla="*/ 901153 h 901154"/>
              <a:gd name="connsiteX43" fmla="*/ 1609632 w 2441576"/>
              <a:gd name="connsiteY43" fmla="*/ 901153 h 901154"/>
              <a:gd name="connsiteX44" fmla="*/ 1539566 w 2441576"/>
              <a:gd name="connsiteY44" fmla="*/ 901153 h 901154"/>
              <a:gd name="connsiteX45" fmla="*/ 1427685 w 2441576"/>
              <a:gd name="connsiteY45" fmla="*/ 901153 h 901154"/>
              <a:gd name="connsiteX46" fmla="*/ 1324785 w 2441576"/>
              <a:gd name="connsiteY46" fmla="*/ 901153 h 901154"/>
              <a:gd name="connsiteX47" fmla="*/ 1254721 w 2441576"/>
              <a:gd name="connsiteY47" fmla="*/ 901153 h 901154"/>
              <a:gd name="connsiteX48" fmla="*/ 1146253 w 2441576"/>
              <a:gd name="connsiteY48" fmla="*/ 901153 h 901154"/>
              <a:gd name="connsiteX49" fmla="*/ 1039939 w 2441576"/>
              <a:gd name="connsiteY49" fmla="*/ 901153 h 901154"/>
              <a:gd name="connsiteX50" fmla="*/ 969874 w 2441576"/>
              <a:gd name="connsiteY50" fmla="*/ 901153 h 901154"/>
              <a:gd name="connsiteX51" fmla="*/ 864820 w 2441576"/>
              <a:gd name="connsiteY51" fmla="*/ 901154 h 901154"/>
              <a:gd name="connsiteX52" fmla="*/ 755093 w 2441576"/>
              <a:gd name="connsiteY52" fmla="*/ 901153 h 901154"/>
              <a:gd name="connsiteX53" fmla="*/ 685028 w 2441576"/>
              <a:gd name="connsiteY53" fmla="*/ 901153 h 901154"/>
              <a:gd name="connsiteX54" fmla="*/ 581332 w 2441576"/>
              <a:gd name="connsiteY54" fmla="*/ 901153 h 901154"/>
              <a:gd name="connsiteX55" fmla="*/ 471351 w 2441576"/>
              <a:gd name="connsiteY55" fmla="*/ 901153 h 901154"/>
              <a:gd name="connsiteX56" fmla="*/ 470246 w 2441576"/>
              <a:gd name="connsiteY56" fmla="*/ 901153 h 901154"/>
              <a:gd name="connsiteX57" fmla="*/ 377080 w 2441576"/>
              <a:gd name="connsiteY57" fmla="*/ 901153 h 901154"/>
              <a:gd name="connsiteX58" fmla="*/ 282811 w 2441576"/>
              <a:gd name="connsiteY58" fmla="*/ 901153 h 901154"/>
              <a:gd name="connsiteX59" fmla="*/ 188541 w 2441576"/>
              <a:gd name="connsiteY59" fmla="*/ 901153 h 901154"/>
              <a:gd name="connsiteX60" fmla="*/ 185400 w 2441576"/>
              <a:gd name="connsiteY60" fmla="*/ 901153 h 901154"/>
              <a:gd name="connsiteX61" fmla="*/ 94270 w 2441576"/>
              <a:gd name="connsiteY61" fmla="*/ 901153 h 901154"/>
              <a:gd name="connsiteX62" fmla="*/ 0 w 2441576"/>
              <a:gd name="connsiteY62" fmla="*/ 901153 h 901154"/>
              <a:gd name="connsiteX63" fmla="*/ 0 w 2441576"/>
              <a:gd name="connsiteY63" fmla="*/ 832545 h 901154"/>
              <a:gd name="connsiteX64" fmla="*/ 0 w 2441576"/>
              <a:gd name="connsiteY64" fmla="*/ 760507 h 901154"/>
              <a:gd name="connsiteX65" fmla="*/ 0 w 2441576"/>
              <a:gd name="connsiteY65" fmla="*/ 691899 h 901154"/>
              <a:gd name="connsiteX66" fmla="*/ 0 w 2441576"/>
              <a:gd name="connsiteY66" fmla="*/ 608455 h 901154"/>
              <a:gd name="connsiteX67" fmla="*/ 0 w 2441576"/>
              <a:gd name="connsiteY67" fmla="*/ 539847 h 901154"/>
              <a:gd name="connsiteX68" fmla="*/ 0 w 2441576"/>
              <a:gd name="connsiteY68" fmla="*/ 456403 h 901154"/>
              <a:gd name="connsiteX69" fmla="*/ 0 w 2441576"/>
              <a:gd name="connsiteY69" fmla="*/ 387795 h 901154"/>
              <a:gd name="connsiteX70" fmla="*/ 0 w 2441576"/>
              <a:gd name="connsiteY70" fmla="*/ 304351 h 901154"/>
              <a:gd name="connsiteX71" fmla="*/ 0 w 2441576"/>
              <a:gd name="connsiteY71" fmla="*/ 235743 h 901154"/>
              <a:gd name="connsiteX72" fmla="*/ 0 w 2441576"/>
              <a:gd name="connsiteY72" fmla="*/ 152299 h 901154"/>
              <a:gd name="connsiteX73" fmla="*/ 0 w 2441576"/>
              <a:gd name="connsiteY73" fmla="*/ 83691 h 901154"/>
              <a:gd name="connsiteX74" fmla="*/ 0 w 2441576"/>
              <a:gd name="connsiteY74" fmla="*/ 247 h 901154"/>
              <a:gd name="connsiteX0" fmla="*/ 0 w 2441576"/>
              <a:gd name="connsiteY0" fmla="*/ 247 h 901154"/>
              <a:gd name="connsiteX1" fmla="*/ 94270 w 2441576"/>
              <a:gd name="connsiteY1" fmla="*/ 247 h 901154"/>
              <a:gd name="connsiteX2" fmla="*/ 185400 w 2441576"/>
              <a:gd name="connsiteY2" fmla="*/ 247 h 901154"/>
              <a:gd name="connsiteX3" fmla="*/ 188541 w 2441576"/>
              <a:gd name="connsiteY3" fmla="*/ 247 h 901154"/>
              <a:gd name="connsiteX4" fmla="*/ 282811 w 2441576"/>
              <a:gd name="connsiteY4" fmla="*/ 247 h 901154"/>
              <a:gd name="connsiteX5" fmla="*/ 377080 w 2441576"/>
              <a:gd name="connsiteY5" fmla="*/ 247 h 901154"/>
              <a:gd name="connsiteX6" fmla="*/ 470246 w 2441576"/>
              <a:gd name="connsiteY6" fmla="*/ 247 h 901154"/>
              <a:gd name="connsiteX7" fmla="*/ 471351 w 2441576"/>
              <a:gd name="connsiteY7" fmla="*/ 247 h 901154"/>
              <a:gd name="connsiteX8" fmla="*/ 581332 w 2441576"/>
              <a:gd name="connsiteY8" fmla="*/ 247 h 901154"/>
              <a:gd name="connsiteX9" fmla="*/ 685028 w 2441576"/>
              <a:gd name="connsiteY9" fmla="*/ 247 h 901154"/>
              <a:gd name="connsiteX10" fmla="*/ 755093 w 2441576"/>
              <a:gd name="connsiteY10" fmla="*/ 247 h 901154"/>
              <a:gd name="connsiteX11" fmla="*/ 969874 w 2441576"/>
              <a:gd name="connsiteY11" fmla="*/ 247 h 901154"/>
              <a:gd name="connsiteX12" fmla="*/ 1039939 w 2441576"/>
              <a:gd name="connsiteY12" fmla="*/ 247 h 901154"/>
              <a:gd name="connsiteX13" fmla="*/ 1254721 w 2441576"/>
              <a:gd name="connsiteY13" fmla="*/ 247 h 901154"/>
              <a:gd name="connsiteX14" fmla="*/ 1324785 w 2441576"/>
              <a:gd name="connsiteY14" fmla="*/ 247 h 901154"/>
              <a:gd name="connsiteX15" fmla="*/ 1430031 w 2441576"/>
              <a:gd name="connsiteY15" fmla="*/ 0 h 901154"/>
              <a:gd name="connsiteX16" fmla="*/ 1539566 w 2441576"/>
              <a:gd name="connsiteY16" fmla="*/ 247 h 901154"/>
              <a:gd name="connsiteX17" fmla="*/ 1609632 w 2441576"/>
              <a:gd name="connsiteY17" fmla="*/ 247 h 901154"/>
              <a:gd name="connsiteX18" fmla="*/ 1824412 w 2441576"/>
              <a:gd name="connsiteY18" fmla="*/ 247 h 901154"/>
              <a:gd name="connsiteX19" fmla="*/ 1941949 w 2441576"/>
              <a:gd name="connsiteY19" fmla="*/ 247 h 901154"/>
              <a:gd name="connsiteX20" fmla="*/ 2094866 w 2441576"/>
              <a:gd name="connsiteY20" fmla="*/ 247 h 901154"/>
              <a:gd name="connsiteX21" fmla="*/ 2176781 w 2441576"/>
              <a:gd name="connsiteY21" fmla="*/ 247 h 901154"/>
              <a:gd name="connsiteX22" fmla="*/ 2258696 w 2441576"/>
              <a:gd name="connsiteY22" fmla="*/ 247 h 901154"/>
              <a:gd name="connsiteX23" fmla="*/ 2321561 w 2441576"/>
              <a:gd name="connsiteY23" fmla="*/ 247 h 901154"/>
              <a:gd name="connsiteX24" fmla="*/ 2441576 w 2441576"/>
              <a:gd name="connsiteY24" fmla="*/ 247 h 901154"/>
              <a:gd name="connsiteX25" fmla="*/ 2441576 w 2441576"/>
              <a:gd name="connsiteY25" fmla="*/ 83691 h 901154"/>
              <a:gd name="connsiteX26" fmla="*/ 2441576 w 2441576"/>
              <a:gd name="connsiteY26" fmla="*/ 152299 h 901154"/>
              <a:gd name="connsiteX27" fmla="*/ 2441576 w 2441576"/>
              <a:gd name="connsiteY27" fmla="*/ 235743 h 901154"/>
              <a:gd name="connsiteX28" fmla="*/ 2441576 w 2441576"/>
              <a:gd name="connsiteY28" fmla="*/ 304351 h 901154"/>
              <a:gd name="connsiteX29" fmla="*/ 2441576 w 2441576"/>
              <a:gd name="connsiteY29" fmla="*/ 387795 h 901154"/>
              <a:gd name="connsiteX30" fmla="*/ 2441576 w 2441576"/>
              <a:gd name="connsiteY30" fmla="*/ 456403 h 901154"/>
              <a:gd name="connsiteX31" fmla="*/ 2441576 w 2441576"/>
              <a:gd name="connsiteY31" fmla="*/ 539847 h 901154"/>
              <a:gd name="connsiteX32" fmla="*/ 2441576 w 2441576"/>
              <a:gd name="connsiteY32" fmla="*/ 608455 h 901154"/>
              <a:gd name="connsiteX33" fmla="*/ 2441576 w 2441576"/>
              <a:gd name="connsiteY33" fmla="*/ 691899 h 901154"/>
              <a:gd name="connsiteX34" fmla="*/ 2441576 w 2441576"/>
              <a:gd name="connsiteY34" fmla="*/ 760507 h 901154"/>
              <a:gd name="connsiteX35" fmla="*/ 2441576 w 2441576"/>
              <a:gd name="connsiteY35" fmla="*/ 832545 h 901154"/>
              <a:gd name="connsiteX36" fmla="*/ 2441576 w 2441576"/>
              <a:gd name="connsiteY36" fmla="*/ 901153 h 901154"/>
              <a:gd name="connsiteX37" fmla="*/ 2321561 w 2441576"/>
              <a:gd name="connsiteY37" fmla="*/ 901153 h 901154"/>
              <a:gd name="connsiteX38" fmla="*/ 2239646 w 2441576"/>
              <a:gd name="connsiteY38" fmla="*/ 901153 h 901154"/>
              <a:gd name="connsiteX39" fmla="*/ 2176781 w 2441576"/>
              <a:gd name="connsiteY39" fmla="*/ 901153 h 901154"/>
              <a:gd name="connsiteX40" fmla="*/ 2109259 w 2441576"/>
              <a:gd name="connsiteY40" fmla="*/ 901153 h 901154"/>
              <a:gd name="connsiteX41" fmla="*/ 1941949 w 2441576"/>
              <a:gd name="connsiteY41" fmla="*/ 901153 h 901154"/>
              <a:gd name="connsiteX42" fmla="*/ 1824412 w 2441576"/>
              <a:gd name="connsiteY42" fmla="*/ 901153 h 901154"/>
              <a:gd name="connsiteX43" fmla="*/ 1720844 w 2441576"/>
              <a:gd name="connsiteY43" fmla="*/ 901153 h 901154"/>
              <a:gd name="connsiteX44" fmla="*/ 1609632 w 2441576"/>
              <a:gd name="connsiteY44" fmla="*/ 901153 h 901154"/>
              <a:gd name="connsiteX45" fmla="*/ 1539566 w 2441576"/>
              <a:gd name="connsiteY45" fmla="*/ 901153 h 901154"/>
              <a:gd name="connsiteX46" fmla="*/ 1427685 w 2441576"/>
              <a:gd name="connsiteY46" fmla="*/ 901153 h 901154"/>
              <a:gd name="connsiteX47" fmla="*/ 1324785 w 2441576"/>
              <a:gd name="connsiteY47" fmla="*/ 901153 h 901154"/>
              <a:gd name="connsiteX48" fmla="*/ 1254721 w 2441576"/>
              <a:gd name="connsiteY48" fmla="*/ 901153 h 901154"/>
              <a:gd name="connsiteX49" fmla="*/ 1146253 w 2441576"/>
              <a:gd name="connsiteY49" fmla="*/ 901153 h 901154"/>
              <a:gd name="connsiteX50" fmla="*/ 1039939 w 2441576"/>
              <a:gd name="connsiteY50" fmla="*/ 901153 h 901154"/>
              <a:gd name="connsiteX51" fmla="*/ 969874 w 2441576"/>
              <a:gd name="connsiteY51" fmla="*/ 901153 h 901154"/>
              <a:gd name="connsiteX52" fmla="*/ 864820 w 2441576"/>
              <a:gd name="connsiteY52" fmla="*/ 901154 h 901154"/>
              <a:gd name="connsiteX53" fmla="*/ 755093 w 2441576"/>
              <a:gd name="connsiteY53" fmla="*/ 901153 h 901154"/>
              <a:gd name="connsiteX54" fmla="*/ 685028 w 2441576"/>
              <a:gd name="connsiteY54" fmla="*/ 901153 h 901154"/>
              <a:gd name="connsiteX55" fmla="*/ 581332 w 2441576"/>
              <a:gd name="connsiteY55" fmla="*/ 901153 h 901154"/>
              <a:gd name="connsiteX56" fmla="*/ 471351 w 2441576"/>
              <a:gd name="connsiteY56" fmla="*/ 901153 h 901154"/>
              <a:gd name="connsiteX57" fmla="*/ 470246 w 2441576"/>
              <a:gd name="connsiteY57" fmla="*/ 901153 h 901154"/>
              <a:gd name="connsiteX58" fmla="*/ 377080 w 2441576"/>
              <a:gd name="connsiteY58" fmla="*/ 901153 h 901154"/>
              <a:gd name="connsiteX59" fmla="*/ 282811 w 2441576"/>
              <a:gd name="connsiteY59" fmla="*/ 901153 h 901154"/>
              <a:gd name="connsiteX60" fmla="*/ 188541 w 2441576"/>
              <a:gd name="connsiteY60" fmla="*/ 901153 h 901154"/>
              <a:gd name="connsiteX61" fmla="*/ 185400 w 2441576"/>
              <a:gd name="connsiteY61" fmla="*/ 901153 h 901154"/>
              <a:gd name="connsiteX62" fmla="*/ 94270 w 2441576"/>
              <a:gd name="connsiteY62" fmla="*/ 901153 h 901154"/>
              <a:gd name="connsiteX63" fmla="*/ 0 w 2441576"/>
              <a:gd name="connsiteY63" fmla="*/ 901153 h 901154"/>
              <a:gd name="connsiteX64" fmla="*/ 0 w 2441576"/>
              <a:gd name="connsiteY64" fmla="*/ 832545 h 901154"/>
              <a:gd name="connsiteX65" fmla="*/ 0 w 2441576"/>
              <a:gd name="connsiteY65" fmla="*/ 760507 h 901154"/>
              <a:gd name="connsiteX66" fmla="*/ 0 w 2441576"/>
              <a:gd name="connsiteY66" fmla="*/ 691899 h 901154"/>
              <a:gd name="connsiteX67" fmla="*/ 0 w 2441576"/>
              <a:gd name="connsiteY67" fmla="*/ 608455 h 901154"/>
              <a:gd name="connsiteX68" fmla="*/ 0 w 2441576"/>
              <a:gd name="connsiteY68" fmla="*/ 539847 h 901154"/>
              <a:gd name="connsiteX69" fmla="*/ 0 w 2441576"/>
              <a:gd name="connsiteY69" fmla="*/ 456403 h 901154"/>
              <a:gd name="connsiteX70" fmla="*/ 0 w 2441576"/>
              <a:gd name="connsiteY70" fmla="*/ 387795 h 901154"/>
              <a:gd name="connsiteX71" fmla="*/ 0 w 2441576"/>
              <a:gd name="connsiteY71" fmla="*/ 304351 h 901154"/>
              <a:gd name="connsiteX72" fmla="*/ 0 w 2441576"/>
              <a:gd name="connsiteY72" fmla="*/ 235743 h 901154"/>
              <a:gd name="connsiteX73" fmla="*/ 0 w 2441576"/>
              <a:gd name="connsiteY73" fmla="*/ 152299 h 901154"/>
              <a:gd name="connsiteX74" fmla="*/ 0 w 2441576"/>
              <a:gd name="connsiteY74" fmla="*/ 83691 h 901154"/>
              <a:gd name="connsiteX75" fmla="*/ 0 w 2441576"/>
              <a:gd name="connsiteY75" fmla="*/ 247 h 901154"/>
              <a:gd name="connsiteX0" fmla="*/ 0 w 2441576"/>
              <a:gd name="connsiteY0" fmla="*/ 247 h 901154"/>
              <a:gd name="connsiteX1" fmla="*/ 94270 w 2441576"/>
              <a:gd name="connsiteY1" fmla="*/ 247 h 901154"/>
              <a:gd name="connsiteX2" fmla="*/ 185400 w 2441576"/>
              <a:gd name="connsiteY2" fmla="*/ 247 h 901154"/>
              <a:gd name="connsiteX3" fmla="*/ 188541 w 2441576"/>
              <a:gd name="connsiteY3" fmla="*/ 247 h 901154"/>
              <a:gd name="connsiteX4" fmla="*/ 282811 w 2441576"/>
              <a:gd name="connsiteY4" fmla="*/ 247 h 901154"/>
              <a:gd name="connsiteX5" fmla="*/ 377080 w 2441576"/>
              <a:gd name="connsiteY5" fmla="*/ 247 h 901154"/>
              <a:gd name="connsiteX6" fmla="*/ 470246 w 2441576"/>
              <a:gd name="connsiteY6" fmla="*/ 247 h 901154"/>
              <a:gd name="connsiteX7" fmla="*/ 471351 w 2441576"/>
              <a:gd name="connsiteY7" fmla="*/ 247 h 901154"/>
              <a:gd name="connsiteX8" fmla="*/ 581332 w 2441576"/>
              <a:gd name="connsiteY8" fmla="*/ 247 h 901154"/>
              <a:gd name="connsiteX9" fmla="*/ 685028 w 2441576"/>
              <a:gd name="connsiteY9" fmla="*/ 247 h 901154"/>
              <a:gd name="connsiteX10" fmla="*/ 755093 w 2441576"/>
              <a:gd name="connsiteY10" fmla="*/ 247 h 901154"/>
              <a:gd name="connsiteX11" fmla="*/ 969874 w 2441576"/>
              <a:gd name="connsiteY11" fmla="*/ 247 h 901154"/>
              <a:gd name="connsiteX12" fmla="*/ 1039939 w 2441576"/>
              <a:gd name="connsiteY12" fmla="*/ 247 h 901154"/>
              <a:gd name="connsiteX13" fmla="*/ 1254721 w 2441576"/>
              <a:gd name="connsiteY13" fmla="*/ 247 h 901154"/>
              <a:gd name="connsiteX14" fmla="*/ 1324785 w 2441576"/>
              <a:gd name="connsiteY14" fmla="*/ 247 h 901154"/>
              <a:gd name="connsiteX15" fmla="*/ 1430031 w 2441576"/>
              <a:gd name="connsiteY15" fmla="*/ 0 h 901154"/>
              <a:gd name="connsiteX16" fmla="*/ 1539566 w 2441576"/>
              <a:gd name="connsiteY16" fmla="*/ 247 h 901154"/>
              <a:gd name="connsiteX17" fmla="*/ 1609632 w 2441576"/>
              <a:gd name="connsiteY17" fmla="*/ 247 h 901154"/>
              <a:gd name="connsiteX18" fmla="*/ 1824412 w 2441576"/>
              <a:gd name="connsiteY18" fmla="*/ 247 h 901154"/>
              <a:gd name="connsiteX19" fmla="*/ 1941949 w 2441576"/>
              <a:gd name="connsiteY19" fmla="*/ 247 h 901154"/>
              <a:gd name="connsiteX20" fmla="*/ 2094866 w 2441576"/>
              <a:gd name="connsiteY20" fmla="*/ 247 h 901154"/>
              <a:gd name="connsiteX21" fmla="*/ 2176781 w 2441576"/>
              <a:gd name="connsiteY21" fmla="*/ 247 h 901154"/>
              <a:gd name="connsiteX22" fmla="*/ 2258696 w 2441576"/>
              <a:gd name="connsiteY22" fmla="*/ 247 h 901154"/>
              <a:gd name="connsiteX23" fmla="*/ 2321561 w 2441576"/>
              <a:gd name="connsiteY23" fmla="*/ 247 h 901154"/>
              <a:gd name="connsiteX24" fmla="*/ 2441576 w 2441576"/>
              <a:gd name="connsiteY24" fmla="*/ 247 h 901154"/>
              <a:gd name="connsiteX25" fmla="*/ 2441576 w 2441576"/>
              <a:gd name="connsiteY25" fmla="*/ 83691 h 901154"/>
              <a:gd name="connsiteX26" fmla="*/ 2441576 w 2441576"/>
              <a:gd name="connsiteY26" fmla="*/ 152299 h 901154"/>
              <a:gd name="connsiteX27" fmla="*/ 2441576 w 2441576"/>
              <a:gd name="connsiteY27" fmla="*/ 235743 h 901154"/>
              <a:gd name="connsiteX28" fmla="*/ 2441576 w 2441576"/>
              <a:gd name="connsiteY28" fmla="*/ 304351 h 901154"/>
              <a:gd name="connsiteX29" fmla="*/ 2441576 w 2441576"/>
              <a:gd name="connsiteY29" fmla="*/ 387795 h 901154"/>
              <a:gd name="connsiteX30" fmla="*/ 2441576 w 2441576"/>
              <a:gd name="connsiteY30" fmla="*/ 456403 h 901154"/>
              <a:gd name="connsiteX31" fmla="*/ 2441576 w 2441576"/>
              <a:gd name="connsiteY31" fmla="*/ 539847 h 901154"/>
              <a:gd name="connsiteX32" fmla="*/ 2441576 w 2441576"/>
              <a:gd name="connsiteY32" fmla="*/ 608455 h 901154"/>
              <a:gd name="connsiteX33" fmla="*/ 2441576 w 2441576"/>
              <a:gd name="connsiteY33" fmla="*/ 691899 h 901154"/>
              <a:gd name="connsiteX34" fmla="*/ 2441576 w 2441576"/>
              <a:gd name="connsiteY34" fmla="*/ 760507 h 901154"/>
              <a:gd name="connsiteX35" fmla="*/ 2441576 w 2441576"/>
              <a:gd name="connsiteY35" fmla="*/ 832545 h 901154"/>
              <a:gd name="connsiteX36" fmla="*/ 2441576 w 2441576"/>
              <a:gd name="connsiteY36" fmla="*/ 901153 h 901154"/>
              <a:gd name="connsiteX37" fmla="*/ 2321561 w 2441576"/>
              <a:gd name="connsiteY37" fmla="*/ 901153 h 901154"/>
              <a:gd name="connsiteX38" fmla="*/ 2239646 w 2441576"/>
              <a:gd name="connsiteY38" fmla="*/ 901153 h 901154"/>
              <a:gd name="connsiteX39" fmla="*/ 2176781 w 2441576"/>
              <a:gd name="connsiteY39" fmla="*/ 901153 h 901154"/>
              <a:gd name="connsiteX40" fmla="*/ 2109259 w 2441576"/>
              <a:gd name="connsiteY40" fmla="*/ 901153 h 901154"/>
              <a:gd name="connsiteX41" fmla="*/ 2025730 w 2441576"/>
              <a:gd name="connsiteY41" fmla="*/ 901153 h 901154"/>
              <a:gd name="connsiteX42" fmla="*/ 1941949 w 2441576"/>
              <a:gd name="connsiteY42" fmla="*/ 901153 h 901154"/>
              <a:gd name="connsiteX43" fmla="*/ 1824412 w 2441576"/>
              <a:gd name="connsiteY43" fmla="*/ 901153 h 901154"/>
              <a:gd name="connsiteX44" fmla="*/ 1720844 w 2441576"/>
              <a:gd name="connsiteY44" fmla="*/ 901153 h 901154"/>
              <a:gd name="connsiteX45" fmla="*/ 1609632 w 2441576"/>
              <a:gd name="connsiteY45" fmla="*/ 901153 h 901154"/>
              <a:gd name="connsiteX46" fmla="*/ 1539566 w 2441576"/>
              <a:gd name="connsiteY46" fmla="*/ 901153 h 901154"/>
              <a:gd name="connsiteX47" fmla="*/ 1427685 w 2441576"/>
              <a:gd name="connsiteY47" fmla="*/ 901153 h 901154"/>
              <a:gd name="connsiteX48" fmla="*/ 1324785 w 2441576"/>
              <a:gd name="connsiteY48" fmla="*/ 901153 h 901154"/>
              <a:gd name="connsiteX49" fmla="*/ 1254721 w 2441576"/>
              <a:gd name="connsiteY49" fmla="*/ 901153 h 901154"/>
              <a:gd name="connsiteX50" fmla="*/ 1146253 w 2441576"/>
              <a:gd name="connsiteY50" fmla="*/ 901153 h 901154"/>
              <a:gd name="connsiteX51" fmla="*/ 1039939 w 2441576"/>
              <a:gd name="connsiteY51" fmla="*/ 901153 h 901154"/>
              <a:gd name="connsiteX52" fmla="*/ 969874 w 2441576"/>
              <a:gd name="connsiteY52" fmla="*/ 901153 h 901154"/>
              <a:gd name="connsiteX53" fmla="*/ 864820 w 2441576"/>
              <a:gd name="connsiteY53" fmla="*/ 901154 h 901154"/>
              <a:gd name="connsiteX54" fmla="*/ 755093 w 2441576"/>
              <a:gd name="connsiteY54" fmla="*/ 901153 h 901154"/>
              <a:gd name="connsiteX55" fmla="*/ 685028 w 2441576"/>
              <a:gd name="connsiteY55" fmla="*/ 901153 h 901154"/>
              <a:gd name="connsiteX56" fmla="*/ 581332 w 2441576"/>
              <a:gd name="connsiteY56" fmla="*/ 901153 h 901154"/>
              <a:gd name="connsiteX57" fmla="*/ 471351 w 2441576"/>
              <a:gd name="connsiteY57" fmla="*/ 901153 h 901154"/>
              <a:gd name="connsiteX58" fmla="*/ 470246 w 2441576"/>
              <a:gd name="connsiteY58" fmla="*/ 901153 h 901154"/>
              <a:gd name="connsiteX59" fmla="*/ 377080 w 2441576"/>
              <a:gd name="connsiteY59" fmla="*/ 901153 h 901154"/>
              <a:gd name="connsiteX60" fmla="*/ 282811 w 2441576"/>
              <a:gd name="connsiteY60" fmla="*/ 901153 h 901154"/>
              <a:gd name="connsiteX61" fmla="*/ 188541 w 2441576"/>
              <a:gd name="connsiteY61" fmla="*/ 901153 h 901154"/>
              <a:gd name="connsiteX62" fmla="*/ 185400 w 2441576"/>
              <a:gd name="connsiteY62" fmla="*/ 901153 h 901154"/>
              <a:gd name="connsiteX63" fmla="*/ 94270 w 2441576"/>
              <a:gd name="connsiteY63" fmla="*/ 901153 h 901154"/>
              <a:gd name="connsiteX64" fmla="*/ 0 w 2441576"/>
              <a:gd name="connsiteY64" fmla="*/ 901153 h 901154"/>
              <a:gd name="connsiteX65" fmla="*/ 0 w 2441576"/>
              <a:gd name="connsiteY65" fmla="*/ 832545 h 901154"/>
              <a:gd name="connsiteX66" fmla="*/ 0 w 2441576"/>
              <a:gd name="connsiteY66" fmla="*/ 760507 h 901154"/>
              <a:gd name="connsiteX67" fmla="*/ 0 w 2441576"/>
              <a:gd name="connsiteY67" fmla="*/ 691899 h 901154"/>
              <a:gd name="connsiteX68" fmla="*/ 0 w 2441576"/>
              <a:gd name="connsiteY68" fmla="*/ 608455 h 901154"/>
              <a:gd name="connsiteX69" fmla="*/ 0 w 2441576"/>
              <a:gd name="connsiteY69" fmla="*/ 539847 h 901154"/>
              <a:gd name="connsiteX70" fmla="*/ 0 w 2441576"/>
              <a:gd name="connsiteY70" fmla="*/ 456403 h 901154"/>
              <a:gd name="connsiteX71" fmla="*/ 0 w 2441576"/>
              <a:gd name="connsiteY71" fmla="*/ 387795 h 901154"/>
              <a:gd name="connsiteX72" fmla="*/ 0 w 2441576"/>
              <a:gd name="connsiteY72" fmla="*/ 304351 h 901154"/>
              <a:gd name="connsiteX73" fmla="*/ 0 w 2441576"/>
              <a:gd name="connsiteY73" fmla="*/ 235743 h 901154"/>
              <a:gd name="connsiteX74" fmla="*/ 0 w 2441576"/>
              <a:gd name="connsiteY74" fmla="*/ 152299 h 901154"/>
              <a:gd name="connsiteX75" fmla="*/ 0 w 2441576"/>
              <a:gd name="connsiteY75" fmla="*/ 83691 h 901154"/>
              <a:gd name="connsiteX76" fmla="*/ 0 w 2441576"/>
              <a:gd name="connsiteY76" fmla="*/ 247 h 901154"/>
              <a:gd name="connsiteX0" fmla="*/ 0 w 2441576"/>
              <a:gd name="connsiteY0" fmla="*/ 247 h 901154"/>
              <a:gd name="connsiteX1" fmla="*/ 94270 w 2441576"/>
              <a:gd name="connsiteY1" fmla="*/ 247 h 901154"/>
              <a:gd name="connsiteX2" fmla="*/ 185400 w 2441576"/>
              <a:gd name="connsiteY2" fmla="*/ 247 h 901154"/>
              <a:gd name="connsiteX3" fmla="*/ 188541 w 2441576"/>
              <a:gd name="connsiteY3" fmla="*/ 247 h 901154"/>
              <a:gd name="connsiteX4" fmla="*/ 282811 w 2441576"/>
              <a:gd name="connsiteY4" fmla="*/ 247 h 901154"/>
              <a:gd name="connsiteX5" fmla="*/ 377080 w 2441576"/>
              <a:gd name="connsiteY5" fmla="*/ 247 h 901154"/>
              <a:gd name="connsiteX6" fmla="*/ 470246 w 2441576"/>
              <a:gd name="connsiteY6" fmla="*/ 247 h 901154"/>
              <a:gd name="connsiteX7" fmla="*/ 471351 w 2441576"/>
              <a:gd name="connsiteY7" fmla="*/ 247 h 901154"/>
              <a:gd name="connsiteX8" fmla="*/ 581332 w 2441576"/>
              <a:gd name="connsiteY8" fmla="*/ 247 h 901154"/>
              <a:gd name="connsiteX9" fmla="*/ 685028 w 2441576"/>
              <a:gd name="connsiteY9" fmla="*/ 247 h 901154"/>
              <a:gd name="connsiteX10" fmla="*/ 755093 w 2441576"/>
              <a:gd name="connsiteY10" fmla="*/ 247 h 901154"/>
              <a:gd name="connsiteX11" fmla="*/ 969874 w 2441576"/>
              <a:gd name="connsiteY11" fmla="*/ 247 h 901154"/>
              <a:gd name="connsiteX12" fmla="*/ 1039939 w 2441576"/>
              <a:gd name="connsiteY12" fmla="*/ 247 h 901154"/>
              <a:gd name="connsiteX13" fmla="*/ 1254721 w 2441576"/>
              <a:gd name="connsiteY13" fmla="*/ 247 h 901154"/>
              <a:gd name="connsiteX14" fmla="*/ 1324785 w 2441576"/>
              <a:gd name="connsiteY14" fmla="*/ 247 h 901154"/>
              <a:gd name="connsiteX15" fmla="*/ 1430031 w 2441576"/>
              <a:gd name="connsiteY15" fmla="*/ 0 h 901154"/>
              <a:gd name="connsiteX16" fmla="*/ 1539566 w 2441576"/>
              <a:gd name="connsiteY16" fmla="*/ 247 h 901154"/>
              <a:gd name="connsiteX17" fmla="*/ 1609632 w 2441576"/>
              <a:gd name="connsiteY17" fmla="*/ 247 h 901154"/>
              <a:gd name="connsiteX18" fmla="*/ 1707946 w 2441576"/>
              <a:gd name="connsiteY18" fmla="*/ 1 h 901154"/>
              <a:gd name="connsiteX19" fmla="*/ 1824412 w 2441576"/>
              <a:gd name="connsiteY19" fmla="*/ 247 h 901154"/>
              <a:gd name="connsiteX20" fmla="*/ 1941949 w 2441576"/>
              <a:gd name="connsiteY20" fmla="*/ 247 h 901154"/>
              <a:gd name="connsiteX21" fmla="*/ 2094866 w 2441576"/>
              <a:gd name="connsiteY21" fmla="*/ 247 h 901154"/>
              <a:gd name="connsiteX22" fmla="*/ 2176781 w 2441576"/>
              <a:gd name="connsiteY22" fmla="*/ 247 h 901154"/>
              <a:gd name="connsiteX23" fmla="*/ 2258696 w 2441576"/>
              <a:gd name="connsiteY23" fmla="*/ 247 h 901154"/>
              <a:gd name="connsiteX24" fmla="*/ 2321561 w 2441576"/>
              <a:gd name="connsiteY24" fmla="*/ 247 h 901154"/>
              <a:gd name="connsiteX25" fmla="*/ 2441576 w 2441576"/>
              <a:gd name="connsiteY25" fmla="*/ 247 h 901154"/>
              <a:gd name="connsiteX26" fmla="*/ 2441576 w 2441576"/>
              <a:gd name="connsiteY26" fmla="*/ 83691 h 901154"/>
              <a:gd name="connsiteX27" fmla="*/ 2441576 w 2441576"/>
              <a:gd name="connsiteY27" fmla="*/ 152299 h 901154"/>
              <a:gd name="connsiteX28" fmla="*/ 2441576 w 2441576"/>
              <a:gd name="connsiteY28" fmla="*/ 235743 h 901154"/>
              <a:gd name="connsiteX29" fmla="*/ 2441576 w 2441576"/>
              <a:gd name="connsiteY29" fmla="*/ 304351 h 901154"/>
              <a:gd name="connsiteX30" fmla="*/ 2441576 w 2441576"/>
              <a:gd name="connsiteY30" fmla="*/ 387795 h 901154"/>
              <a:gd name="connsiteX31" fmla="*/ 2441576 w 2441576"/>
              <a:gd name="connsiteY31" fmla="*/ 456403 h 901154"/>
              <a:gd name="connsiteX32" fmla="*/ 2441576 w 2441576"/>
              <a:gd name="connsiteY32" fmla="*/ 539847 h 901154"/>
              <a:gd name="connsiteX33" fmla="*/ 2441576 w 2441576"/>
              <a:gd name="connsiteY33" fmla="*/ 608455 h 901154"/>
              <a:gd name="connsiteX34" fmla="*/ 2441576 w 2441576"/>
              <a:gd name="connsiteY34" fmla="*/ 691899 h 901154"/>
              <a:gd name="connsiteX35" fmla="*/ 2441576 w 2441576"/>
              <a:gd name="connsiteY35" fmla="*/ 760507 h 901154"/>
              <a:gd name="connsiteX36" fmla="*/ 2441576 w 2441576"/>
              <a:gd name="connsiteY36" fmla="*/ 832545 h 901154"/>
              <a:gd name="connsiteX37" fmla="*/ 2441576 w 2441576"/>
              <a:gd name="connsiteY37" fmla="*/ 901153 h 901154"/>
              <a:gd name="connsiteX38" fmla="*/ 2321561 w 2441576"/>
              <a:gd name="connsiteY38" fmla="*/ 901153 h 901154"/>
              <a:gd name="connsiteX39" fmla="*/ 2239646 w 2441576"/>
              <a:gd name="connsiteY39" fmla="*/ 901153 h 901154"/>
              <a:gd name="connsiteX40" fmla="*/ 2176781 w 2441576"/>
              <a:gd name="connsiteY40" fmla="*/ 901153 h 901154"/>
              <a:gd name="connsiteX41" fmla="*/ 2109259 w 2441576"/>
              <a:gd name="connsiteY41" fmla="*/ 901153 h 901154"/>
              <a:gd name="connsiteX42" fmla="*/ 2025730 w 2441576"/>
              <a:gd name="connsiteY42" fmla="*/ 901153 h 901154"/>
              <a:gd name="connsiteX43" fmla="*/ 1941949 w 2441576"/>
              <a:gd name="connsiteY43" fmla="*/ 901153 h 901154"/>
              <a:gd name="connsiteX44" fmla="*/ 1824412 w 2441576"/>
              <a:gd name="connsiteY44" fmla="*/ 901153 h 901154"/>
              <a:gd name="connsiteX45" fmla="*/ 1720844 w 2441576"/>
              <a:gd name="connsiteY45" fmla="*/ 901153 h 901154"/>
              <a:gd name="connsiteX46" fmla="*/ 1609632 w 2441576"/>
              <a:gd name="connsiteY46" fmla="*/ 901153 h 901154"/>
              <a:gd name="connsiteX47" fmla="*/ 1539566 w 2441576"/>
              <a:gd name="connsiteY47" fmla="*/ 901153 h 901154"/>
              <a:gd name="connsiteX48" fmla="*/ 1427685 w 2441576"/>
              <a:gd name="connsiteY48" fmla="*/ 901153 h 901154"/>
              <a:gd name="connsiteX49" fmla="*/ 1324785 w 2441576"/>
              <a:gd name="connsiteY49" fmla="*/ 901153 h 901154"/>
              <a:gd name="connsiteX50" fmla="*/ 1254721 w 2441576"/>
              <a:gd name="connsiteY50" fmla="*/ 901153 h 901154"/>
              <a:gd name="connsiteX51" fmla="*/ 1146253 w 2441576"/>
              <a:gd name="connsiteY51" fmla="*/ 901153 h 901154"/>
              <a:gd name="connsiteX52" fmla="*/ 1039939 w 2441576"/>
              <a:gd name="connsiteY52" fmla="*/ 901153 h 901154"/>
              <a:gd name="connsiteX53" fmla="*/ 969874 w 2441576"/>
              <a:gd name="connsiteY53" fmla="*/ 901153 h 901154"/>
              <a:gd name="connsiteX54" fmla="*/ 864820 w 2441576"/>
              <a:gd name="connsiteY54" fmla="*/ 901154 h 901154"/>
              <a:gd name="connsiteX55" fmla="*/ 755093 w 2441576"/>
              <a:gd name="connsiteY55" fmla="*/ 901153 h 901154"/>
              <a:gd name="connsiteX56" fmla="*/ 685028 w 2441576"/>
              <a:gd name="connsiteY56" fmla="*/ 901153 h 901154"/>
              <a:gd name="connsiteX57" fmla="*/ 581332 w 2441576"/>
              <a:gd name="connsiteY57" fmla="*/ 901153 h 901154"/>
              <a:gd name="connsiteX58" fmla="*/ 471351 w 2441576"/>
              <a:gd name="connsiteY58" fmla="*/ 901153 h 901154"/>
              <a:gd name="connsiteX59" fmla="*/ 470246 w 2441576"/>
              <a:gd name="connsiteY59" fmla="*/ 901153 h 901154"/>
              <a:gd name="connsiteX60" fmla="*/ 377080 w 2441576"/>
              <a:gd name="connsiteY60" fmla="*/ 901153 h 901154"/>
              <a:gd name="connsiteX61" fmla="*/ 282811 w 2441576"/>
              <a:gd name="connsiteY61" fmla="*/ 901153 h 901154"/>
              <a:gd name="connsiteX62" fmla="*/ 188541 w 2441576"/>
              <a:gd name="connsiteY62" fmla="*/ 901153 h 901154"/>
              <a:gd name="connsiteX63" fmla="*/ 185400 w 2441576"/>
              <a:gd name="connsiteY63" fmla="*/ 901153 h 901154"/>
              <a:gd name="connsiteX64" fmla="*/ 94270 w 2441576"/>
              <a:gd name="connsiteY64" fmla="*/ 901153 h 901154"/>
              <a:gd name="connsiteX65" fmla="*/ 0 w 2441576"/>
              <a:gd name="connsiteY65" fmla="*/ 901153 h 901154"/>
              <a:gd name="connsiteX66" fmla="*/ 0 w 2441576"/>
              <a:gd name="connsiteY66" fmla="*/ 832545 h 901154"/>
              <a:gd name="connsiteX67" fmla="*/ 0 w 2441576"/>
              <a:gd name="connsiteY67" fmla="*/ 760507 h 901154"/>
              <a:gd name="connsiteX68" fmla="*/ 0 w 2441576"/>
              <a:gd name="connsiteY68" fmla="*/ 691899 h 901154"/>
              <a:gd name="connsiteX69" fmla="*/ 0 w 2441576"/>
              <a:gd name="connsiteY69" fmla="*/ 608455 h 901154"/>
              <a:gd name="connsiteX70" fmla="*/ 0 w 2441576"/>
              <a:gd name="connsiteY70" fmla="*/ 539847 h 901154"/>
              <a:gd name="connsiteX71" fmla="*/ 0 w 2441576"/>
              <a:gd name="connsiteY71" fmla="*/ 456403 h 901154"/>
              <a:gd name="connsiteX72" fmla="*/ 0 w 2441576"/>
              <a:gd name="connsiteY72" fmla="*/ 387795 h 901154"/>
              <a:gd name="connsiteX73" fmla="*/ 0 w 2441576"/>
              <a:gd name="connsiteY73" fmla="*/ 304351 h 901154"/>
              <a:gd name="connsiteX74" fmla="*/ 0 w 2441576"/>
              <a:gd name="connsiteY74" fmla="*/ 235743 h 901154"/>
              <a:gd name="connsiteX75" fmla="*/ 0 w 2441576"/>
              <a:gd name="connsiteY75" fmla="*/ 152299 h 901154"/>
              <a:gd name="connsiteX76" fmla="*/ 0 w 2441576"/>
              <a:gd name="connsiteY76" fmla="*/ 83691 h 901154"/>
              <a:gd name="connsiteX77" fmla="*/ 0 w 2441576"/>
              <a:gd name="connsiteY77" fmla="*/ 247 h 901154"/>
              <a:gd name="connsiteX0" fmla="*/ 0 w 2441576"/>
              <a:gd name="connsiteY0" fmla="*/ 247 h 901154"/>
              <a:gd name="connsiteX1" fmla="*/ 94270 w 2441576"/>
              <a:gd name="connsiteY1" fmla="*/ 247 h 901154"/>
              <a:gd name="connsiteX2" fmla="*/ 185400 w 2441576"/>
              <a:gd name="connsiteY2" fmla="*/ 247 h 901154"/>
              <a:gd name="connsiteX3" fmla="*/ 188541 w 2441576"/>
              <a:gd name="connsiteY3" fmla="*/ 247 h 901154"/>
              <a:gd name="connsiteX4" fmla="*/ 282811 w 2441576"/>
              <a:gd name="connsiteY4" fmla="*/ 247 h 901154"/>
              <a:gd name="connsiteX5" fmla="*/ 377080 w 2441576"/>
              <a:gd name="connsiteY5" fmla="*/ 247 h 901154"/>
              <a:gd name="connsiteX6" fmla="*/ 470246 w 2441576"/>
              <a:gd name="connsiteY6" fmla="*/ 247 h 901154"/>
              <a:gd name="connsiteX7" fmla="*/ 471351 w 2441576"/>
              <a:gd name="connsiteY7" fmla="*/ 247 h 901154"/>
              <a:gd name="connsiteX8" fmla="*/ 581332 w 2441576"/>
              <a:gd name="connsiteY8" fmla="*/ 247 h 901154"/>
              <a:gd name="connsiteX9" fmla="*/ 685028 w 2441576"/>
              <a:gd name="connsiteY9" fmla="*/ 247 h 901154"/>
              <a:gd name="connsiteX10" fmla="*/ 755093 w 2441576"/>
              <a:gd name="connsiteY10" fmla="*/ 247 h 901154"/>
              <a:gd name="connsiteX11" fmla="*/ 969874 w 2441576"/>
              <a:gd name="connsiteY11" fmla="*/ 247 h 901154"/>
              <a:gd name="connsiteX12" fmla="*/ 1039939 w 2441576"/>
              <a:gd name="connsiteY12" fmla="*/ 247 h 901154"/>
              <a:gd name="connsiteX13" fmla="*/ 1146839 w 2441576"/>
              <a:gd name="connsiteY13" fmla="*/ 1 h 901154"/>
              <a:gd name="connsiteX14" fmla="*/ 1254721 w 2441576"/>
              <a:gd name="connsiteY14" fmla="*/ 247 h 901154"/>
              <a:gd name="connsiteX15" fmla="*/ 1324785 w 2441576"/>
              <a:gd name="connsiteY15" fmla="*/ 247 h 901154"/>
              <a:gd name="connsiteX16" fmla="*/ 1430031 w 2441576"/>
              <a:gd name="connsiteY16" fmla="*/ 0 h 901154"/>
              <a:gd name="connsiteX17" fmla="*/ 1539566 w 2441576"/>
              <a:gd name="connsiteY17" fmla="*/ 247 h 901154"/>
              <a:gd name="connsiteX18" fmla="*/ 1609632 w 2441576"/>
              <a:gd name="connsiteY18" fmla="*/ 247 h 901154"/>
              <a:gd name="connsiteX19" fmla="*/ 1707946 w 2441576"/>
              <a:gd name="connsiteY19" fmla="*/ 1 h 901154"/>
              <a:gd name="connsiteX20" fmla="*/ 1824412 w 2441576"/>
              <a:gd name="connsiteY20" fmla="*/ 247 h 901154"/>
              <a:gd name="connsiteX21" fmla="*/ 1941949 w 2441576"/>
              <a:gd name="connsiteY21" fmla="*/ 247 h 901154"/>
              <a:gd name="connsiteX22" fmla="*/ 2094866 w 2441576"/>
              <a:gd name="connsiteY22" fmla="*/ 247 h 901154"/>
              <a:gd name="connsiteX23" fmla="*/ 2176781 w 2441576"/>
              <a:gd name="connsiteY23" fmla="*/ 247 h 901154"/>
              <a:gd name="connsiteX24" fmla="*/ 2258696 w 2441576"/>
              <a:gd name="connsiteY24" fmla="*/ 247 h 901154"/>
              <a:gd name="connsiteX25" fmla="*/ 2321561 w 2441576"/>
              <a:gd name="connsiteY25" fmla="*/ 247 h 901154"/>
              <a:gd name="connsiteX26" fmla="*/ 2441576 w 2441576"/>
              <a:gd name="connsiteY26" fmla="*/ 247 h 901154"/>
              <a:gd name="connsiteX27" fmla="*/ 2441576 w 2441576"/>
              <a:gd name="connsiteY27" fmla="*/ 83691 h 901154"/>
              <a:gd name="connsiteX28" fmla="*/ 2441576 w 2441576"/>
              <a:gd name="connsiteY28" fmla="*/ 152299 h 901154"/>
              <a:gd name="connsiteX29" fmla="*/ 2441576 w 2441576"/>
              <a:gd name="connsiteY29" fmla="*/ 235743 h 901154"/>
              <a:gd name="connsiteX30" fmla="*/ 2441576 w 2441576"/>
              <a:gd name="connsiteY30" fmla="*/ 304351 h 901154"/>
              <a:gd name="connsiteX31" fmla="*/ 2441576 w 2441576"/>
              <a:gd name="connsiteY31" fmla="*/ 387795 h 901154"/>
              <a:gd name="connsiteX32" fmla="*/ 2441576 w 2441576"/>
              <a:gd name="connsiteY32" fmla="*/ 456403 h 901154"/>
              <a:gd name="connsiteX33" fmla="*/ 2441576 w 2441576"/>
              <a:gd name="connsiteY33" fmla="*/ 539847 h 901154"/>
              <a:gd name="connsiteX34" fmla="*/ 2441576 w 2441576"/>
              <a:gd name="connsiteY34" fmla="*/ 608455 h 901154"/>
              <a:gd name="connsiteX35" fmla="*/ 2441576 w 2441576"/>
              <a:gd name="connsiteY35" fmla="*/ 691899 h 901154"/>
              <a:gd name="connsiteX36" fmla="*/ 2441576 w 2441576"/>
              <a:gd name="connsiteY36" fmla="*/ 760507 h 901154"/>
              <a:gd name="connsiteX37" fmla="*/ 2441576 w 2441576"/>
              <a:gd name="connsiteY37" fmla="*/ 832545 h 901154"/>
              <a:gd name="connsiteX38" fmla="*/ 2441576 w 2441576"/>
              <a:gd name="connsiteY38" fmla="*/ 901153 h 901154"/>
              <a:gd name="connsiteX39" fmla="*/ 2321561 w 2441576"/>
              <a:gd name="connsiteY39" fmla="*/ 901153 h 901154"/>
              <a:gd name="connsiteX40" fmla="*/ 2239646 w 2441576"/>
              <a:gd name="connsiteY40" fmla="*/ 901153 h 901154"/>
              <a:gd name="connsiteX41" fmla="*/ 2176781 w 2441576"/>
              <a:gd name="connsiteY41" fmla="*/ 901153 h 901154"/>
              <a:gd name="connsiteX42" fmla="*/ 2109259 w 2441576"/>
              <a:gd name="connsiteY42" fmla="*/ 901153 h 901154"/>
              <a:gd name="connsiteX43" fmla="*/ 2025730 w 2441576"/>
              <a:gd name="connsiteY43" fmla="*/ 901153 h 901154"/>
              <a:gd name="connsiteX44" fmla="*/ 1941949 w 2441576"/>
              <a:gd name="connsiteY44" fmla="*/ 901153 h 901154"/>
              <a:gd name="connsiteX45" fmla="*/ 1824412 w 2441576"/>
              <a:gd name="connsiteY45" fmla="*/ 901153 h 901154"/>
              <a:gd name="connsiteX46" fmla="*/ 1720844 w 2441576"/>
              <a:gd name="connsiteY46" fmla="*/ 901153 h 901154"/>
              <a:gd name="connsiteX47" fmla="*/ 1609632 w 2441576"/>
              <a:gd name="connsiteY47" fmla="*/ 901153 h 901154"/>
              <a:gd name="connsiteX48" fmla="*/ 1539566 w 2441576"/>
              <a:gd name="connsiteY48" fmla="*/ 901153 h 901154"/>
              <a:gd name="connsiteX49" fmla="*/ 1427685 w 2441576"/>
              <a:gd name="connsiteY49" fmla="*/ 901153 h 901154"/>
              <a:gd name="connsiteX50" fmla="*/ 1324785 w 2441576"/>
              <a:gd name="connsiteY50" fmla="*/ 901153 h 901154"/>
              <a:gd name="connsiteX51" fmla="*/ 1254721 w 2441576"/>
              <a:gd name="connsiteY51" fmla="*/ 901153 h 901154"/>
              <a:gd name="connsiteX52" fmla="*/ 1146253 w 2441576"/>
              <a:gd name="connsiteY52" fmla="*/ 901153 h 901154"/>
              <a:gd name="connsiteX53" fmla="*/ 1039939 w 2441576"/>
              <a:gd name="connsiteY53" fmla="*/ 901153 h 901154"/>
              <a:gd name="connsiteX54" fmla="*/ 969874 w 2441576"/>
              <a:gd name="connsiteY54" fmla="*/ 901153 h 901154"/>
              <a:gd name="connsiteX55" fmla="*/ 864820 w 2441576"/>
              <a:gd name="connsiteY55" fmla="*/ 901154 h 901154"/>
              <a:gd name="connsiteX56" fmla="*/ 755093 w 2441576"/>
              <a:gd name="connsiteY56" fmla="*/ 901153 h 901154"/>
              <a:gd name="connsiteX57" fmla="*/ 685028 w 2441576"/>
              <a:gd name="connsiteY57" fmla="*/ 901153 h 901154"/>
              <a:gd name="connsiteX58" fmla="*/ 581332 w 2441576"/>
              <a:gd name="connsiteY58" fmla="*/ 901153 h 901154"/>
              <a:gd name="connsiteX59" fmla="*/ 471351 w 2441576"/>
              <a:gd name="connsiteY59" fmla="*/ 901153 h 901154"/>
              <a:gd name="connsiteX60" fmla="*/ 470246 w 2441576"/>
              <a:gd name="connsiteY60" fmla="*/ 901153 h 901154"/>
              <a:gd name="connsiteX61" fmla="*/ 377080 w 2441576"/>
              <a:gd name="connsiteY61" fmla="*/ 901153 h 901154"/>
              <a:gd name="connsiteX62" fmla="*/ 282811 w 2441576"/>
              <a:gd name="connsiteY62" fmla="*/ 901153 h 901154"/>
              <a:gd name="connsiteX63" fmla="*/ 188541 w 2441576"/>
              <a:gd name="connsiteY63" fmla="*/ 901153 h 901154"/>
              <a:gd name="connsiteX64" fmla="*/ 185400 w 2441576"/>
              <a:gd name="connsiteY64" fmla="*/ 901153 h 901154"/>
              <a:gd name="connsiteX65" fmla="*/ 94270 w 2441576"/>
              <a:gd name="connsiteY65" fmla="*/ 901153 h 901154"/>
              <a:gd name="connsiteX66" fmla="*/ 0 w 2441576"/>
              <a:gd name="connsiteY66" fmla="*/ 901153 h 901154"/>
              <a:gd name="connsiteX67" fmla="*/ 0 w 2441576"/>
              <a:gd name="connsiteY67" fmla="*/ 832545 h 901154"/>
              <a:gd name="connsiteX68" fmla="*/ 0 w 2441576"/>
              <a:gd name="connsiteY68" fmla="*/ 760507 h 901154"/>
              <a:gd name="connsiteX69" fmla="*/ 0 w 2441576"/>
              <a:gd name="connsiteY69" fmla="*/ 691899 h 901154"/>
              <a:gd name="connsiteX70" fmla="*/ 0 w 2441576"/>
              <a:gd name="connsiteY70" fmla="*/ 608455 h 901154"/>
              <a:gd name="connsiteX71" fmla="*/ 0 w 2441576"/>
              <a:gd name="connsiteY71" fmla="*/ 539847 h 901154"/>
              <a:gd name="connsiteX72" fmla="*/ 0 w 2441576"/>
              <a:gd name="connsiteY72" fmla="*/ 456403 h 901154"/>
              <a:gd name="connsiteX73" fmla="*/ 0 w 2441576"/>
              <a:gd name="connsiteY73" fmla="*/ 387795 h 901154"/>
              <a:gd name="connsiteX74" fmla="*/ 0 w 2441576"/>
              <a:gd name="connsiteY74" fmla="*/ 304351 h 901154"/>
              <a:gd name="connsiteX75" fmla="*/ 0 w 2441576"/>
              <a:gd name="connsiteY75" fmla="*/ 235743 h 901154"/>
              <a:gd name="connsiteX76" fmla="*/ 0 w 2441576"/>
              <a:gd name="connsiteY76" fmla="*/ 152299 h 901154"/>
              <a:gd name="connsiteX77" fmla="*/ 0 w 2441576"/>
              <a:gd name="connsiteY77" fmla="*/ 83691 h 901154"/>
              <a:gd name="connsiteX78" fmla="*/ 0 w 2441576"/>
              <a:gd name="connsiteY78" fmla="*/ 247 h 901154"/>
              <a:gd name="connsiteX0" fmla="*/ 0 w 2441576"/>
              <a:gd name="connsiteY0" fmla="*/ 247 h 901154"/>
              <a:gd name="connsiteX1" fmla="*/ 94270 w 2441576"/>
              <a:gd name="connsiteY1" fmla="*/ 247 h 901154"/>
              <a:gd name="connsiteX2" fmla="*/ 185400 w 2441576"/>
              <a:gd name="connsiteY2" fmla="*/ 247 h 901154"/>
              <a:gd name="connsiteX3" fmla="*/ 188541 w 2441576"/>
              <a:gd name="connsiteY3" fmla="*/ 247 h 901154"/>
              <a:gd name="connsiteX4" fmla="*/ 282811 w 2441576"/>
              <a:gd name="connsiteY4" fmla="*/ 247 h 901154"/>
              <a:gd name="connsiteX5" fmla="*/ 377080 w 2441576"/>
              <a:gd name="connsiteY5" fmla="*/ 247 h 901154"/>
              <a:gd name="connsiteX6" fmla="*/ 470246 w 2441576"/>
              <a:gd name="connsiteY6" fmla="*/ 247 h 901154"/>
              <a:gd name="connsiteX7" fmla="*/ 471351 w 2441576"/>
              <a:gd name="connsiteY7" fmla="*/ 247 h 901154"/>
              <a:gd name="connsiteX8" fmla="*/ 581332 w 2441576"/>
              <a:gd name="connsiteY8" fmla="*/ 247 h 901154"/>
              <a:gd name="connsiteX9" fmla="*/ 685028 w 2441576"/>
              <a:gd name="connsiteY9" fmla="*/ 247 h 901154"/>
              <a:gd name="connsiteX10" fmla="*/ 755093 w 2441576"/>
              <a:gd name="connsiteY10" fmla="*/ 247 h 901154"/>
              <a:gd name="connsiteX11" fmla="*/ 860129 w 2441576"/>
              <a:gd name="connsiteY11" fmla="*/ 1 h 901154"/>
              <a:gd name="connsiteX12" fmla="*/ 969874 w 2441576"/>
              <a:gd name="connsiteY12" fmla="*/ 247 h 901154"/>
              <a:gd name="connsiteX13" fmla="*/ 1039939 w 2441576"/>
              <a:gd name="connsiteY13" fmla="*/ 247 h 901154"/>
              <a:gd name="connsiteX14" fmla="*/ 1146839 w 2441576"/>
              <a:gd name="connsiteY14" fmla="*/ 1 h 901154"/>
              <a:gd name="connsiteX15" fmla="*/ 1254721 w 2441576"/>
              <a:gd name="connsiteY15" fmla="*/ 247 h 901154"/>
              <a:gd name="connsiteX16" fmla="*/ 1324785 w 2441576"/>
              <a:gd name="connsiteY16" fmla="*/ 247 h 901154"/>
              <a:gd name="connsiteX17" fmla="*/ 1430031 w 2441576"/>
              <a:gd name="connsiteY17" fmla="*/ 0 h 901154"/>
              <a:gd name="connsiteX18" fmla="*/ 1539566 w 2441576"/>
              <a:gd name="connsiteY18" fmla="*/ 247 h 901154"/>
              <a:gd name="connsiteX19" fmla="*/ 1609632 w 2441576"/>
              <a:gd name="connsiteY19" fmla="*/ 247 h 901154"/>
              <a:gd name="connsiteX20" fmla="*/ 1707946 w 2441576"/>
              <a:gd name="connsiteY20" fmla="*/ 1 h 901154"/>
              <a:gd name="connsiteX21" fmla="*/ 1824412 w 2441576"/>
              <a:gd name="connsiteY21" fmla="*/ 247 h 901154"/>
              <a:gd name="connsiteX22" fmla="*/ 1941949 w 2441576"/>
              <a:gd name="connsiteY22" fmla="*/ 247 h 901154"/>
              <a:gd name="connsiteX23" fmla="*/ 2094866 w 2441576"/>
              <a:gd name="connsiteY23" fmla="*/ 247 h 901154"/>
              <a:gd name="connsiteX24" fmla="*/ 2176781 w 2441576"/>
              <a:gd name="connsiteY24" fmla="*/ 247 h 901154"/>
              <a:gd name="connsiteX25" fmla="*/ 2258696 w 2441576"/>
              <a:gd name="connsiteY25" fmla="*/ 247 h 901154"/>
              <a:gd name="connsiteX26" fmla="*/ 2321561 w 2441576"/>
              <a:gd name="connsiteY26" fmla="*/ 247 h 901154"/>
              <a:gd name="connsiteX27" fmla="*/ 2441576 w 2441576"/>
              <a:gd name="connsiteY27" fmla="*/ 247 h 901154"/>
              <a:gd name="connsiteX28" fmla="*/ 2441576 w 2441576"/>
              <a:gd name="connsiteY28" fmla="*/ 83691 h 901154"/>
              <a:gd name="connsiteX29" fmla="*/ 2441576 w 2441576"/>
              <a:gd name="connsiteY29" fmla="*/ 152299 h 901154"/>
              <a:gd name="connsiteX30" fmla="*/ 2441576 w 2441576"/>
              <a:gd name="connsiteY30" fmla="*/ 235743 h 901154"/>
              <a:gd name="connsiteX31" fmla="*/ 2441576 w 2441576"/>
              <a:gd name="connsiteY31" fmla="*/ 304351 h 901154"/>
              <a:gd name="connsiteX32" fmla="*/ 2441576 w 2441576"/>
              <a:gd name="connsiteY32" fmla="*/ 387795 h 901154"/>
              <a:gd name="connsiteX33" fmla="*/ 2441576 w 2441576"/>
              <a:gd name="connsiteY33" fmla="*/ 456403 h 901154"/>
              <a:gd name="connsiteX34" fmla="*/ 2441576 w 2441576"/>
              <a:gd name="connsiteY34" fmla="*/ 539847 h 901154"/>
              <a:gd name="connsiteX35" fmla="*/ 2441576 w 2441576"/>
              <a:gd name="connsiteY35" fmla="*/ 608455 h 901154"/>
              <a:gd name="connsiteX36" fmla="*/ 2441576 w 2441576"/>
              <a:gd name="connsiteY36" fmla="*/ 691899 h 901154"/>
              <a:gd name="connsiteX37" fmla="*/ 2441576 w 2441576"/>
              <a:gd name="connsiteY37" fmla="*/ 760507 h 901154"/>
              <a:gd name="connsiteX38" fmla="*/ 2441576 w 2441576"/>
              <a:gd name="connsiteY38" fmla="*/ 832545 h 901154"/>
              <a:gd name="connsiteX39" fmla="*/ 2441576 w 2441576"/>
              <a:gd name="connsiteY39" fmla="*/ 901153 h 901154"/>
              <a:gd name="connsiteX40" fmla="*/ 2321561 w 2441576"/>
              <a:gd name="connsiteY40" fmla="*/ 901153 h 901154"/>
              <a:gd name="connsiteX41" fmla="*/ 2239646 w 2441576"/>
              <a:gd name="connsiteY41" fmla="*/ 901153 h 901154"/>
              <a:gd name="connsiteX42" fmla="*/ 2176781 w 2441576"/>
              <a:gd name="connsiteY42" fmla="*/ 901153 h 901154"/>
              <a:gd name="connsiteX43" fmla="*/ 2109259 w 2441576"/>
              <a:gd name="connsiteY43" fmla="*/ 901153 h 901154"/>
              <a:gd name="connsiteX44" fmla="*/ 2025730 w 2441576"/>
              <a:gd name="connsiteY44" fmla="*/ 901153 h 901154"/>
              <a:gd name="connsiteX45" fmla="*/ 1941949 w 2441576"/>
              <a:gd name="connsiteY45" fmla="*/ 901153 h 901154"/>
              <a:gd name="connsiteX46" fmla="*/ 1824412 w 2441576"/>
              <a:gd name="connsiteY46" fmla="*/ 901153 h 901154"/>
              <a:gd name="connsiteX47" fmla="*/ 1720844 w 2441576"/>
              <a:gd name="connsiteY47" fmla="*/ 901153 h 901154"/>
              <a:gd name="connsiteX48" fmla="*/ 1609632 w 2441576"/>
              <a:gd name="connsiteY48" fmla="*/ 901153 h 901154"/>
              <a:gd name="connsiteX49" fmla="*/ 1539566 w 2441576"/>
              <a:gd name="connsiteY49" fmla="*/ 901153 h 901154"/>
              <a:gd name="connsiteX50" fmla="*/ 1427685 w 2441576"/>
              <a:gd name="connsiteY50" fmla="*/ 901153 h 901154"/>
              <a:gd name="connsiteX51" fmla="*/ 1324785 w 2441576"/>
              <a:gd name="connsiteY51" fmla="*/ 901153 h 901154"/>
              <a:gd name="connsiteX52" fmla="*/ 1254721 w 2441576"/>
              <a:gd name="connsiteY52" fmla="*/ 901153 h 901154"/>
              <a:gd name="connsiteX53" fmla="*/ 1146253 w 2441576"/>
              <a:gd name="connsiteY53" fmla="*/ 901153 h 901154"/>
              <a:gd name="connsiteX54" fmla="*/ 1039939 w 2441576"/>
              <a:gd name="connsiteY54" fmla="*/ 901153 h 901154"/>
              <a:gd name="connsiteX55" fmla="*/ 969874 w 2441576"/>
              <a:gd name="connsiteY55" fmla="*/ 901153 h 901154"/>
              <a:gd name="connsiteX56" fmla="*/ 864820 w 2441576"/>
              <a:gd name="connsiteY56" fmla="*/ 901154 h 901154"/>
              <a:gd name="connsiteX57" fmla="*/ 755093 w 2441576"/>
              <a:gd name="connsiteY57" fmla="*/ 901153 h 901154"/>
              <a:gd name="connsiteX58" fmla="*/ 685028 w 2441576"/>
              <a:gd name="connsiteY58" fmla="*/ 901153 h 901154"/>
              <a:gd name="connsiteX59" fmla="*/ 581332 w 2441576"/>
              <a:gd name="connsiteY59" fmla="*/ 901153 h 901154"/>
              <a:gd name="connsiteX60" fmla="*/ 471351 w 2441576"/>
              <a:gd name="connsiteY60" fmla="*/ 901153 h 901154"/>
              <a:gd name="connsiteX61" fmla="*/ 470246 w 2441576"/>
              <a:gd name="connsiteY61" fmla="*/ 901153 h 901154"/>
              <a:gd name="connsiteX62" fmla="*/ 377080 w 2441576"/>
              <a:gd name="connsiteY62" fmla="*/ 901153 h 901154"/>
              <a:gd name="connsiteX63" fmla="*/ 282811 w 2441576"/>
              <a:gd name="connsiteY63" fmla="*/ 901153 h 901154"/>
              <a:gd name="connsiteX64" fmla="*/ 188541 w 2441576"/>
              <a:gd name="connsiteY64" fmla="*/ 901153 h 901154"/>
              <a:gd name="connsiteX65" fmla="*/ 185400 w 2441576"/>
              <a:gd name="connsiteY65" fmla="*/ 901153 h 901154"/>
              <a:gd name="connsiteX66" fmla="*/ 94270 w 2441576"/>
              <a:gd name="connsiteY66" fmla="*/ 901153 h 901154"/>
              <a:gd name="connsiteX67" fmla="*/ 0 w 2441576"/>
              <a:gd name="connsiteY67" fmla="*/ 901153 h 901154"/>
              <a:gd name="connsiteX68" fmla="*/ 0 w 2441576"/>
              <a:gd name="connsiteY68" fmla="*/ 832545 h 901154"/>
              <a:gd name="connsiteX69" fmla="*/ 0 w 2441576"/>
              <a:gd name="connsiteY69" fmla="*/ 760507 h 901154"/>
              <a:gd name="connsiteX70" fmla="*/ 0 w 2441576"/>
              <a:gd name="connsiteY70" fmla="*/ 691899 h 901154"/>
              <a:gd name="connsiteX71" fmla="*/ 0 w 2441576"/>
              <a:gd name="connsiteY71" fmla="*/ 608455 h 901154"/>
              <a:gd name="connsiteX72" fmla="*/ 0 w 2441576"/>
              <a:gd name="connsiteY72" fmla="*/ 539847 h 901154"/>
              <a:gd name="connsiteX73" fmla="*/ 0 w 2441576"/>
              <a:gd name="connsiteY73" fmla="*/ 456403 h 901154"/>
              <a:gd name="connsiteX74" fmla="*/ 0 w 2441576"/>
              <a:gd name="connsiteY74" fmla="*/ 387795 h 901154"/>
              <a:gd name="connsiteX75" fmla="*/ 0 w 2441576"/>
              <a:gd name="connsiteY75" fmla="*/ 304351 h 901154"/>
              <a:gd name="connsiteX76" fmla="*/ 0 w 2441576"/>
              <a:gd name="connsiteY76" fmla="*/ 235743 h 901154"/>
              <a:gd name="connsiteX77" fmla="*/ 0 w 2441576"/>
              <a:gd name="connsiteY77" fmla="*/ 152299 h 901154"/>
              <a:gd name="connsiteX78" fmla="*/ 0 w 2441576"/>
              <a:gd name="connsiteY78" fmla="*/ 83691 h 901154"/>
              <a:gd name="connsiteX79" fmla="*/ 0 w 2441576"/>
              <a:gd name="connsiteY79" fmla="*/ 247 h 901154"/>
              <a:gd name="connsiteX0" fmla="*/ 0 w 2441576"/>
              <a:gd name="connsiteY0" fmla="*/ 247 h 901154"/>
              <a:gd name="connsiteX1" fmla="*/ 94270 w 2441576"/>
              <a:gd name="connsiteY1" fmla="*/ 247 h 901154"/>
              <a:gd name="connsiteX2" fmla="*/ 185400 w 2441576"/>
              <a:gd name="connsiteY2" fmla="*/ 247 h 901154"/>
              <a:gd name="connsiteX3" fmla="*/ 188541 w 2441576"/>
              <a:gd name="connsiteY3" fmla="*/ 247 h 901154"/>
              <a:gd name="connsiteX4" fmla="*/ 282811 w 2441576"/>
              <a:gd name="connsiteY4" fmla="*/ 247 h 901154"/>
              <a:gd name="connsiteX5" fmla="*/ 377080 w 2441576"/>
              <a:gd name="connsiteY5" fmla="*/ 247 h 901154"/>
              <a:gd name="connsiteX6" fmla="*/ 470246 w 2441576"/>
              <a:gd name="connsiteY6" fmla="*/ 247 h 901154"/>
              <a:gd name="connsiteX7" fmla="*/ 581332 w 2441576"/>
              <a:gd name="connsiteY7" fmla="*/ 247 h 901154"/>
              <a:gd name="connsiteX8" fmla="*/ 685028 w 2441576"/>
              <a:gd name="connsiteY8" fmla="*/ 247 h 901154"/>
              <a:gd name="connsiteX9" fmla="*/ 755093 w 2441576"/>
              <a:gd name="connsiteY9" fmla="*/ 247 h 901154"/>
              <a:gd name="connsiteX10" fmla="*/ 860129 w 2441576"/>
              <a:gd name="connsiteY10" fmla="*/ 1 h 901154"/>
              <a:gd name="connsiteX11" fmla="*/ 969874 w 2441576"/>
              <a:gd name="connsiteY11" fmla="*/ 247 h 901154"/>
              <a:gd name="connsiteX12" fmla="*/ 1039939 w 2441576"/>
              <a:gd name="connsiteY12" fmla="*/ 247 h 901154"/>
              <a:gd name="connsiteX13" fmla="*/ 1146839 w 2441576"/>
              <a:gd name="connsiteY13" fmla="*/ 1 h 901154"/>
              <a:gd name="connsiteX14" fmla="*/ 1254721 w 2441576"/>
              <a:gd name="connsiteY14" fmla="*/ 247 h 901154"/>
              <a:gd name="connsiteX15" fmla="*/ 1324785 w 2441576"/>
              <a:gd name="connsiteY15" fmla="*/ 247 h 901154"/>
              <a:gd name="connsiteX16" fmla="*/ 1430031 w 2441576"/>
              <a:gd name="connsiteY16" fmla="*/ 0 h 901154"/>
              <a:gd name="connsiteX17" fmla="*/ 1539566 w 2441576"/>
              <a:gd name="connsiteY17" fmla="*/ 247 h 901154"/>
              <a:gd name="connsiteX18" fmla="*/ 1609632 w 2441576"/>
              <a:gd name="connsiteY18" fmla="*/ 247 h 901154"/>
              <a:gd name="connsiteX19" fmla="*/ 1707946 w 2441576"/>
              <a:gd name="connsiteY19" fmla="*/ 1 h 901154"/>
              <a:gd name="connsiteX20" fmla="*/ 1824412 w 2441576"/>
              <a:gd name="connsiteY20" fmla="*/ 247 h 901154"/>
              <a:gd name="connsiteX21" fmla="*/ 1941949 w 2441576"/>
              <a:gd name="connsiteY21" fmla="*/ 247 h 901154"/>
              <a:gd name="connsiteX22" fmla="*/ 2094866 w 2441576"/>
              <a:gd name="connsiteY22" fmla="*/ 247 h 901154"/>
              <a:gd name="connsiteX23" fmla="*/ 2176781 w 2441576"/>
              <a:gd name="connsiteY23" fmla="*/ 247 h 901154"/>
              <a:gd name="connsiteX24" fmla="*/ 2258696 w 2441576"/>
              <a:gd name="connsiteY24" fmla="*/ 247 h 901154"/>
              <a:gd name="connsiteX25" fmla="*/ 2321561 w 2441576"/>
              <a:gd name="connsiteY25" fmla="*/ 247 h 901154"/>
              <a:gd name="connsiteX26" fmla="*/ 2441576 w 2441576"/>
              <a:gd name="connsiteY26" fmla="*/ 247 h 901154"/>
              <a:gd name="connsiteX27" fmla="*/ 2441576 w 2441576"/>
              <a:gd name="connsiteY27" fmla="*/ 83691 h 901154"/>
              <a:gd name="connsiteX28" fmla="*/ 2441576 w 2441576"/>
              <a:gd name="connsiteY28" fmla="*/ 152299 h 901154"/>
              <a:gd name="connsiteX29" fmla="*/ 2441576 w 2441576"/>
              <a:gd name="connsiteY29" fmla="*/ 235743 h 901154"/>
              <a:gd name="connsiteX30" fmla="*/ 2441576 w 2441576"/>
              <a:gd name="connsiteY30" fmla="*/ 304351 h 901154"/>
              <a:gd name="connsiteX31" fmla="*/ 2441576 w 2441576"/>
              <a:gd name="connsiteY31" fmla="*/ 387795 h 901154"/>
              <a:gd name="connsiteX32" fmla="*/ 2441576 w 2441576"/>
              <a:gd name="connsiteY32" fmla="*/ 456403 h 901154"/>
              <a:gd name="connsiteX33" fmla="*/ 2441576 w 2441576"/>
              <a:gd name="connsiteY33" fmla="*/ 539847 h 901154"/>
              <a:gd name="connsiteX34" fmla="*/ 2441576 w 2441576"/>
              <a:gd name="connsiteY34" fmla="*/ 608455 h 901154"/>
              <a:gd name="connsiteX35" fmla="*/ 2441576 w 2441576"/>
              <a:gd name="connsiteY35" fmla="*/ 691899 h 901154"/>
              <a:gd name="connsiteX36" fmla="*/ 2441576 w 2441576"/>
              <a:gd name="connsiteY36" fmla="*/ 760507 h 901154"/>
              <a:gd name="connsiteX37" fmla="*/ 2441576 w 2441576"/>
              <a:gd name="connsiteY37" fmla="*/ 832545 h 901154"/>
              <a:gd name="connsiteX38" fmla="*/ 2441576 w 2441576"/>
              <a:gd name="connsiteY38" fmla="*/ 901153 h 901154"/>
              <a:gd name="connsiteX39" fmla="*/ 2321561 w 2441576"/>
              <a:gd name="connsiteY39" fmla="*/ 901153 h 901154"/>
              <a:gd name="connsiteX40" fmla="*/ 2239646 w 2441576"/>
              <a:gd name="connsiteY40" fmla="*/ 901153 h 901154"/>
              <a:gd name="connsiteX41" fmla="*/ 2176781 w 2441576"/>
              <a:gd name="connsiteY41" fmla="*/ 901153 h 901154"/>
              <a:gd name="connsiteX42" fmla="*/ 2109259 w 2441576"/>
              <a:gd name="connsiteY42" fmla="*/ 901153 h 901154"/>
              <a:gd name="connsiteX43" fmla="*/ 2025730 w 2441576"/>
              <a:gd name="connsiteY43" fmla="*/ 901153 h 901154"/>
              <a:gd name="connsiteX44" fmla="*/ 1941949 w 2441576"/>
              <a:gd name="connsiteY44" fmla="*/ 901153 h 901154"/>
              <a:gd name="connsiteX45" fmla="*/ 1824412 w 2441576"/>
              <a:gd name="connsiteY45" fmla="*/ 901153 h 901154"/>
              <a:gd name="connsiteX46" fmla="*/ 1720844 w 2441576"/>
              <a:gd name="connsiteY46" fmla="*/ 901153 h 901154"/>
              <a:gd name="connsiteX47" fmla="*/ 1609632 w 2441576"/>
              <a:gd name="connsiteY47" fmla="*/ 901153 h 901154"/>
              <a:gd name="connsiteX48" fmla="*/ 1539566 w 2441576"/>
              <a:gd name="connsiteY48" fmla="*/ 901153 h 901154"/>
              <a:gd name="connsiteX49" fmla="*/ 1427685 w 2441576"/>
              <a:gd name="connsiteY49" fmla="*/ 901153 h 901154"/>
              <a:gd name="connsiteX50" fmla="*/ 1324785 w 2441576"/>
              <a:gd name="connsiteY50" fmla="*/ 901153 h 901154"/>
              <a:gd name="connsiteX51" fmla="*/ 1254721 w 2441576"/>
              <a:gd name="connsiteY51" fmla="*/ 901153 h 901154"/>
              <a:gd name="connsiteX52" fmla="*/ 1146253 w 2441576"/>
              <a:gd name="connsiteY52" fmla="*/ 901153 h 901154"/>
              <a:gd name="connsiteX53" fmla="*/ 1039939 w 2441576"/>
              <a:gd name="connsiteY53" fmla="*/ 901153 h 901154"/>
              <a:gd name="connsiteX54" fmla="*/ 969874 w 2441576"/>
              <a:gd name="connsiteY54" fmla="*/ 901153 h 901154"/>
              <a:gd name="connsiteX55" fmla="*/ 864820 w 2441576"/>
              <a:gd name="connsiteY55" fmla="*/ 901154 h 901154"/>
              <a:gd name="connsiteX56" fmla="*/ 755093 w 2441576"/>
              <a:gd name="connsiteY56" fmla="*/ 901153 h 901154"/>
              <a:gd name="connsiteX57" fmla="*/ 685028 w 2441576"/>
              <a:gd name="connsiteY57" fmla="*/ 901153 h 901154"/>
              <a:gd name="connsiteX58" fmla="*/ 581332 w 2441576"/>
              <a:gd name="connsiteY58" fmla="*/ 901153 h 901154"/>
              <a:gd name="connsiteX59" fmla="*/ 471351 w 2441576"/>
              <a:gd name="connsiteY59" fmla="*/ 901153 h 901154"/>
              <a:gd name="connsiteX60" fmla="*/ 470246 w 2441576"/>
              <a:gd name="connsiteY60" fmla="*/ 901153 h 901154"/>
              <a:gd name="connsiteX61" fmla="*/ 377080 w 2441576"/>
              <a:gd name="connsiteY61" fmla="*/ 901153 h 901154"/>
              <a:gd name="connsiteX62" fmla="*/ 282811 w 2441576"/>
              <a:gd name="connsiteY62" fmla="*/ 901153 h 901154"/>
              <a:gd name="connsiteX63" fmla="*/ 188541 w 2441576"/>
              <a:gd name="connsiteY63" fmla="*/ 901153 h 901154"/>
              <a:gd name="connsiteX64" fmla="*/ 185400 w 2441576"/>
              <a:gd name="connsiteY64" fmla="*/ 901153 h 901154"/>
              <a:gd name="connsiteX65" fmla="*/ 94270 w 2441576"/>
              <a:gd name="connsiteY65" fmla="*/ 901153 h 901154"/>
              <a:gd name="connsiteX66" fmla="*/ 0 w 2441576"/>
              <a:gd name="connsiteY66" fmla="*/ 901153 h 901154"/>
              <a:gd name="connsiteX67" fmla="*/ 0 w 2441576"/>
              <a:gd name="connsiteY67" fmla="*/ 832545 h 901154"/>
              <a:gd name="connsiteX68" fmla="*/ 0 w 2441576"/>
              <a:gd name="connsiteY68" fmla="*/ 760507 h 901154"/>
              <a:gd name="connsiteX69" fmla="*/ 0 w 2441576"/>
              <a:gd name="connsiteY69" fmla="*/ 691899 h 901154"/>
              <a:gd name="connsiteX70" fmla="*/ 0 w 2441576"/>
              <a:gd name="connsiteY70" fmla="*/ 608455 h 901154"/>
              <a:gd name="connsiteX71" fmla="*/ 0 w 2441576"/>
              <a:gd name="connsiteY71" fmla="*/ 539847 h 901154"/>
              <a:gd name="connsiteX72" fmla="*/ 0 w 2441576"/>
              <a:gd name="connsiteY72" fmla="*/ 456403 h 901154"/>
              <a:gd name="connsiteX73" fmla="*/ 0 w 2441576"/>
              <a:gd name="connsiteY73" fmla="*/ 387795 h 901154"/>
              <a:gd name="connsiteX74" fmla="*/ 0 w 2441576"/>
              <a:gd name="connsiteY74" fmla="*/ 304351 h 901154"/>
              <a:gd name="connsiteX75" fmla="*/ 0 w 2441576"/>
              <a:gd name="connsiteY75" fmla="*/ 235743 h 901154"/>
              <a:gd name="connsiteX76" fmla="*/ 0 w 2441576"/>
              <a:gd name="connsiteY76" fmla="*/ 152299 h 901154"/>
              <a:gd name="connsiteX77" fmla="*/ 0 w 2441576"/>
              <a:gd name="connsiteY77" fmla="*/ 83691 h 901154"/>
              <a:gd name="connsiteX78" fmla="*/ 0 w 2441576"/>
              <a:gd name="connsiteY78" fmla="*/ 247 h 901154"/>
              <a:gd name="connsiteX0" fmla="*/ 0 w 2441576"/>
              <a:gd name="connsiteY0" fmla="*/ 247 h 901154"/>
              <a:gd name="connsiteX1" fmla="*/ 94270 w 2441576"/>
              <a:gd name="connsiteY1" fmla="*/ 247 h 901154"/>
              <a:gd name="connsiteX2" fmla="*/ 185400 w 2441576"/>
              <a:gd name="connsiteY2" fmla="*/ 247 h 901154"/>
              <a:gd name="connsiteX3" fmla="*/ 282811 w 2441576"/>
              <a:gd name="connsiteY3" fmla="*/ 247 h 901154"/>
              <a:gd name="connsiteX4" fmla="*/ 377080 w 2441576"/>
              <a:gd name="connsiteY4" fmla="*/ 247 h 901154"/>
              <a:gd name="connsiteX5" fmla="*/ 470246 w 2441576"/>
              <a:gd name="connsiteY5" fmla="*/ 247 h 901154"/>
              <a:gd name="connsiteX6" fmla="*/ 581332 w 2441576"/>
              <a:gd name="connsiteY6" fmla="*/ 247 h 901154"/>
              <a:gd name="connsiteX7" fmla="*/ 685028 w 2441576"/>
              <a:gd name="connsiteY7" fmla="*/ 247 h 901154"/>
              <a:gd name="connsiteX8" fmla="*/ 755093 w 2441576"/>
              <a:gd name="connsiteY8" fmla="*/ 247 h 901154"/>
              <a:gd name="connsiteX9" fmla="*/ 860129 w 2441576"/>
              <a:gd name="connsiteY9" fmla="*/ 1 h 901154"/>
              <a:gd name="connsiteX10" fmla="*/ 969874 w 2441576"/>
              <a:gd name="connsiteY10" fmla="*/ 247 h 901154"/>
              <a:gd name="connsiteX11" fmla="*/ 1039939 w 2441576"/>
              <a:gd name="connsiteY11" fmla="*/ 247 h 901154"/>
              <a:gd name="connsiteX12" fmla="*/ 1146839 w 2441576"/>
              <a:gd name="connsiteY12" fmla="*/ 1 h 901154"/>
              <a:gd name="connsiteX13" fmla="*/ 1254721 w 2441576"/>
              <a:gd name="connsiteY13" fmla="*/ 247 h 901154"/>
              <a:gd name="connsiteX14" fmla="*/ 1324785 w 2441576"/>
              <a:gd name="connsiteY14" fmla="*/ 247 h 901154"/>
              <a:gd name="connsiteX15" fmla="*/ 1430031 w 2441576"/>
              <a:gd name="connsiteY15" fmla="*/ 0 h 901154"/>
              <a:gd name="connsiteX16" fmla="*/ 1539566 w 2441576"/>
              <a:gd name="connsiteY16" fmla="*/ 247 h 901154"/>
              <a:gd name="connsiteX17" fmla="*/ 1609632 w 2441576"/>
              <a:gd name="connsiteY17" fmla="*/ 247 h 901154"/>
              <a:gd name="connsiteX18" fmla="*/ 1707946 w 2441576"/>
              <a:gd name="connsiteY18" fmla="*/ 1 h 901154"/>
              <a:gd name="connsiteX19" fmla="*/ 1824412 w 2441576"/>
              <a:gd name="connsiteY19" fmla="*/ 247 h 901154"/>
              <a:gd name="connsiteX20" fmla="*/ 1941949 w 2441576"/>
              <a:gd name="connsiteY20" fmla="*/ 247 h 901154"/>
              <a:gd name="connsiteX21" fmla="*/ 2094866 w 2441576"/>
              <a:gd name="connsiteY21" fmla="*/ 247 h 901154"/>
              <a:gd name="connsiteX22" fmla="*/ 2176781 w 2441576"/>
              <a:gd name="connsiteY22" fmla="*/ 247 h 901154"/>
              <a:gd name="connsiteX23" fmla="*/ 2258696 w 2441576"/>
              <a:gd name="connsiteY23" fmla="*/ 247 h 901154"/>
              <a:gd name="connsiteX24" fmla="*/ 2321561 w 2441576"/>
              <a:gd name="connsiteY24" fmla="*/ 247 h 901154"/>
              <a:gd name="connsiteX25" fmla="*/ 2441576 w 2441576"/>
              <a:gd name="connsiteY25" fmla="*/ 247 h 901154"/>
              <a:gd name="connsiteX26" fmla="*/ 2441576 w 2441576"/>
              <a:gd name="connsiteY26" fmla="*/ 83691 h 901154"/>
              <a:gd name="connsiteX27" fmla="*/ 2441576 w 2441576"/>
              <a:gd name="connsiteY27" fmla="*/ 152299 h 901154"/>
              <a:gd name="connsiteX28" fmla="*/ 2441576 w 2441576"/>
              <a:gd name="connsiteY28" fmla="*/ 235743 h 901154"/>
              <a:gd name="connsiteX29" fmla="*/ 2441576 w 2441576"/>
              <a:gd name="connsiteY29" fmla="*/ 304351 h 901154"/>
              <a:gd name="connsiteX30" fmla="*/ 2441576 w 2441576"/>
              <a:gd name="connsiteY30" fmla="*/ 387795 h 901154"/>
              <a:gd name="connsiteX31" fmla="*/ 2441576 w 2441576"/>
              <a:gd name="connsiteY31" fmla="*/ 456403 h 901154"/>
              <a:gd name="connsiteX32" fmla="*/ 2441576 w 2441576"/>
              <a:gd name="connsiteY32" fmla="*/ 539847 h 901154"/>
              <a:gd name="connsiteX33" fmla="*/ 2441576 w 2441576"/>
              <a:gd name="connsiteY33" fmla="*/ 608455 h 901154"/>
              <a:gd name="connsiteX34" fmla="*/ 2441576 w 2441576"/>
              <a:gd name="connsiteY34" fmla="*/ 691899 h 901154"/>
              <a:gd name="connsiteX35" fmla="*/ 2441576 w 2441576"/>
              <a:gd name="connsiteY35" fmla="*/ 760507 h 901154"/>
              <a:gd name="connsiteX36" fmla="*/ 2441576 w 2441576"/>
              <a:gd name="connsiteY36" fmla="*/ 832545 h 901154"/>
              <a:gd name="connsiteX37" fmla="*/ 2441576 w 2441576"/>
              <a:gd name="connsiteY37" fmla="*/ 901153 h 901154"/>
              <a:gd name="connsiteX38" fmla="*/ 2321561 w 2441576"/>
              <a:gd name="connsiteY38" fmla="*/ 901153 h 901154"/>
              <a:gd name="connsiteX39" fmla="*/ 2239646 w 2441576"/>
              <a:gd name="connsiteY39" fmla="*/ 901153 h 901154"/>
              <a:gd name="connsiteX40" fmla="*/ 2176781 w 2441576"/>
              <a:gd name="connsiteY40" fmla="*/ 901153 h 901154"/>
              <a:gd name="connsiteX41" fmla="*/ 2109259 w 2441576"/>
              <a:gd name="connsiteY41" fmla="*/ 901153 h 901154"/>
              <a:gd name="connsiteX42" fmla="*/ 2025730 w 2441576"/>
              <a:gd name="connsiteY42" fmla="*/ 901153 h 901154"/>
              <a:gd name="connsiteX43" fmla="*/ 1941949 w 2441576"/>
              <a:gd name="connsiteY43" fmla="*/ 901153 h 901154"/>
              <a:gd name="connsiteX44" fmla="*/ 1824412 w 2441576"/>
              <a:gd name="connsiteY44" fmla="*/ 901153 h 901154"/>
              <a:gd name="connsiteX45" fmla="*/ 1720844 w 2441576"/>
              <a:gd name="connsiteY45" fmla="*/ 901153 h 901154"/>
              <a:gd name="connsiteX46" fmla="*/ 1609632 w 2441576"/>
              <a:gd name="connsiteY46" fmla="*/ 901153 h 901154"/>
              <a:gd name="connsiteX47" fmla="*/ 1539566 w 2441576"/>
              <a:gd name="connsiteY47" fmla="*/ 901153 h 901154"/>
              <a:gd name="connsiteX48" fmla="*/ 1427685 w 2441576"/>
              <a:gd name="connsiteY48" fmla="*/ 901153 h 901154"/>
              <a:gd name="connsiteX49" fmla="*/ 1324785 w 2441576"/>
              <a:gd name="connsiteY49" fmla="*/ 901153 h 901154"/>
              <a:gd name="connsiteX50" fmla="*/ 1254721 w 2441576"/>
              <a:gd name="connsiteY50" fmla="*/ 901153 h 901154"/>
              <a:gd name="connsiteX51" fmla="*/ 1146253 w 2441576"/>
              <a:gd name="connsiteY51" fmla="*/ 901153 h 901154"/>
              <a:gd name="connsiteX52" fmla="*/ 1039939 w 2441576"/>
              <a:gd name="connsiteY52" fmla="*/ 901153 h 901154"/>
              <a:gd name="connsiteX53" fmla="*/ 969874 w 2441576"/>
              <a:gd name="connsiteY53" fmla="*/ 901153 h 901154"/>
              <a:gd name="connsiteX54" fmla="*/ 864820 w 2441576"/>
              <a:gd name="connsiteY54" fmla="*/ 901154 h 901154"/>
              <a:gd name="connsiteX55" fmla="*/ 755093 w 2441576"/>
              <a:gd name="connsiteY55" fmla="*/ 901153 h 901154"/>
              <a:gd name="connsiteX56" fmla="*/ 685028 w 2441576"/>
              <a:gd name="connsiteY56" fmla="*/ 901153 h 901154"/>
              <a:gd name="connsiteX57" fmla="*/ 581332 w 2441576"/>
              <a:gd name="connsiteY57" fmla="*/ 901153 h 901154"/>
              <a:gd name="connsiteX58" fmla="*/ 471351 w 2441576"/>
              <a:gd name="connsiteY58" fmla="*/ 901153 h 901154"/>
              <a:gd name="connsiteX59" fmla="*/ 470246 w 2441576"/>
              <a:gd name="connsiteY59" fmla="*/ 901153 h 901154"/>
              <a:gd name="connsiteX60" fmla="*/ 377080 w 2441576"/>
              <a:gd name="connsiteY60" fmla="*/ 901153 h 901154"/>
              <a:gd name="connsiteX61" fmla="*/ 282811 w 2441576"/>
              <a:gd name="connsiteY61" fmla="*/ 901153 h 901154"/>
              <a:gd name="connsiteX62" fmla="*/ 188541 w 2441576"/>
              <a:gd name="connsiteY62" fmla="*/ 901153 h 901154"/>
              <a:gd name="connsiteX63" fmla="*/ 185400 w 2441576"/>
              <a:gd name="connsiteY63" fmla="*/ 901153 h 901154"/>
              <a:gd name="connsiteX64" fmla="*/ 94270 w 2441576"/>
              <a:gd name="connsiteY64" fmla="*/ 901153 h 901154"/>
              <a:gd name="connsiteX65" fmla="*/ 0 w 2441576"/>
              <a:gd name="connsiteY65" fmla="*/ 901153 h 901154"/>
              <a:gd name="connsiteX66" fmla="*/ 0 w 2441576"/>
              <a:gd name="connsiteY66" fmla="*/ 832545 h 901154"/>
              <a:gd name="connsiteX67" fmla="*/ 0 w 2441576"/>
              <a:gd name="connsiteY67" fmla="*/ 760507 h 901154"/>
              <a:gd name="connsiteX68" fmla="*/ 0 w 2441576"/>
              <a:gd name="connsiteY68" fmla="*/ 691899 h 901154"/>
              <a:gd name="connsiteX69" fmla="*/ 0 w 2441576"/>
              <a:gd name="connsiteY69" fmla="*/ 608455 h 901154"/>
              <a:gd name="connsiteX70" fmla="*/ 0 w 2441576"/>
              <a:gd name="connsiteY70" fmla="*/ 539847 h 901154"/>
              <a:gd name="connsiteX71" fmla="*/ 0 w 2441576"/>
              <a:gd name="connsiteY71" fmla="*/ 456403 h 901154"/>
              <a:gd name="connsiteX72" fmla="*/ 0 w 2441576"/>
              <a:gd name="connsiteY72" fmla="*/ 387795 h 901154"/>
              <a:gd name="connsiteX73" fmla="*/ 0 w 2441576"/>
              <a:gd name="connsiteY73" fmla="*/ 304351 h 901154"/>
              <a:gd name="connsiteX74" fmla="*/ 0 w 2441576"/>
              <a:gd name="connsiteY74" fmla="*/ 235743 h 901154"/>
              <a:gd name="connsiteX75" fmla="*/ 0 w 2441576"/>
              <a:gd name="connsiteY75" fmla="*/ 152299 h 901154"/>
              <a:gd name="connsiteX76" fmla="*/ 0 w 2441576"/>
              <a:gd name="connsiteY76" fmla="*/ 83691 h 901154"/>
              <a:gd name="connsiteX77" fmla="*/ 0 w 2441576"/>
              <a:gd name="connsiteY77" fmla="*/ 247 h 901154"/>
              <a:gd name="connsiteX0" fmla="*/ 0 w 2441576"/>
              <a:gd name="connsiteY0" fmla="*/ 247 h 901154"/>
              <a:gd name="connsiteX1" fmla="*/ 94270 w 2441576"/>
              <a:gd name="connsiteY1" fmla="*/ 247 h 901154"/>
              <a:gd name="connsiteX2" fmla="*/ 185400 w 2441576"/>
              <a:gd name="connsiteY2" fmla="*/ 247 h 901154"/>
              <a:gd name="connsiteX3" fmla="*/ 282811 w 2441576"/>
              <a:gd name="connsiteY3" fmla="*/ 247 h 901154"/>
              <a:gd name="connsiteX4" fmla="*/ 377080 w 2441576"/>
              <a:gd name="connsiteY4" fmla="*/ 247 h 901154"/>
              <a:gd name="connsiteX5" fmla="*/ 470246 w 2441576"/>
              <a:gd name="connsiteY5" fmla="*/ 247 h 901154"/>
              <a:gd name="connsiteX6" fmla="*/ 581332 w 2441576"/>
              <a:gd name="connsiteY6" fmla="*/ 247 h 901154"/>
              <a:gd name="connsiteX7" fmla="*/ 685028 w 2441576"/>
              <a:gd name="connsiteY7" fmla="*/ 247 h 901154"/>
              <a:gd name="connsiteX8" fmla="*/ 755093 w 2441576"/>
              <a:gd name="connsiteY8" fmla="*/ 247 h 901154"/>
              <a:gd name="connsiteX9" fmla="*/ 860129 w 2441576"/>
              <a:gd name="connsiteY9" fmla="*/ 1 h 901154"/>
              <a:gd name="connsiteX10" fmla="*/ 969874 w 2441576"/>
              <a:gd name="connsiteY10" fmla="*/ 247 h 901154"/>
              <a:gd name="connsiteX11" fmla="*/ 1039939 w 2441576"/>
              <a:gd name="connsiteY11" fmla="*/ 247 h 901154"/>
              <a:gd name="connsiteX12" fmla="*/ 1146839 w 2441576"/>
              <a:gd name="connsiteY12" fmla="*/ 1 h 901154"/>
              <a:gd name="connsiteX13" fmla="*/ 1254721 w 2441576"/>
              <a:gd name="connsiteY13" fmla="*/ 247 h 901154"/>
              <a:gd name="connsiteX14" fmla="*/ 1324785 w 2441576"/>
              <a:gd name="connsiteY14" fmla="*/ 247 h 901154"/>
              <a:gd name="connsiteX15" fmla="*/ 1430031 w 2441576"/>
              <a:gd name="connsiteY15" fmla="*/ 0 h 901154"/>
              <a:gd name="connsiteX16" fmla="*/ 1539566 w 2441576"/>
              <a:gd name="connsiteY16" fmla="*/ 247 h 901154"/>
              <a:gd name="connsiteX17" fmla="*/ 1609632 w 2441576"/>
              <a:gd name="connsiteY17" fmla="*/ 247 h 901154"/>
              <a:gd name="connsiteX18" fmla="*/ 1707946 w 2441576"/>
              <a:gd name="connsiteY18" fmla="*/ 1 h 901154"/>
              <a:gd name="connsiteX19" fmla="*/ 1824412 w 2441576"/>
              <a:gd name="connsiteY19" fmla="*/ 247 h 901154"/>
              <a:gd name="connsiteX20" fmla="*/ 1941949 w 2441576"/>
              <a:gd name="connsiteY20" fmla="*/ 247 h 901154"/>
              <a:gd name="connsiteX21" fmla="*/ 2094866 w 2441576"/>
              <a:gd name="connsiteY21" fmla="*/ 247 h 901154"/>
              <a:gd name="connsiteX22" fmla="*/ 2176781 w 2441576"/>
              <a:gd name="connsiteY22" fmla="*/ 247 h 901154"/>
              <a:gd name="connsiteX23" fmla="*/ 2258696 w 2441576"/>
              <a:gd name="connsiteY23" fmla="*/ 247 h 901154"/>
              <a:gd name="connsiteX24" fmla="*/ 2321561 w 2441576"/>
              <a:gd name="connsiteY24" fmla="*/ 247 h 901154"/>
              <a:gd name="connsiteX25" fmla="*/ 2441576 w 2441576"/>
              <a:gd name="connsiteY25" fmla="*/ 247 h 901154"/>
              <a:gd name="connsiteX26" fmla="*/ 2441576 w 2441576"/>
              <a:gd name="connsiteY26" fmla="*/ 83691 h 901154"/>
              <a:gd name="connsiteX27" fmla="*/ 2441576 w 2441576"/>
              <a:gd name="connsiteY27" fmla="*/ 152299 h 901154"/>
              <a:gd name="connsiteX28" fmla="*/ 2441576 w 2441576"/>
              <a:gd name="connsiteY28" fmla="*/ 235743 h 901154"/>
              <a:gd name="connsiteX29" fmla="*/ 2441576 w 2441576"/>
              <a:gd name="connsiteY29" fmla="*/ 304351 h 901154"/>
              <a:gd name="connsiteX30" fmla="*/ 2441576 w 2441576"/>
              <a:gd name="connsiteY30" fmla="*/ 387795 h 901154"/>
              <a:gd name="connsiteX31" fmla="*/ 2441576 w 2441576"/>
              <a:gd name="connsiteY31" fmla="*/ 456403 h 901154"/>
              <a:gd name="connsiteX32" fmla="*/ 2441576 w 2441576"/>
              <a:gd name="connsiteY32" fmla="*/ 539847 h 901154"/>
              <a:gd name="connsiteX33" fmla="*/ 2441576 w 2441576"/>
              <a:gd name="connsiteY33" fmla="*/ 608455 h 901154"/>
              <a:gd name="connsiteX34" fmla="*/ 2441576 w 2441576"/>
              <a:gd name="connsiteY34" fmla="*/ 691899 h 901154"/>
              <a:gd name="connsiteX35" fmla="*/ 2441576 w 2441576"/>
              <a:gd name="connsiteY35" fmla="*/ 760507 h 901154"/>
              <a:gd name="connsiteX36" fmla="*/ 2441576 w 2441576"/>
              <a:gd name="connsiteY36" fmla="*/ 832545 h 901154"/>
              <a:gd name="connsiteX37" fmla="*/ 2441576 w 2441576"/>
              <a:gd name="connsiteY37" fmla="*/ 901153 h 901154"/>
              <a:gd name="connsiteX38" fmla="*/ 2321561 w 2441576"/>
              <a:gd name="connsiteY38" fmla="*/ 901153 h 901154"/>
              <a:gd name="connsiteX39" fmla="*/ 2239646 w 2441576"/>
              <a:gd name="connsiteY39" fmla="*/ 901153 h 901154"/>
              <a:gd name="connsiteX40" fmla="*/ 2176781 w 2441576"/>
              <a:gd name="connsiteY40" fmla="*/ 901153 h 901154"/>
              <a:gd name="connsiteX41" fmla="*/ 2109259 w 2441576"/>
              <a:gd name="connsiteY41" fmla="*/ 901153 h 901154"/>
              <a:gd name="connsiteX42" fmla="*/ 2025730 w 2441576"/>
              <a:gd name="connsiteY42" fmla="*/ 901153 h 901154"/>
              <a:gd name="connsiteX43" fmla="*/ 1941949 w 2441576"/>
              <a:gd name="connsiteY43" fmla="*/ 901153 h 901154"/>
              <a:gd name="connsiteX44" fmla="*/ 1824412 w 2441576"/>
              <a:gd name="connsiteY44" fmla="*/ 901153 h 901154"/>
              <a:gd name="connsiteX45" fmla="*/ 1720844 w 2441576"/>
              <a:gd name="connsiteY45" fmla="*/ 901153 h 901154"/>
              <a:gd name="connsiteX46" fmla="*/ 1609632 w 2441576"/>
              <a:gd name="connsiteY46" fmla="*/ 901153 h 901154"/>
              <a:gd name="connsiteX47" fmla="*/ 1539566 w 2441576"/>
              <a:gd name="connsiteY47" fmla="*/ 901153 h 901154"/>
              <a:gd name="connsiteX48" fmla="*/ 1427685 w 2441576"/>
              <a:gd name="connsiteY48" fmla="*/ 901153 h 901154"/>
              <a:gd name="connsiteX49" fmla="*/ 1324785 w 2441576"/>
              <a:gd name="connsiteY49" fmla="*/ 901153 h 901154"/>
              <a:gd name="connsiteX50" fmla="*/ 1254721 w 2441576"/>
              <a:gd name="connsiteY50" fmla="*/ 901153 h 901154"/>
              <a:gd name="connsiteX51" fmla="*/ 1146253 w 2441576"/>
              <a:gd name="connsiteY51" fmla="*/ 901153 h 901154"/>
              <a:gd name="connsiteX52" fmla="*/ 1039939 w 2441576"/>
              <a:gd name="connsiteY52" fmla="*/ 901153 h 901154"/>
              <a:gd name="connsiteX53" fmla="*/ 969874 w 2441576"/>
              <a:gd name="connsiteY53" fmla="*/ 901153 h 901154"/>
              <a:gd name="connsiteX54" fmla="*/ 864820 w 2441576"/>
              <a:gd name="connsiteY54" fmla="*/ 901154 h 901154"/>
              <a:gd name="connsiteX55" fmla="*/ 755093 w 2441576"/>
              <a:gd name="connsiteY55" fmla="*/ 901153 h 901154"/>
              <a:gd name="connsiteX56" fmla="*/ 685028 w 2441576"/>
              <a:gd name="connsiteY56" fmla="*/ 901153 h 901154"/>
              <a:gd name="connsiteX57" fmla="*/ 581332 w 2441576"/>
              <a:gd name="connsiteY57" fmla="*/ 901153 h 901154"/>
              <a:gd name="connsiteX58" fmla="*/ 471351 w 2441576"/>
              <a:gd name="connsiteY58" fmla="*/ 901153 h 901154"/>
              <a:gd name="connsiteX59" fmla="*/ 470246 w 2441576"/>
              <a:gd name="connsiteY59" fmla="*/ 901153 h 901154"/>
              <a:gd name="connsiteX60" fmla="*/ 377080 w 2441576"/>
              <a:gd name="connsiteY60" fmla="*/ 901153 h 901154"/>
              <a:gd name="connsiteX61" fmla="*/ 282811 w 2441576"/>
              <a:gd name="connsiteY61" fmla="*/ 901153 h 901154"/>
              <a:gd name="connsiteX62" fmla="*/ 185400 w 2441576"/>
              <a:gd name="connsiteY62" fmla="*/ 901153 h 901154"/>
              <a:gd name="connsiteX63" fmla="*/ 94270 w 2441576"/>
              <a:gd name="connsiteY63" fmla="*/ 901153 h 901154"/>
              <a:gd name="connsiteX64" fmla="*/ 0 w 2441576"/>
              <a:gd name="connsiteY64" fmla="*/ 901153 h 901154"/>
              <a:gd name="connsiteX65" fmla="*/ 0 w 2441576"/>
              <a:gd name="connsiteY65" fmla="*/ 832545 h 901154"/>
              <a:gd name="connsiteX66" fmla="*/ 0 w 2441576"/>
              <a:gd name="connsiteY66" fmla="*/ 760507 h 901154"/>
              <a:gd name="connsiteX67" fmla="*/ 0 w 2441576"/>
              <a:gd name="connsiteY67" fmla="*/ 691899 h 901154"/>
              <a:gd name="connsiteX68" fmla="*/ 0 w 2441576"/>
              <a:gd name="connsiteY68" fmla="*/ 608455 h 901154"/>
              <a:gd name="connsiteX69" fmla="*/ 0 w 2441576"/>
              <a:gd name="connsiteY69" fmla="*/ 539847 h 901154"/>
              <a:gd name="connsiteX70" fmla="*/ 0 w 2441576"/>
              <a:gd name="connsiteY70" fmla="*/ 456403 h 901154"/>
              <a:gd name="connsiteX71" fmla="*/ 0 w 2441576"/>
              <a:gd name="connsiteY71" fmla="*/ 387795 h 901154"/>
              <a:gd name="connsiteX72" fmla="*/ 0 w 2441576"/>
              <a:gd name="connsiteY72" fmla="*/ 304351 h 901154"/>
              <a:gd name="connsiteX73" fmla="*/ 0 w 2441576"/>
              <a:gd name="connsiteY73" fmla="*/ 235743 h 901154"/>
              <a:gd name="connsiteX74" fmla="*/ 0 w 2441576"/>
              <a:gd name="connsiteY74" fmla="*/ 152299 h 901154"/>
              <a:gd name="connsiteX75" fmla="*/ 0 w 2441576"/>
              <a:gd name="connsiteY75" fmla="*/ 83691 h 901154"/>
              <a:gd name="connsiteX76" fmla="*/ 0 w 2441576"/>
              <a:gd name="connsiteY76" fmla="*/ 247 h 901154"/>
              <a:gd name="connsiteX0" fmla="*/ 0 w 2441576"/>
              <a:gd name="connsiteY0" fmla="*/ 247 h 1193517"/>
              <a:gd name="connsiteX1" fmla="*/ 94270 w 2441576"/>
              <a:gd name="connsiteY1" fmla="*/ 247 h 1193517"/>
              <a:gd name="connsiteX2" fmla="*/ 185400 w 2441576"/>
              <a:gd name="connsiteY2" fmla="*/ 247 h 1193517"/>
              <a:gd name="connsiteX3" fmla="*/ 282811 w 2441576"/>
              <a:gd name="connsiteY3" fmla="*/ 247 h 1193517"/>
              <a:gd name="connsiteX4" fmla="*/ 377080 w 2441576"/>
              <a:gd name="connsiteY4" fmla="*/ 247 h 1193517"/>
              <a:gd name="connsiteX5" fmla="*/ 470246 w 2441576"/>
              <a:gd name="connsiteY5" fmla="*/ 247 h 1193517"/>
              <a:gd name="connsiteX6" fmla="*/ 581332 w 2441576"/>
              <a:gd name="connsiteY6" fmla="*/ 247 h 1193517"/>
              <a:gd name="connsiteX7" fmla="*/ 685028 w 2441576"/>
              <a:gd name="connsiteY7" fmla="*/ 247 h 1193517"/>
              <a:gd name="connsiteX8" fmla="*/ 755093 w 2441576"/>
              <a:gd name="connsiteY8" fmla="*/ 247 h 1193517"/>
              <a:gd name="connsiteX9" fmla="*/ 860129 w 2441576"/>
              <a:gd name="connsiteY9" fmla="*/ 1 h 1193517"/>
              <a:gd name="connsiteX10" fmla="*/ 969874 w 2441576"/>
              <a:gd name="connsiteY10" fmla="*/ 247 h 1193517"/>
              <a:gd name="connsiteX11" fmla="*/ 1039939 w 2441576"/>
              <a:gd name="connsiteY11" fmla="*/ 247 h 1193517"/>
              <a:gd name="connsiteX12" fmla="*/ 1146839 w 2441576"/>
              <a:gd name="connsiteY12" fmla="*/ 1 h 1193517"/>
              <a:gd name="connsiteX13" fmla="*/ 1254721 w 2441576"/>
              <a:gd name="connsiteY13" fmla="*/ 247 h 1193517"/>
              <a:gd name="connsiteX14" fmla="*/ 1324785 w 2441576"/>
              <a:gd name="connsiteY14" fmla="*/ 247 h 1193517"/>
              <a:gd name="connsiteX15" fmla="*/ 1430031 w 2441576"/>
              <a:gd name="connsiteY15" fmla="*/ 0 h 1193517"/>
              <a:gd name="connsiteX16" fmla="*/ 1539566 w 2441576"/>
              <a:gd name="connsiteY16" fmla="*/ 247 h 1193517"/>
              <a:gd name="connsiteX17" fmla="*/ 1609632 w 2441576"/>
              <a:gd name="connsiteY17" fmla="*/ 247 h 1193517"/>
              <a:gd name="connsiteX18" fmla="*/ 1707946 w 2441576"/>
              <a:gd name="connsiteY18" fmla="*/ 1 h 1193517"/>
              <a:gd name="connsiteX19" fmla="*/ 1824412 w 2441576"/>
              <a:gd name="connsiteY19" fmla="*/ 247 h 1193517"/>
              <a:gd name="connsiteX20" fmla="*/ 1941949 w 2441576"/>
              <a:gd name="connsiteY20" fmla="*/ 247 h 1193517"/>
              <a:gd name="connsiteX21" fmla="*/ 2094866 w 2441576"/>
              <a:gd name="connsiteY21" fmla="*/ 247 h 1193517"/>
              <a:gd name="connsiteX22" fmla="*/ 2176781 w 2441576"/>
              <a:gd name="connsiteY22" fmla="*/ 247 h 1193517"/>
              <a:gd name="connsiteX23" fmla="*/ 2258696 w 2441576"/>
              <a:gd name="connsiteY23" fmla="*/ 247 h 1193517"/>
              <a:gd name="connsiteX24" fmla="*/ 2321561 w 2441576"/>
              <a:gd name="connsiteY24" fmla="*/ 247 h 1193517"/>
              <a:gd name="connsiteX25" fmla="*/ 2441576 w 2441576"/>
              <a:gd name="connsiteY25" fmla="*/ 247 h 1193517"/>
              <a:gd name="connsiteX26" fmla="*/ 2441576 w 2441576"/>
              <a:gd name="connsiteY26" fmla="*/ 83691 h 1193517"/>
              <a:gd name="connsiteX27" fmla="*/ 2441576 w 2441576"/>
              <a:gd name="connsiteY27" fmla="*/ 152299 h 1193517"/>
              <a:gd name="connsiteX28" fmla="*/ 2441576 w 2441576"/>
              <a:gd name="connsiteY28" fmla="*/ 235743 h 1193517"/>
              <a:gd name="connsiteX29" fmla="*/ 2441576 w 2441576"/>
              <a:gd name="connsiteY29" fmla="*/ 304351 h 1193517"/>
              <a:gd name="connsiteX30" fmla="*/ 2441576 w 2441576"/>
              <a:gd name="connsiteY30" fmla="*/ 387795 h 1193517"/>
              <a:gd name="connsiteX31" fmla="*/ 2441576 w 2441576"/>
              <a:gd name="connsiteY31" fmla="*/ 456403 h 1193517"/>
              <a:gd name="connsiteX32" fmla="*/ 2441576 w 2441576"/>
              <a:gd name="connsiteY32" fmla="*/ 539847 h 1193517"/>
              <a:gd name="connsiteX33" fmla="*/ 2441576 w 2441576"/>
              <a:gd name="connsiteY33" fmla="*/ 608455 h 1193517"/>
              <a:gd name="connsiteX34" fmla="*/ 2441576 w 2441576"/>
              <a:gd name="connsiteY34" fmla="*/ 691899 h 1193517"/>
              <a:gd name="connsiteX35" fmla="*/ 2441576 w 2441576"/>
              <a:gd name="connsiteY35" fmla="*/ 760507 h 1193517"/>
              <a:gd name="connsiteX36" fmla="*/ 2441576 w 2441576"/>
              <a:gd name="connsiteY36" fmla="*/ 832545 h 1193517"/>
              <a:gd name="connsiteX37" fmla="*/ 2441576 w 2441576"/>
              <a:gd name="connsiteY37" fmla="*/ 901153 h 1193517"/>
              <a:gd name="connsiteX38" fmla="*/ 2321561 w 2441576"/>
              <a:gd name="connsiteY38" fmla="*/ 901153 h 1193517"/>
              <a:gd name="connsiteX39" fmla="*/ 2239646 w 2441576"/>
              <a:gd name="connsiteY39" fmla="*/ 901153 h 1193517"/>
              <a:gd name="connsiteX40" fmla="*/ 2176781 w 2441576"/>
              <a:gd name="connsiteY40" fmla="*/ 901153 h 1193517"/>
              <a:gd name="connsiteX41" fmla="*/ 2109259 w 2441576"/>
              <a:gd name="connsiteY41" fmla="*/ 901153 h 1193517"/>
              <a:gd name="connsiteX42" fmla="*/ 2025730 w 2441576"/>
              <a:gd name="connsiteY42" fmla="*/ 901153 h 1193517"/>
              <a:gd name="connsiteX43" fmla="*/ 1941949 w 2441576"/>
              <a:gd name="connsiteY43" fmla="*/ 901153 h 1193517"/>
              <a:gd name="connsiteX44" fmla="*/ 1824412 w 2441576"/>
              <a:gd name="connsiteY44" fmla="*/ 901153 h 1193517"/>
              <a:gd name="connsiteX45" fmla="*/ 1720844 w 2441576"/>
              <a:gd name="connsiteY45" fmla="*/ 901153 h 1193517"/>
              <a:gd name="connsiteX46" fmla="*/ 1829119 w 2441576"/>
              <a:gd name="connsiteY46" fmla="*/ 1193517 h 1193517"/>
              <a:gd name="connsiteX47" fmla="*/ 1539566 w 2441576"/>
              <a:gd name="connsiteY47" fmla="*/ 901153 h 1193517"/>
              <a:gd name="connsiteX48" fmla="*/ 1427685 w 2441576"/>
              <a:gd name="connsiteY48" fmla="*/ 901153 h 1193517"/>
              <a:gd name="connsiteX49" fmla="*/ 1324785 w 2441576"/>
              <a:gd name="connsiteY49" fmla="*/ 901153 h 1193517"/>
              <a:gd name="connsiteX50" fmla="*/ 1254721 w 2441576"/>
              <a:gd name="connsiteY50" fmla="*/ 901153 h 1193517"/>
              <a:gd name="connsiteX51" fmla="*/ 1146253 w 2441576"/>
              <a:gd name="connsiteY51" fmla="*/ 901153 h 1193517"/>
              <a:gd name="connsiteX52" fmla="*/ 1039939 w 2441576"/>
              <a:gd name="connsiteY52" fmla="*/ 901153 h 1193517"/>
              <a:gd name="connsiteX53" fmla="*/ 969874 w 2441576"/>
              <a:gd name="connsiteY53" fmla="*/ 901153 h 1193517"/>
              <a:gd name="connsiteX54" fmla="*/ 864820 w 2441576"/>
              <a:gd name="connsiteY54" fmla="*/ 901154 h 1193517"/>
              <a:gd name="connsiteX55" fmla="*/ 755093 w 2441576"/>
              <a:gd name="connsiteY55" fmla="*/ 901153 h 1193517"/>
              <a:gd name="connsiteX56" fmla="*/ 685028 w 2441576"/>
              <a:gd name="connsiteY56" fmla="*/ 901153 h 1193517"/>
              <a:gd name="connsiteX57" fmla="*/ 581332 w 2441576"/>
              <a:gd name="connsiteY57" fmla="*/ 901153 h 1193517"/>
              <a:gd name="connsiteX58" fmla="*/ 471351 w 2441576"/>
              <a:gd name="connsiteY58" fmla="*/ 901153 h 1193517"/>
              <a:gd name="connsiteX59" fmla="*/ 470246 w 2441576"/>
              <a:gd name="connsiteY59" fmla="*/ 901153 h 1193517"/>
              <a:gd name="connsiteX60" fmla="*/ 377080 w 2441576"/>
              <a:gd name="connsiteY60" fmla="*/ 901153 h 1193517"/>
              <a:gd name="connsiteX61" fmla="*/ 282811 w 2441576"/>
              <a:gd name="connsiteY61" fmla="*/ 901153 h 1193517"/>
              <a:gd name="connsiteX62" fmla="*/ 185400 w 2441576"/>
              <a:gd name="connsiteY62" fmla="*/ 901153 h 1193517"/>
              <a:gd name="connsiteX63" fmla="*/ 94270 w 2441576"/>
              <a:gd name="connsiteY63" fmla="*/ 901153 h 1193517"/>
              <a:gd name="connsiteX64" fmla="*/ 0 w 2441576"/>
              <a:gd name="connsiteY64" fmla="*/ 901153 h 1193517"/>
              <a:gd name="connsiteX65" fmla="*/ 0 w 2441576"/>
              <a:gd name="connsiteY65" fmla="*/ 832545 h 1193517"/>
              <a:gd name="connsiteX66" fmla="*/ 0 w 2441576"/>
              <a:gd name="connsiteY66" fmla="*/ 760507 h 1193517"/>
              <a:gd name="connsiteX67" fmla="*/ 0 w 2441576"/>
              <a:gd name="connsiteY67" fmla="*/ 691899 h 1193517"/>
              <a:gd name="connsiteX68" fmla="*/ 0 w 2441576"/>
              <a:gd name="connsiteY68" fmla="*/ 608455 h 1193517"/>
              <a:gd name="connsiteX69" fmla="*/ 0 w 2441576"/>
              <a:gd name="connsiteY69" fmla="*/ 539847 h 1193517"/>
              <a:gd name="connsiteX70" fmla="*/ 0 w 2441576"/>
              <a:gd name="connsiteY70" fmla="*/ 456403 h 1193517"/>
              <a:gd name="connsiteX71" fmla="*/ 0 w 2441576"/>
              <a:gd name="connsiteY71" fmla="*/ 387795 h 1193517"/>
              <a:gd name="connsiteX72" fmla="*/ 0 w 2441576"/>
              <a:gd name="connsiteY72" fmla="*/ 304351 h 1193517"/>
              <a:gd name="connsiteX73" fmla="*/ 0 w 2441576"/>
              <a:gd name="connsiteY73" fmla="*/ 235743 h 1193517"/>
              <a:gd name="connsiteX74" fmla="*/ 0 w 2441576"/>
              <a:gd name="connsiteY74" fmla="*/ 152299 h 1193517"/>
              <a:gd name="connsiteX75" fmla="*/ 0 w 2441576"/>
              <a:gd name="connsiteY75" fmla="*/ 83691 h 1193517"/>
              <a:gd name="connsiteX76" fmla="*/ 0 w 2441576"/>
              <a:gd name="connsiteY76" fmla="*/ 247 h 11935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2441576" h="1193517">
                <a:moveTo>
                  <a:pt x="0" y="247"/>
                </a:moveTo>
                <a:lnTo>
                  <a:pt x="94270" y="247"/>
                </a:lnTo>
                <a:lnTo>
                  <a:pt x="185400" y="247"/>
                </a:lnTo>
                <a:lnTo>
                  <a:pt x="282811" y="247"/>
                </a:lnTo>
                <a:lnTo>
                  <a:pt x="377080" y="247"/>
                </a:lnTo>
                <a:lnTo>
                  <a:pt x="470246" y="247"/>
                </a:lnTo>
                <a:lnTo>
                  <a:pt x="581332" y="247"/>
                </a:lnTo>
                <a:lnTo>
                  <a:pt x="685028" y="247"/>
                </a:lnTo>
                <a:lnTo>
                  <a:pt x="755093" y="247"/>
                </a:lnTo>
                <a:lnTo>
                  <a:pt x="860129" y="1"/>
                </a:lnTo>
                <a:lnTo>
                  <a:pt x="969874" y="247"/>
                </a:lnTo>
                <a:lnTo>
                  <a:pt x="1039939" y="247"/>
                </a:lnTo>
                <a:lnTo>
                  <a:pt x="1146839" y="1"/>
                </a:lnTo>
                <a:lnTo>
                  <a:pt x="1254721" y="247"/>
                </a:lnTo>
                <a:lnTo>
                  <a:pt x="1324785" y="247"/>
                </a:lnTo>
                <a:lnTo>
                  <a:pt x="1430031" y="0"/>
                </a:lnTo>
                <a:lnTo>
                  <a:pt x="1539566" y="247"/>
                </a:lnTo>
                <a:lnTo>
                  <a:pt x="1609632" y="247"/>
                </a:lnTo>
                <a:lnTo>
                  <a:pt x="1707946" y="1"/>
                </a:lnTo>
                <a:lnTo>
                  <a:pt x="1824412" y="247"/>
                </a:lnTo>
                <a:lnTo>
                  <a:pt x="1941949" y="247"/>
                </a:lnTo>
                <a:lnTo>
                  <a:pt x="2094866" y="247"/>
                </a:lnTo>
                <a:lnTo>
                  <a:pt x="2176781" y="247"/>
                </a:lnTo>
                <a:lnTo>
                  <a:pt x="2258696" y="247"/>
                </a:lnTo>
                <a:lnTo>
                  <a:pt x="2321561" y="247"/>
                </a:lnTo>
                <a:lnTo>
                  <a:pt x="2441576" y="247"/>
                </a:lnTo>
                <a:lnTo>
                  <a:pt x="2441576" y="83691"/>
                </a:lnTo>
                <a:lnTo>
                  <a:pt x="2441576" y="152299"/>
                </a:lnTo>
                <a:lnTo>
                  <a:pt x="2441576" y="235743"/>
                </a:lnTo>
                <a:lnTo>
                  <a:pt x="2441576" y="304351"/>
                </a:lnTo>
                <a:lnTo>
                  <a:pt x="2441576" y="387795"/>
                </a:lnTo>
                <a:lnTo>
                  <a:pt x="2441576" y="456403"/>
                </a:lnTo>
                <a:lnTo>
                  <a:pt x="2441576" y="539847"/>
                </a:lnTo>
                <a:lnTo>
                  <a:pt x="2441576" y="608455"/>
                </a:lnTo>
                <a:lnTo>
                  <a:pt x="2441576" y="691899"/>
                </a:lnTo>
                <a:lnTo>
                  <a:pt x="2441576" y="760507"/>
                </a:lnTo>
                <a:lnTo>
                  <a:pt x="2441576" y="832545"/>
                </a:lnTo>
                <a:lnTo>
                  <a:pt x="2441576" y="901153"/>
                </a:lnTo>
                <a:lnTo>
                  <a:pt x="2321561" y="901153"/>
                </a:lnTo>
                <a:lnTo>
                  <a:pt x="2239646" y="901153"/>
                </a:lnTo>
                <a:lnTo>
                  <a:pt x="2176781" y="901153"/>
                </a:lnTo>
                <a:lnTo>
                  <a:pt x="2109259" y="901153"/>
                </a:lnTo>
                <a:lnTo>
                  <a:pt x="2025730" y="901153"/>
                </a:lnTo>
                <a:lnTo>
                  <a:pt x="1941949" y="901153"/>
                </a:lnTo>
                <a:lnTo>
                  <a:pt x="1824412" y="901153"/>
                </a:lnTo>
                <a:lnTo>
                  <a:pt x="1720844" y="901153"/>
                </a:lnTo>
                <a:lnTo>
                  <a:pt x="1829119" y="1193517"/>
                </a:lnTo>
                <a:lnTo>
                  <a:pt x="1539566" y="901153"/>
                </a:lnTo>
                <a:lnTo>
                  <a:pt x="1427685" y="901153"/>
                </a:lnTo>
                <a:lnTo>
                  <a:pt x="1324785" y="901153"/>
                </a:lnTo>
                <a:lnTo>
                  <a:pt x="1254721" y="901153"/>
                </a:lnTo>
                <a:lnTo>
                  <a:pt x="1146253" y="901153"/>
                </a:lnTo>
                <a:lnTo>
                  <a:pt x="1039939" y="901153"/>
                </a:lnTo>
                <a:lnTo>
                  <a:pt x="969874" y="901153"/>
                </a:lnTo>
                <a:lnTo>
                  <a:pt x="864820" y="901154"/>
                </a:lnTo>
                <a:lnTo>
                  <a:pt x="755093" y="901153"/>
                </a:lnTo>
                <a:lnTo>
                  <a:pt x="685028" y="901153"/>
                </a:lnTo>
                <a:lnTo>
                  <a:pt x="581332" y="901153"/>
                </a:lnTo>
                <a:lnTo>
                  <a:pt x="471351" y="901153"/>
                </a:lnTo>
                <a:lnTo>
                  <a:pt x="470246" y="901153"/>
                </a:lnTo>
                <a:lnTo>
                  <a:pt x="377080" y="901153"/>
                </a:lnTo>
                <a:lnTo>
                  <a:pt x="282811" y="901153"/>
                </a:lnTo>
                <a:lnTo>
                  <a:pt x="185400" y="901153"/>
                </a:lnTo>
                <a:lnTo>
                  <a:pt x="94270" y="901153"/>
                </a:lnTo>
                <a:lnTo>
                  <a:pt x="0" y="901153"/>
                </a:lnTo>
                <a:lnTo>
                  <a:pt x="0" y="832545"/>
                </a:lnTo>
                <a:lnTo>
                  <a:pt x="0" y="760507"/>
                </a:lnTo>
                <a:lnTo>
                  <a:pt x="0" y="691899"/>
                </a:lnTo>
                <a:lnTo>
                  <a:pt x="0" y="608455"/>
                </a:lnTo>
                <a:lnTo>
                  <a:pt x="0" y="539847"/>
                </a:lnTo>
                <a:lnTo>
                  <a:pt x="0" y="456403"/>
                </a:lnTo>
                <a:lnTo>
                  <a:pt x="0" y="387795"/>
                </a:lnTo>
                <a:lnTo>
                  <a:pt x="0" y="304351"/>
                </a:lnTo>
                <a:lnTo>
                  <a:pt x="0" y="235743"/>
                </a:lnTo>
                <a:lnTo>
                  <a:pt x="0" y="152299"/>
                </a:lnTo>
                <a:lnTo>
                  <a:pt x="0" y="83691"/>
                </a:lnTo>
                <a:lnTo>
                  <a:pt x="0" y="247"/>
                </a:lnTo>
                <a:close/>
              </a:path>
            </a:pathLst>
          </a:custGeom>
          <a:solidFill>
            <a:schemeClr val="bg2"/>
          </a:solidFill>
          <a:ln w="12700" algn="ctr">
            <a:solidFill>
              <a:schemeClr val="accent2"/>
            </a:solidFill>
            <a:miter lim="800000"/>
            <a:headEnd/>
            <a:tailEnd/>
          </a:ln>
          <a:effectLst>
            <a:outerShdw dist="53340" dir="2700000" algn="tl" rotWithShape="0">
              <a:schemeClr val="tx1">
                <a:alpha val="8000"/>
              </a:schemeClr>
            </a:outerShdw>
          </a:effectLst>
        </p:spPr>
        <p:txBody>
          <a:bodyPr vert="horz" wrap="square" lIns="86855" tIns="43457" rIns="86855" bIns="43457" numCol="1" anchor="t" anchorCtr="0" compatLnSpc="1">
            <a:prstTxWarp prst="textNoShape">
              <a:avLst/>
            </a:prstTxWarp>
            <a:noAutofit/>
          </a:bodyPr>
          <a:lstStyle/>
          <a:p>
            <a:pPr defTabSz="868494">
              <a:defRPr/>
            </a:pPr>
            <a:endParaRPr lang="es-CL" sz="13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Rectangle 22"/>
          <p:cNvSpPr txBox="1">
            <a:spLocks/>
          </p:cNvSpPr>
          <p:nvPr>
            <p:custDataLst>
              <p:tags r:id="rId5"/>
            </p:custDataLst>
          </p:nvPr>
        </p:nvSpPr>
        <p:spPr>
          <a:xfrm flipH="1">
            <a:off x="5294712" y="1896208"/>
            <a:ext cx="1335378" cy="5213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defTabSz="850403">
              <a:buClr>
                <a:srgbClr val="009A46"/>
              </a:buClr>
              <a:defRPr/>
            </a:pPr>
            <a:r>
              <a:rPr lang="es-CL" sz="1300">
                <a:solidFill>
                  <a:srgbClr val="000000"/>
                </a:solidFill>
              </a:rPr>
              <a:t>Análisis de KPI y problemas</a:t>
            </a:r>
          </a:p>
        </p:txBody>
      </p:sp>
      <p:grpSp>
        <p:nvGrpSpPr>
          <p:cNvPr id="66" name="Group 207"/>
          <p:cNvGrpSpPr/>
          <p:nvPr/>
        </p:nvGrpSpPr>
        <p:grpSpPr>
          <a:xfrm>
            <a:off x="5027270" y="4458141"/>
            <a:ext cx="921952" cy="703580"/>
            <a:chOff x="581576" y="2313408"/>
            <a:chExt cx="1059559" cy="622141"/>
          </a:xfrm>
        </p:grpSpPr>
        <p:sp>
          <p:nvSpPr>
            <p:cNvPr id="67" name="Rectangle 1"/>
            <p:cNvSpPr>
              <a:spLocks/>
            </p:cNvSpPr>
            <p:nvPr/>
          </p:nvSpPr>
          <p:spPr>
            <a:xfrm>
              <a:off x="581576" y="2313408"/>
              <a:ext cx="1059559" cy="622141"/>
            </a:xfrm>
            <a:custGeom>
              <a:avLst/>
              <a:gdLst>
                <a:gd name="connsiteX0" fmla="*/ 0 w 2441576"/>
                <a:gd name="connsiteY0" fmla="*/ 0 h 900906"/>
                <a:gd name="connsiteX1" fmla="*/ 94270 w 2441576"/>
                <a:gd name="connsiteY1" fmla="*/ 0 h 900906"/>
                <a:gd name="connsiteX2" fmla="*/ 185400 w 2441576"/>
                <a:gd name="connsiteY2" fmla="*/ 0 h 900906"/>
                <a:gd name="connsiteX3" fmla="*/ 188541 w 2441576"/>
                <a:gd name="connsiteY3" fmla="*/ 0 h 900906"/>
                <a:gd name="connsiteX4" fmla="*/ 282811 w 2441576"/>
                <a:gd name="connsiteY4" fmla="*/ 0 h 900906"/>
                <a:gd name="connsiteX5" fmla="*/ 377080 w 2441576"/>
                <a:gd name="connsiteY5" fmla="*/ 0 h 900906"/>
                <a:gd name="connsiteX6" fmla="*/ 470246 w 2441576"/>
                <a:gd name="connsiteY6" fmla="*/ 0 h 900906"/>
                <a:gd name="connsiteX7" fmla="*/ 471351 w 2441576"/>
                <a:gd name="connsiteY7" fmla="*/ 0 h 900906"/>
                <a:gd name="connsiteX8" fmla="*/ 581332 w 2441576"/>
                <a:gd name="connsiteY8" fmla="*/ 0 h 900906"/>
                <a:gd name="connsiteX9" fmla="*/ 685028 w 2441576"/>
                <a:gd name="connsiteY9" fmla="*/ 0 h 900906"/>
                <a:gd name="connsiteX10" fmla="*/ 755093 w 2441576"/>
                <a:gd name="connsiteY10" fmla="*/ 0 h 900906"/>
                <a:gd name="connsiteX11" fmla="*/ 969874 w 2441576"/>
                <a:gd name="connsiteY11" fmla="*/ 0 h 900906"/>
                <a:gd name="connsiteX12" fmla="*/ 1039939 w 2441576"/>
                <a:gd name="connsiteY12" fmla="*/ 0 h 900906"/>
                <a:gd name="connsiteX13" fmla="*/ 1254721 w 2441576"/>
                <a:gd name="connsiteY13" fmla="*/ 0 h 900906"/>
                <a:gd name="connsiteX14" fmla="*/ 1324785 w 2441576"/>
                <a:gd name="connsiteY14" fmla="*/ 0 h 900906"/>
                <a:gd name="connsiteX15" fmla="*/ 1539566 w 2441576"/>
                <a:gd name="connsiteY15" fmla="*/ 0 h 900906"/>
                <a:gd name="connsiteX16" fmla="*/ 1609632 w 2441576"/>
                <a:gd name="connsiteY16" fmla="*/ 0 h 900906"/>
                <a:gd name="connsiteX17" fmla="*/ 1824412 w 2441576"/>
                <a:gd name="connsiteY17" fmla="*/ 0 h 900906"/>
                <a:gd name="connsiteX18" fmla="*/ 1941949 w 2441576"/>
                <a:gd name="connsiteY18" fmla="*/ 0 h 900906"/>
                <a:gd name="connsiteX19" fmla="*/ 2094866 w 2441576"/>
                <a:gd name="connsiteY19" fmla="*/ 0 h 900906"/>
                <a:gd name="connsiteX20" fmla="*/ 2176781 w 2441576"/>
                <a:gd name="connsiteY20" fmla="*/ 0 h 900906"/>
                <a:gd name="connsiteX21" fmla="*/ 2258696 w 2441576"/>
                <a:gd name="connsiteY21" fmla="*/ 0 h 900906"/>
                <a:gd name="connsiteX22" fmla="*/ 2321561 w 2441576"/>
                <a:gd name="connsiteY22" fmla="*/ 0 h 900906"/>
                <a:gd name="connsiteX23" fmla="*/ 2403476 w 2441576"/>
                <a:gd name="connsiteY23" fmla="*/ 0 h 900906"/>
                <a:gd name="connsiteX24" fmla="*/ 2441576 w 2441576"/>
                <a:gd name="connsiteY24" fmla="*/ 0 h 900906"/>
                <a:gd name="connsiteX25" fmla="*/ 2441576 w 2441576"/>
                <a:gd name="connsiteY25" fmla="*/ 83444 h 900906"/>
                <a:gd name="connsiteX26" fmla="*/ 2441576 w 2441576"/>
                <a:gd name="connsiteY26" fmla="*/ 152052 h 900906"/>
                <a:gd name="connsiteX27" fmla="*/ 2441576 w 2441576"/>
                <a:gd name="connsiteY27" fmla="*/ 235496 h 900906"/>
                <a:gd name="connsiteX28" fmla="*/ 2441576 w 2441576"/>
                <a:gd name="connsiteY28" fmla="*/ 304104 h 900906"/>
                <a:gd name="connsiteX29" fmla="*/ 2441576 w 2441576"/>
                <a:gd name="connsiteY29" fmla="*/ 387548 h 900906"/>
                <a:gd name="connsiteX30" fmla="*/ 2441576 w 2441576"/>
                <a:gd name="connsiteY30" fmla="*/ 456156 h 900906"/>
                <a:gd name="connsiteX31" fmla="*/ 2441576 w 2441576"/>
                <a:gd name="connsiteY31" fmla="*/ 539600 h 900906"/>
                <a:gd name="connsiteX32" fmla="*/ 2441576 w 2441576"/>
                <a:gd name="connsiteY32" fmla="*/ 608208 h 900906"/>
                <a:gd name="connsiteX33" fmla="*/ 2441576 w 2441576"/>
                <a:gd name="connsiteY33" fmla="*/ 691652 h 900906"/>
                <a:gd name="connsiteX34" fmla="*/ 2441576 w 2441576"/>
                <a:gd name="connsiteY34" fmla="*/ 748854 h 900906"/>
                <a:gd name="connsiteX35" fmla="*/ 2441576 w 2441576"/>
                <a:gd name="connsiteY35" fmla="*/ 760260 h 900906"/>
                <a:gd name="connsiteX36" fmla="*/ 2441576 w 2441576"/>
                <a:gd name="connsiteY36" fmla="*/ 832298 h 900906"/>
                <a:gd name="connsiteX37" fmla="*/ 2441576 w 2441576"/>
                <a:gd name="connsiteY37" fmla="*/ 900906 h 900906"/>
                <a:gd name="connsiteX38" fmla="*/ 2403476 w 2441576"/>
                <a:gd name="connsiteY38" fmla="*/ 900906 h 900906"/>
                <a:gd name="connsiteX39" fmla="*/ 2321561 w 2441576"/>
                <a:gd name="connsiteY39" fmla="*/ 900906 h 900906"/>
                <a:gd name="connsiteX40" fmla="*/ 2239646 w 2441576"/>
                <a:gd name="connsiteY40" fmla="*/ 900906 h 900906"/>
                <a:gd name="connsiteX41" fmla="*/ 2176781 w 2441576"/>
                <a:gd name="connsiteY41" fmla="*/ 900906 h 900906"/>
                <a:gd name="connsiteX42" fmla="*/ 2109259 w 2441576"/>
                <a:gd name="connsiteY42" fmla="*/ 900906 h 900906"/>
                <a:gd name="connsiteX43" fmla="*/ 2094866 w 2441576"/>
                <a:gd name="connsiteY43" fmla="*/ 900906 h 900906"/>
                <a:gd name="connsiteX44" fmla="*/ 1941949 w 2441576"/>
                <a:gd name="connsiteY44" fmla="*/ 900906 h 900906"/>
                <a:gd name="connsiteX45" fmla="*/ 1824412 w 2441576"/>
                <a:gd name="connsiteY45" fmla="*/ 900906 h 900906"/>
                <a:gd name="connsiteX46" fmla="*/ 1609632 w 2441576"/>
                <a:gd name="connsiteY46" fmla="*/ 900906 h 900906"/>
                <a:gd name="connsiteX47" fmla="*/ 1539566 w 2441576"/>
                <a:gd name="connsiteY47" fmla="*/ 900906 h 900906"/>
                <a:gd name="connsiteX48" fmla="*/ 1324785 w 2441576"/>
                <a:gd name="connsiteY48" fmla="*/ 900906 h 900906"/>
                <a:gd name="connsiteX49" fmla="*/ 1254721 w 2441576"/>
                <a:gd name="connsiteY49" fmla="*/ 900906 h 900906"/>
                <a:gd name="connsiteX50" fmla="*/ 1039939 w 2441576"/>
                <a:gd name="connsiteY50" fmla="*/ 900906 h 900906"/>
                <a:gd name="connsiteX51" fmla="*/ 969874 w 2441576"/>
                <a:gd name="connsiteY51" fmla="*/ 900906 h 900906"/>
                <a:gd name="connsiteX52" fmla="*/ 755093 w 2441576"/>
                <a:gd name="connsiteY52" fmla="*/ 900906 h 900906"/>
                <a:gd name="connsiteX53" fmla="*/ 685028 w 2441576"/>
                <a:gd name="connsiteY53" fmla="*/ 900906 h 900906"/>
                <a:gd name="connsiteX54" fmla="*/ 581332 w 2441576"/>
                <a:gd name="connsiteY54" fmla="*/ 900906 h 900906"/>
                <a:gd name="connsiteX55" fmla="*/ 471351 w 2441576"/>
                <a:gd name="connsiteY55" fmla="*/ 900906 h 900906"/>
                <a:gd name="connsiteX56" fmla="*/ 470246 w 2441576"/>
                <a:gd name="connsiteY56" fmla="*/ 900906 h 900906"/>
                <a:gd name="connsiteX57" fmla="*/ 377080 w 2441576"/>
                <a:gd name="connsiteY57" fmla="*/ 900906 h 900906"/>
                <a:gd name="connsiteX58" fmla="*/ 282811 w 2441576"/>
                <a:gd name="connsiteY58" fmla="*/ 900906 h 900906"/>
                <a:gd name="connsiteX59" fmla="*/ 188541 w 2441576"/>
                <a:gd name="connsiteY59" fmla="*/ 900906 h 900906"/>
                <a:gd name="connsiteX60" fmla="*/ 185400 w 2441576"/>
                <a:gd name="connsiteY60" fmla="*/ 900906 h 900906"/>
                <a:gd name="connsiteX61" fmla="*/ 94270 w 2441576"/>
                <a:gd name="connsiteY61" fmla="*/ 900906 h 900906"/>
                <a:gd name="connsiteX62" fmla="*/ 0 w 2441576"/>
                <a:gd name="connsiteY62" fmla="*/ 900906 h 900906"/>
                <a:gd name="connsiteX63" fmla="*/ 0 w 2441576"/>
                <a:gd name="connsiteY63" fmla="*/ 832298 h 900906"/>
                <a:gd name="connsiteX64" fmla="*/ 0 w 2441576"/>
                <a:gd name="connsiteY64" fmla="*/ 760260 h 900906"/>
                <a:gd name="connsiteX65" fmla="*/ 0 w 2441576"/>
                <a:gd name="connsiteY65" fmla="*/ 748854 h 900906"/>
                <a:gd name="connsiteX66" fmla="*/ 0 w 2441576"/>
                <a:gd name="connsiteY66" fmla="*/ 691652 h 900906"/>
                <a:gd name="connsiteX67" fmla="*/ 0 w 2441576"/>
                <a:gd name="connsiteY67" fmla="*/ 608208 h 900906"/>
                <a:gd name="connsiteX68" fmla="*/ 0 w 2441576"/>
                <a:gd name="connsiteY68" fmla="*/ 539600 h 900906"/>
                <a:gd name="connsiteX69" fmla="*/ 0 w 2441576"/>
                <a:gd name="connsiteY69" fmla="*/ 456156 h 900906"/>
                <a:gd name="connsiteX70" fmla="*/ 0 w 2441576"/>
                <a:gd name="connsiteY70" fmla="*/ 387548 h 900906"/>
                <a:gd name="connsiteX71" fmla="*/ 0 w 2441576"/>
                <a:gd name="connsiteY71" fmla="*/ 304104 h 900906"/>
                <a:gd name="connsiteX72" fmla="*/ 0 w 2441576"/>
                <a:gd name="connsiteY72" fmla="*/ 235496 h 900906"/>
                <a:gd name="connsiteX73" fmla="*/ 0 w 2441576"/>
                <a:gd name="connsiteY73" fmla="*/ 152052 h 900906"/>
                <a:gd name="connsiteX74" fmla="*/ 0 w 2441576"/>
                <a:gd name="connsiteY74" fmla="*/ 83444 h 900906"/>
                <a:gd name="connsiteX75" fmla="*/ 0 w 2441576"/>
                <a:gd name="connsiteY75" fmla="*/ 0 h 900906"/>
                <a:gd name="connsiteX0" fmla="*/ 0 w 2441576"/>
                <a:gd name="connsiteY0" fmla="*/ 0 h 900906"/>
                <a:gd name="connsiteX1" fmla="*/ 94270 w 2441576"/>
                <a:gd name="connsiteY1" fmla="*/ 0 h 900906"/>
                <a:gd name="connsiteX2" fmla="*/ 185400 w 2441576"/>
                <a:gd name="connsiteY2" fmla="*/ 0 h 900906"/>
                <a:gd name="connsiteX3" fmla="*/ 188541 w 2441576"/>
                <a:gd name="connsiteY3" fmla="*/ 0 h 900906"/>
                <a:gd name="connsiteX4" fmla="*/ 282811 w 2441576"/>
                <a:gd name="connsiteY4" fmla="*/ 0 h 900906"/>
                <a:gd name="connsiteX5" fmla="*/ 377080 w 2441576"/>
                <a:gd name="connsiteY5" fmla="*/ 0 h 900906"/>
                <a:gd name="connsiteX6" fmla="*/ 470246 w 2441576"/>
                <a:gd name="connsiteY6" fmla="*/ 0 h 900906"/>
                <a:gd name="connsiteX7" fmla="*/ 471351 w 2441576"/>
                <a:gd name="connsiteY7" fmla="*/ 0 h 900906"/>
                <a:gd name="connsiteX8" fmla="*/ 581332 w 2441576"/>
                <a:gd name="connsiteY8" fmla="*/ 0 h 900906"/>
                <a:gd name="connsiteX9" fmla="*/ 685028 w 2441576"/>
                <a:gd name="connsiteY9" fmla="*/ 0 h 900906"/>
                <a:gd name="connsiteX10" fmla="*/ 755093 w 2441576"/>
                <a:gd name="connsiteY10" fmla="*/ 0 h 900906"/>
                <a:gd name="connsiteX11" fmla="*/ 969874 w 2441576"/>
                <a:gd name="connsiteY11" fmla="*/ 0 h 900906"/>
                <a:gd name="connsiteX12" fmla="*/ 1039939 w 2441576"/>
                <a:gd name="connsiteY12" fmla="*/ 0 h 900906"/>
                <a:gd name="connsiteX13" fmla="*/ 1254721 w 2441576"/>
                <a:gd name="connsiteY13" fmla="*/ 0 h 900906"/>
                <a:gd name="connsiteX14" fmla="*/ 1324785 w 2441576"/>
                <a:gd name="connsiteY14" fmla="*/ 0 h 900906"/>
                <a:gd name="connsiteX15" fmla="*/ 1539566 w 2441576"/>
                <a:gd name="connsiteY15" fmla="*/ 0 h 900906"/>
                <a:gd name="connsiteX16" fmla="*/ 1609632 w 2441576"/>
                <a:gd name="connsiteY16" fmla="*/ 0 h 900906"/>
                <a:gd name="connsiteX17" fmla="*/ 1824412 w 2441576"/>
                <a:gd name="connsiteY17" fmla="*/ 0 h 900906"/>
                <a:gd name="connsiteX18" fmla="*/ 1941949 w 2441576"/>
                <a:gd name="connsiteY18" fmla="*/ 0 h 900906"/>
                <a:gd name="connsiteX19" fmla="*/ 2094866 w 2441576"/>
                <a:gd name="connsiteY19" fmla="*/ 0 h 900906"/>
                <a:gd name="connsiteX20" fmla="*/ 2176781 w 2441576"/>
                <a:gd name="connsiteY20" fmla="*/ 0 h 900906"/>
                <a:gd name="connsiteX21" fmla="*/ 2258696 w 2441576"/>
                <a:gd name="connsiteY21" fmla="*/ 0 h 900906"/>
                <a:gd name="connsiteX22" fmla="*/ 2321561 w 2441576"/>
                <a:gd name="connsiteY22" fmla="*/ 0 h 900906"/>
                <a:gd name="connsiteX23" fmla="*/ 2403476 w 2441576"/>
                <a:gd name="connsiteY23" fmla="*/ 0 h 900906"/>
                <a:gd name="connsiteX24" fmla="*/ 2441576 w 2441576"/>
                <a:gd name="connsiteY24" fmla="*/ 0 h 900906"/>
                <a:gd name="connsiteX25" fmla="*/ 2441576 w 2441576"/>
                <a:gd name="connsiteY25" fmla="*/ 83444 h 900906"/>
                <a:gd name="connsiteX26" fmla="*/ 2441576 w 2441576"/>
                <a:gd name="connsiteY26" fmla="*/ 152052 h 900906"/>
                <a:gd name="connsiteX27" fmla="*/ 2441576 w 2441576"/>
                <a:gd name="connsiteY27" fmla="*/ 235496 h 900906"/>
                <a:gd name="connsiteX28" fmla="*/ 2441576 w 2441576"/>
                <a:gd name="connsiteY28" fmla="*/ 304104 h 900906"/>
                <a:gd name="connsiteX29" fmla="*/ 2441576 w 2441576"/>
                <a:gd name="connsiteY29" fmla="*/ 387548 h 900906"/>
                <a:gd name="connsiteX30" fmla="*/ 2441576 w 2441576"/>
                <a:gd name="connsiteY30" fmla="*/ 456156 h 900906"/>
                <a:gd name="connsiteX31" fmla="*/ 2441576 w 2441576"/>
                <a:gd name="connsiteY31" fmla="*/ 539600 h 900906"/>
                <a:gd name="connsiteX32" fmla="*/ 2441576 w 2441576"/>
                <a:gd name="connsiteY32" fmla="*/ 608208 h 900906"/>
                <a:gd name="connsiteX33" fmla="*/ 2441576 w 2441576"/>
                <a:gd name="connsiteY33" fmla="*/ 691652 h 900906"/>
                <a:gd name="connsiteX34" fmla="*/ 2441576 w 2441576"/>
                <a:gd name="connsiteY34" fmla="*/ 748854 h 900906"/>
                <a:gd name="connsiteX35" fmla="*/ 2441576 w 2441576"/>
                <a:gd name="connsiteY35" fmla="*/ 760260 h 900906"/>
                <a:gd name="connsiteX36" fmla="*/ 2441576 w 2441576"/>
                <a:gd name="connsiteY36" fmla="*/ 832298 h 900906"/>
                <a:gd name="connsiteX37" fmla="*/ 2441576 w 2441576"/>
                <a:gd name="connsiteY37" fmla="*/ 900906 h 900906"/>
                <a:gd name="connsiteX38" fmla="*/ 2403476 w 2441576"/>
                <a:gd name="connsiteY38" fmla="*/ 900906 h 900906"/>
                <a:gd name="connsiteX39" fmla="*/ 2321561 w 2441576"/>
                <a:gd name="connsiteY39" fmla="*/ 900906 h 900906"/>
                <a:gd name="connsiteX40" fmla="*/ 2239646 w 2441576"/>
                <a:gd name="connsiteY40" fmla="*/ 900906 h 900906"/>
                <a:gd name="connsiteX41" fmla="*/ 2176781 w 2441576"/>
                <a:gd name="connsiteY41" fmla="*/ 900906 h 900906"/>
                <a:gd name="connsiteX42" fmla="*/ 2109259 w 2441576"/>
                <a:gd name="connsiteY42" fmla="*/ 900906 h 900906"/>
                <a:gd name="connsiteX43" fmla="*/ 1941949 w 2441576"/>
                <a:gd name="connsiteY43" fmla="*/ 900906 h 900906"/>
                <a:gd name="connsiteX44" fmla="*/ 1824412 w 2441576"/>
                <a:gd name="connsiteY44" fmla="*/ 900906 h 900906"/>
                <a:gd name="connsiteX45" fmla="*/ 1609632 w 2441576"/>
                <a:gd name="connsiteY45" fmla="*/ 900906 h 900906"/>
                <a:gd name="connsiteX46" fmla="*/ 1539566 w 2441576"/>
                <a:gd name="connsiteY46" fmla="*/ 900906 h 900906"/>
                <a:gd name="connsiteX47" fmla="*/ 1324785 w 2441576"/>
                <a:gd name="connsiteY47" fmla="*/ 900906 h 900906"/>
                <a:gd name="connsiteX48" fmla="*/ 1254721 w 2441576"/>
                <a:gd name="connsiteY48" fmla="*/ 900906 h 900906"/>
                <a:gd name="connsiteX49" fmla="*/ 1039939 w 2441576"/>
                <a:gd name="connsiteY49" fmla="*/ 900906 h 900906"/>
                <a:gd name="connsiteX50" fmla="*/ 969874 w 2441576"/>
                <a:gd name="connsiteY50" fmla="*/ 900906 h 900906"/>
                <a:gd name="connsiteX51" fmla="*/ 755093 w 2441576"/>
                <a:gd name="connsiteY51" fmla="*/ 900906 h 900906"/>
                <a:gd name="connsiteX52" fmla="*/ 685028 w 2441576"/>
                <a:gd name="connsiteY52" fmla="*/ 900906 h 900906"/>
                <a:gd name="connsiteX53" fmla="*/ 581332 w 2441576"/>
                <a:gd name="connsiteY53" fmla="*/ 900906 h 900906"/>
                <a:gd name="connsiteX54" fmla="*/ 471351 w 2441576"/>
                <a:gd name="connsiteY54" fmla="*/ 900906 h 900906"/>
                <a:gd name="connsiteX55" fmla="*/ 470246 w 2441576"/>
                <a:gd name="connsiteY55" fmla="*/ 900906 h 900906"/>
                <a:gd name="connsiteX56" fmla="*/ 377080 w 2441576"/>
                <a:gd name="connsiteY56" fmla="*/ 900906 h 900906"/>
                <a:gd name="connsiteX57" fmla="*/ 282811 w 2441576"/>
                <a:gd name="connsiteY57" fmla="*/ 900906 h 900906"/>
                <a:gd name="connsiteX58" fmla="*/ 188541 w 2441576"/>
                <a:gd name="connsiteY58" fmla="*/ 900906 h 900906"/>
                <a:gd name="connsiteX59" fmla="*/ 185400 w 2441576"/>
                <a:gd name="connsiteY59" fmla="*/ 900906 h 900906"/>
                <a:gd name="connsiteX60" fmla="*/ 94270 w 2441576"/>
                <a:gd name="connsiteY60" fmla="*/ 900906 h 900906"/>
                <a:gd name="connsiteX61" fmla="*/ 0 w 2441576"/>
                <a:gd name="connsiteY61" fmla="*/ 900906 h 900906"/>
                <a:gd name="connsiteX62" fmla="*/ 0 w 2441576"/>
                <a:gd name="connsiteY62" fmla="*/ 832298 h 900906"/>
                <a:gd name="connsiteX63" fmla="*/ 0 w 2441576"/>
                <a:gd name="connsiteY63" fmla="*/ 760260 h 900906"/>
                <a:gd name="connsiteX64" fmla="*/ 0 w 2441576"/>
                <a:gd name="connsiteY64" fmla="*/ 748854 h 900906"/>
                <a:gd name="connsiteX65" fmla="*/ 0 w 2441576"/>
                <a:gd name="connsiteY65" fmla="*/ 691652 h 900906"/>
                <a:gd name="connsiteX66" fmla="*/ 0 w 2441576"/>
                <a:gd name="connsiteY66" fmla="*/ 608208 h 900906"/>
                <a:gd name="connsiteX67" fmla="*/ 0 w 2441576"/>
                <a:gd name="connsiteY67" fmla="*/ 539600 h 900906"/>
                <a:gd name="connsiteX68" fmla="*/ 0 w 2441576"/>
                <a:gd name="connsiteY68" fmla="*/ 456156 h 900906"/>
                <a:gd name="connsiteX69" fmla="*/ 0 w 2441576"/>
                <a:gd name="connsiteY69" fmla="*/ 387548 h 900906"/>
                <a:gd name="connsiteX70" fmla="*/ 0 w 2441576"/>
                <a:gd name="connsiteY70" fmla="*/ 304104 h 900906"/>
                <a:gd name="connsiteX71" fmla="*/ 0 w 2441576"/>
                <a:gd name="connsiteY71" fmla="*/ 235496 h 900906"/>
                <a:gd name="connsiteX72" fmla="*/ 0 w 2441576"/>
                <a:gd name="connsiteY72" fmla="*/ 152052 h 900906"/>
                <a:gd name="connsiteX73" fmla="*/ 0 w 2441576"/>
                <a:gd name="connsiteY73" fmla="*/ 83444 h 900906"/>
                <a:gd name="connsiteX74" fmla="*/ 0 w 2441576"/>
                <a:gd name="connsiteY74" fmla="*/ 0 h 900906"/>
                <a:gd name="connsiteX0" fmla="*/ 0 w 2441576"/>
                <a:gd name="connsiteY0" fmla="*/ 0 h 900906"/>
                <a:gd name="connsiteX1" fmla="*/ 94270 w 2441576"/>
                <a:gd name="connsiteY1" fmla="*/ 0 h 900906"/>
                <a:gd name="connsiteX2" fmla="*/ 185400 w 2441576"/>
                <a:gd name="connsiteY2" fmla="*/ 0 h 900906"/>
                <a:gd name="connsiteX3" fmla="*/ 188541 w 2441576"/>
                <a:gd name="connsiteY3" fmla="*/ 0 h 900906"/>
                <a:gd name="connsiteX4" fmla="*/ 282811 w 2441576"/>
                <a:gd name="connsiteY4" fmla="*/ 0 h 900906"/>
                <a:gd name="connsiteX5" fmla="*/ 377080 w 2441576"/>
                <a:gd name="connsiteY5" fmla="*/ 0 h 900906"/>
                <a:gd name="connsiteX6" fmla="*/ 470246 w 2441576"/>
                <a:gd name="connsiteY6" fmla="*/ 0 h 900906"/>
                <a:gd name="connsiteX7" fmla="*/ 471351 w 2441576"/>
                <a:gd name="connsiteY7" fmla="*/ 0 h 900906"/>
                <a:gd name="connsiteX8" fmla="*/ 581332 w 2441576"/>
                <a:gd name="connsiteY8" fmla="*/ 0 h 900906"/>
                <a:gd name="connsiteX9" fmla="*/ 685028 w 2441576"/>
                <a:gd name="connsiteY9" fmla="*/ 0 h 900906"/>
                <a:gd name="connsiteX10" fmla="*/ 755093 w 2441576"/>
                <a:gd name="connsiteY10" fmla="*/ 0 h 900906"/>
                <a:gd name="connsiteX11" fmla="*/ 969874 w 2441576"/>
                <a:gd name="connsiteY11" fmla="*/ 0 h 900906"/>
                <a:gd name="connsiteX12" fmla="*/ 1039939 w 2441576"/>
                <a:gd name="connsiteY12" fmla="*/ 0 h 900906"/>
                <a:gd name="connsiteX13" fmla="*/ 1254721 w 2441576"/>
                <a:gd name="connsiteY13" fmla="*/ 0 h 900906"/>
                <a:gd name="connsiteX14" fmla="*/ 1324785 w 2441576"/>
                <a:gd name="connsiteY14" fmla="*/ 0 h 900906"/>
                <a:gd name="connsiteX15" fmla="*/ 1539566 w 2441576"/>
                <a:gd name="connsiteY15" fmla="*/ 0 h 900906"/>
                <a:gd name="connsiteX16" fmla="*/ 1609632 w 2441576"/>
                <a:gd name="connsiteY16" fmla="*/ 0 h 900906"/>
                <a:gd name="connsiteX17" fmla="*/ 1824412 w 2441576"/>
                <a:gd name="connsiteY17" fmla="*/ 0 h 900906"/>
                <a:gd name="connsiteX18" fmla="*/ 1941949 w 2441576"/>
                <a:gd name="connsiteY18" fmla="*/ 0 h 900906"/>
                <a:gd name="connsiteX19" fmla="*/ 2094866 w 2441576"/>
                <a:gd name="connsiteY19" fmla="*/ 0 h 900906"/>
                <a:gd name="connsiteX20" fmla="*/ 2176781 w 2441576"/>
                <a:gd name="connsiteY20" fmla="*/ 0 h 900906"/>
                <a:gd name="connsiteX21" fmla="*/ 2258696 w 2441576"/>
                <a:gd name="connsiteY21" fmla="*/ 0 h 900906"/>
                <a:gd name="connsiteX22" fmla="*/ 2321561 w 2441576"/>
                <a:gd name="connsiteY22" fmla="*/ 0 h 900906"/>
                <a:gd name="connsiteX23" fmla="*/ 2441576 w 2441576"/>
                <a:gd name="connsiteY23" fmla="*/ 0 h 900906"/>
                <a:gd name="connsiteX24" fmla="*/ 2441576 w 2441576"/>
                <a:gd name="connsiteY24" fmla="*/ 83444 h 900906"/>
                <a:gd name="connsiteX25" fmla="*/ 2441576 w 2441576"/>
                <a:gd name="connsiteY25" fmla="*/ 152052 h 900906"/>
                <a:gd name="connsiteX26" fmla="*/ 2441576 w 2441576"/>
                <a:gd name="connsiteY26" fmla="*/ 235496 h 900906"/>
                <a:gd name="connsiteX27" fmla="*/ 2441576 w 2441576"/>
                <a:gd name="connsiteY27" fmla="*/ 304104 h 900906"/>
                <a:gd name="connsiteX28" fmla="*/ 2441576 w 2441576"/>
                <a:gd name="connsiteY28" fmla="*/ 387548 h 900906"/>
                <a:gd name="connsiteX29" fmla="*/ 2441576 w 2441576"/>
                <a:gd name="connsiteY29" fmla="*/ 456156 h 900906"/>
                <a:gd name="connsiteX30" fmla="*/ 2441576 w 2441576"/>
                <a:gd name="connsiteY30" fmla="*/ 539600 h 900906"/>
                <a:gd name="connsiteX31" fmla="*/ 2441576 w 2441576"/>
                <a:gd name="connsiteY31" fmla="*/ 608208 h 900906"/>
                <a:gd name="connsiteX32" fmla="*/ 2441576 w 2441576"/>
                <a:gd name="connsiteY32" fmla="*/ 691652 h 900906"/>
                <a:gd name="connsiteX33" fmla="*/ 2441576 w 2441576"/>
                <a:gd name="connsiteY33" fmla="*/ 748854 h 900906"/>
                <a:gd name="connsiteX34" fmla="*/ 2441576 w 2441576"/>
                <a:gd name="connsiteY34" fmla="*/ 760260 h 900906"/>
                <a:gd name="connsiteX35" fmla="*/ 2441576 w 2441576"/>
                <a:gd name="connsiteY35" fmla="*/ 832298 h 900906"/>
                <a:gd name="connsiteX36" fmla="*/ 2441576 w 2441576"/>
                <a:gd name="connsiteY36" fmla="*/ 900906 h 900906"/>
                <a:gd name="connsiteX37" fmla="*/ 2403476 w 2441576"/>
                <a:gd name="connsiteY37" fmla="*/ 900906 h 900906"/>
                <a:gd name="connsiteX38" fmla="*/ 2321561 w 2441576"/>
                <a:gd name="connsiteY38" fmla="*/ 900906 h 900906"/>
                <a:gd name="connsiteX39" fmla="*/ 2239646 w 2441576"/>
                <a:gd name="connsiteY39" fmla="*/ 900906 h 900906"/>
                <a:gd name="connsiteX40" fmla="*/ 2176781 w 2441576"/>
                <a:gd name="connsiteY40" fmla="*/ 900906 h 900906"/>
                <a:gd name="connsiteX41" fmla="*/ 2109259 w 2441576"/>
                <a:gd name="connsiteY41" fmla="*/ 900906 h 900906"/>
                <a:gd name="connsiteX42" fmla="*/ 1941949 w 2441576"/>
                <a:gd name="connsiteY42" fmla="*/ 900906 h 900906"/>
                <a:gd name="connsiteX43" fmla="*/ 1824412 w 2441576"/>
                <a:gd name="connsiteY43" fmla="*/ 900906 h 900906"/>
                <a:gd name="connsiteX44" fmla="*/ 1609632 w 2441576"/>
                <a:gd name="connsiteY44" fmla="*/ 900906 h 900906"/>
                <a:gd name="connsiteX45" fmla="*/ 1539566 w 2441576"/>
                <a:gd name="connsiteY45" fmla="*/ 900906 h 900906"/>
                <a:gd name="connsiteX46" fmla="*/ 1324785 w 2441576"/>
                <a:gd name="connsiteY46" fmla="*/ 900906 h 900906"/>
                <a:gd name="connsiteX47" fmla="*/ 1254721 w 2441576"/>
                <a:gd name="connsiteY47" fmla="*/ 900906 h 900906"/>
                <a:gd name="connsiteX48" fmla="*/ 1039939 w 2441576"/>
                <a:gd name="connsiteY48" fmla="*/ 900906 h 900906"/>
                <a:gd name="connsiteX49" fmla="*/ 969874 w 2441576"/>
                <a:gd name="connsiteY49" fmla="*/ 900906 h 900906"/>
                <a:gd name="connsiteX50" fmla="*/ 755093 w 2441576"/>
                <a:gd name="connsiteY50" fmla="*/ 900906 h 900906"/>
                <a:gd name="connsiteX51" fmla="*/ 685028 w 2441576"/>
                <a:gd name="connsiteY51" fmla="*/ 900906 h 900906"/>
                <a:gd name="connsiteX52" fmla="*/ 581332 w 2441576"/>
                <a:gd name="connsiteY52" fmla="*/ 900906 h 900906"/>
                <a:gd name="connsiteX53" fmla="*/ 471351 w 2441576"/>
                <a:gd name="connsiteY53" fmla="*/ 900906 h 900906"/>
                <a:gd name="connsiteX54" fmla="*/ 470246 w 2441576"/>
                <a:gd name="connsiteY54" fmla="*/ 900906 h 900906"/>
                <a:gd name="connsiteX55" fmla="*/ 377080 w 2441576"/>
                <a:gd name="connsiteY55" fmla="*/ 900906 h 900906"/>
                <a:gd name="connsiteX56" fmla="*/ 282811 w 2441576"/>
                <a:gd name="connsiteY56" fmla="*/ 900906 h 900906"/>
                <a:gd name="connsiteX57" fmla="*/ 188541 w 2441576"/>
                <a:gd name="connsiteY57" fmla="*/ 900906 h 900906"/>
                <a:gd name="connsiteX58" fmla="*/ 185400 w 2441576"/>
                <a:gd name="connsiteY58" fmla="*/ 900906 h 900906"/>
                <a:gd name="connsiteX59" fmla="*/ 94270 w 2441576"/>
                <a:gd name="connsiteY59" fmla="*/ 900906 h 900906"/>
                <a:gd name="connsiteX60" fmla="*/ 0 w 2441576"/>
                <a:gd name="connsiteY60" fmla="*/ 900906 h 900906"/>
                <a:gd name="connsiteX61" fmla="*/ 0 w 2441576"/>
                <a:gd name="connsiteY61" fmla="*/ 832298 h 900906"/>
                <a:gd name="connsiteX62" fmla="*/ 0 w 2441576"/>
                <a:gd name="connsiteY62" fmla="*/ 760260 h 900906"/>
                <a:gd name="connsiteX63" fmla="*/ 0 w 2441576"/>
                <a:gd name="connsiteY63" fmla="*/ 748854 h 900906"/>
                <a:gd name="connsiteX64" fmla="*/ 0 w 2441576"/>
                <a:gd name="connsiteY64" fmla="*/ 691652 h 900906"/>
                <a:gd name="connsiteX65" fmla="*/ 0 w 2441576"/>
                <a:gd name="connsiteY65" fmla="*/ 608208 h 900906"/>
                <a:gd name="connsiteX66" fmla="*/ 0 w 2441576"/>
                <a:gd name="connsiteY66" fmla="*/ 539600 h 900906"/>
                <a:gd name="connsiteX67" fmla="*/ 0 w 2441576"/>
                <a:gd name="connsiteY67" fmla="*/ 456156 h 900906"/>
                <a:gd name="connsiteX68" fmla="*/ 0 w 2441576"/>
                <a:gd name="connsiteY68" fmla="*/ 387548 h 900906"/>
                <a:gd name="connsiteX69" fmla="*/ 0 w 2441576"/>
                <a:gd name="connsiteY69" fmla="*/ 304104 h 900906"/>
                <a:gd name="connsiteX70" fmla="*/ 0 w 2441576"/>
                <a:gd name="connsiteY70" fmla="*/ 235496 h 900906"/>
                <a:gd name="connsiteX71" fmla="*/ 0 w 2441576"/>
                <a:gd name="connsiteY71" fmla="*/ 152052 h 900906"/>
                <a:gd name="connsiteX72" fmla="*/ 0 w 2441576"/>
                <a:gd name="connsiteY72" fmla="*/ 83444 h 900906"/>
                <a:gd name="connsiteX73" fmla="*/ 0 w 2441576"/>
                <a:gd name="connsiteY73" fmla="*/ 0 h 900906"/>
                <a:gd name="connsiteX0" fmla="*/ 0 w 2441576"/>
                <a:gd name="connsiteY0" fmla="*/ 0 h 900906"/>
                <a:gd name="connsiteX1" fmla="*/ 94270 w 2441576"/>
                <a:gd name="connsiteY1" fmla="*/ 0 h 900906"/>
                <a:gd name="connsiteX2" fmla="*/ 185400 w 2441576"/>
                <a:gd name="connsiteY2" fmla="*/ 0 h 900906"/>
                <a:gd name="connsiteX3" fmla="*/ 188541 w 2441576"/>
                <a:gd name="connsiteY3" fmla="*/ 0 h 900906"/>
                <a:gd name="connsiteX4" fmla="*/ 282811 w 2441576"/>
                <a:gd name="connsiteY4" fmla="*/ 0 h 900906"/>
                <a:gd name="connsiteX5" fmla="*/ 377080 w 2441576"/>
                <a:gd name="connsiteY5" fmla="*/ 0 h 900906"/>
                <a:gd name="connsiteX6" fmla="*/ 470246 w 2441576"/>
                <a:gd name="connsiteY6" fmla="*/ 0 h 900906"/>
                <a:gd name="connsiteX7" fmla="*/ 471351 w 2441576"/>
                <a:gd name="connsiteY7" fmla="*/ 0 h 900906"/>
                <a:gd name="connsiteX8" fmla="*/ 581332 w 2441576"/>
                <a:gd name="connsiteY8" fmla="*/ 0 h 900906"/>
                <a:gd name="connsiteX9" fmla="*/ 685028 w 2441576"/>
                <a:gd name="connsiteY9" fmla="*/ 0 h 900906"/>
                <a:gd name="connsiteX10" fmla="*/ 755093 w 2441576"/>
                <a:gd name="connsiteY10" fmla="*/ 0 h 900906"/>
                <a:gd name="connsiteX11" fmla="*/ 969874 w 2441576"/>
                <a:gd name="connsiteY11" fmla="*/ 0 h 900906"/>
                <a:gd name="connsiteX12" fmla="*/ 1039939 w 2441576"/>
                <a:gd name="connsiteY12" fmla="*/ 0 h 900906"/>
                <a:gd name="connsiteX13" fmla="*/ 1254721 w 2441576"/>
                <a:gd name="connsiteY13" fmla="*/ 0 h 900906"/>
                <a:gd name="connsiteX14" fmla="*/ 1324785 w 2441576"/>
                <a:gd name="connsiteY14" fmla="*/ 0 h 900906"/>
                <a:gd name="connsiteX15" fmla="*/ 1539566 w 2441576"/>
                <a:gd name="connsiteY15" fmla="*/ 0 h 900906"/>
                <a:gd name="connsiteX16" fmla="*/ 1609632 w 2441576"/>
                <a:gd name="connsiteY16" fmla="*/ 0 h 900906"/>
                <a:gd name="connsiteX17" fmla="*/ 1824412 w 2441576"/>
                <a:gd name="connsiteY17" fmla="*/ 0 h 900906"/>
                <a:gd name="connsiteX18" fmla="*/ 1941949 w 2441576"/>
                <a:gd name="connsiteY18" fmla="*/ 0 h 900906"/>
                <a:gd name="connsiteX19" fmla="*/ 2094866 w 2441576"/>
                <a:gd name="connsiteY19" fmla="*/ 0 h 900906"/>
                <a:gd name="connsiteX20" fmla="*/ 2176781 w 2441576"/>
                <a:gd name="connsiteY20" fmla="*/ 0 h 900906"/>
                <a:gd name="connsiteX21" fmla="*/ 2258696 w 2441576"/>
                <a:gd name="connsiteY21" fmla="*/ 0 h 900906"/>
                <a:gd name="connsiteX22" fmla="*/ 2321561 w 2441576"/>
                <a:gd name="connsiteY22" fmla="*/ 0 h 900906"/>
                <a:gd name="connsiteX23" fmla="*/ 2441576 w 2441576"/>
                <a:gd name="connsiteY23" fmla="*/ 0 h 900906"/>
                <a:gd name="connsiteX24" fmla="*/ 2441576 w 2441576"/>
                <a:gd name="connsiteY24" fmla="*/ 83444 h 900906"/>
                <a:gd name="connsiteX25" fmla="*/ 2441576 w 2441576"/>
                <a:gd name="connsiteY25" fmla="*/ 152052 h 900906"/>
                <a:gd name="connsiteX26" fmla="*/ 2441576 w 2441576"/>
                <a:gd name="connsiteY26" fmla="*/ 235496 h 900906"/>
                <a:gd name="connsiteX27" fmla="*/ 2441576 w 2441576"/>
                <a:gd name="connsiteY27" fmla="*/ 304104 h 900906"/>
                <a:gd name="connsiteX28" fmla="*/ 2441576 w 2441576"/>
                <a:gd name="connsiteY28" fmla="*/ 387548 h 900906"/>
                <a:gd name="connsiteX29" fmla="*/ 2441576 w 2441576"/>
                <a:gd name="connsiteY29" fmla="*/ 456156 h 900906"/>
                <a:gd name="connsiteX30" fmla="*/ 2441576 w 2441576"/>
                <a:gd name="connsiteY30" fmla="*/ 539600 h 900906"/>
                <a:gd name="connsiteX31" fmla="*/ 2441576 w 2441576"/>
                <a:gd name="connsiteY31" fmla="*/ 608208 h 900906"/>
                <a:gd name="connsiteX32" fmla="*/ 2441576 w 2441576"/>
                <a:gd name="connsiteY32" fmla="*/ 691652 h 900906"/>
                <a:gd name="connsiteX33" fmla="*/ 2441576 w 2441576"/>
                <a:gd name="connsiteY33" fmla="*/ 748854 h 900906"/>
                <a:gd name="connsiteX34" fmla="*/ 2441576 w 2441576"/>
                <a:gd name="connsiteY34" fmla="*/ 760260 h 900906"/>
                <a:gd name="connsiteX35" fmla="*/ 2441576 w 2441576"/>
                <a:gd name="connsiteY35" fmla="*/ 832298 h 900906"/>
                <a:gd name="connsiteX36" fmla="*/ 2441576 w 2441576"/>
                <a:gd name="connsiteY36" fmla="*/ 900906 h 900906"/>
                <a:gd name="connsiteX37" fmla="*/ 2321561 w 2441576"/>
                <a:gd name="connsiteY37" fmla="*/ 900906 h 900906"/>
                <a:gd name="connsiteX38" fmla="*/ 2239646 w 2441576"/>
                <a:gd name="connsiteY38" fmla="*/ 900906 h 900906"/>
                <a:gd name="connsiteX39" fmla="*/ 2176781 w 2441576"/>
                <a:gd name="connsiteY39" fmla="*/ 900906 h 900906"/>
                <a:gd name="connsiteX40" fmla="*/ 2109259 w 2441576"/>
                <a:gd name="connsiteY40" fmla="*/ 900906 h 900906"/>
                <a:gd name="connsiteX41" fmla="*/ 1941949 w 2441576"/>
                <a:gd name="connsiteY41" fmla="*/ 900906 h 900906"/>
                <a:gd name="connsiteX42" fmla="*/ 1824412 w 2441576"/>
                <a:gd name="connsiteY42" fmla="*/ 900906 h 900906"/>
                <a:gd name="connsiteX43" fmla="*/ 1609632 w 2441576"/>
                <a:gd name="connsiteY43" fmla="*/ 900906 h 900906"/>
                <a:gd name="connsiteX44" fmla="*/ 1539566 w 2441576"/>
                <a:gd name="connsiteY44" fmla="*/ 900906 h 900906"/>
                <a:gd name="connsiteX45" fmla="*/ 1324785 w 2441576"/>
                <a:gd name="connsiteY45" fmla="*/ 900906 h 900906"/>
                <a:gd name="connsiteX46" fmla="*/ 1254721 w 2441576"/>
                <a:gd name="connsiteY46" fmla="*/ 900906 h 900906"/>
                <a:gd name="connsiteX47" fmla="*/ 1039939 w 2441576"/>
                <a:gd name="connsiteY47" fmla="*/ 900906 h 900906"/>
                <a:gd name="connsiteX48" fmla="*/ 969874 w 2441576"/>
                <a:gd name="connsiteY48" fmla="*/ 900906 h 900906"/>
                <a:gd name="connsiteX49" fmla="*/ 755093 w 2441576"/>
                <a:gd name="connsiteY49" fmla="*/ 900906 h 900906"/>
                <a:gd name="connsiteX50" fmla="*/ 685028 w 2441576"/>
                <a:gd name="connsiteY50" fmla="*/ 900906 h 900906"/>
                <a:gd name="connsiteX51" fmla="*/ 581332 w 2441576"/>
                <a:gd name="connsiteY51" fmla="*/ 900906 h 900906"/>
                <a:gd name="connsiteX52" fmla="*/ 471351 w 2441576"/>
                <a:gd name="connsiteY52" fmla="*/ 900906 h 900906"/>
                <a:gd name="connsiteX53" fmla="*/ 470246 w 2441576"/>
                <a:gd name="connsiteY53" fmla="*/ 900906 h 900906"/>
                <a:gd name="connsiteX54" fmla="*/ 377080 w 2441576"/>
                <a:gd name="connsiteY54" fmla="*/ 900906 h 900906"/>
                <a:gd name="connsiteX55" fmla="*/ 282811 w 2441576"/>
                <a:gd name="connsiteY55" fmla="*/ 900906 h 900906"/>
                <a:gd name="connsiteX56" fmla="*/ 188541 w 2441576"/>
                <a:gd name="connsiteY56" fmla="*/ 900906 h 900906"/>
                <a:gd name="connsiteX57" fmla="*/ 185400 w 2441576"/>
                <a:gd name="connsiteY57" fmla="*/ 900906 h 900906"/>
                <a:gd name="connsiteX58" fmla="*/ 94270 w 2441576"/>
                <a:gd name="connsiteY58" fmla="*/ 900906 h 900906"/>
                <a:gd name="connsiteX59" fmla="*/ 0 w 2441576"/>
                <a:gd name="connsiteY59" fmla="*/ 900906 h 900906"/>
                <a:gd name="connsiteX60" fmla="*/ 0 w 2441576"/>
                <a:gd name="connsiteY60" fmla="*/ 832298 h 900906"/>
                <a:gd name="connsiteX61" fmla="*/ 0 w 2441576"/>
                <a:gd name="connsiteY61" fmla="*/ 760260 h 900906"/>
                <a:gd name="connsiteX62" fmla="*/ 0 w 2441576"/>
                <a:gd name="connsiteY62" fmla="*/ 748854 h 900906"/>
                <a:gd name="connsiteX63" fmla="*/ 0 w 2441576"/>
                <a:gd name="connsiteY63" fmla="*/ 691652 h 900906"/>
                <a:gd name="connsiteX64" fmla="*/ 0 w 2441576"/>
                <a:gd name="connsiteY64" fmla="*/ 608208 h 900906"/>
                <a:gd name="connsiteX65" fmla="*/ 0 w 2441576"/>
                <a:gd name="connsiteY65" fmla="*/ 539600 h 900906"/>
                <a:gd name="connsiteX66" fmla="*/ 0 w 2441576"/>
                <a:gd name="connsiteY66" fmla="*/ 456156 h 900906"/>
                <a:gd name="connsiteX67" fmla="*/ 0 w 2441576"/>
                <a:gd name="connsiteY67" fmla="*/ 387548 h 900906"/>
                <a:gd name="connsiteX68" fmla="*/ 0 w 2441576"/>
                <a:gd name="connsiteY68" fmla="*/ 304104 h 900906"/>
                <a:gd name="connsiteX69" fmla="*/ 0 w 2441576"/>
                <a:gd name="connsiteY69" fmla="*/ 235496 h 900906"/>
                <a:gd name="connsiteX70" fmla="*/ 0 w 2441576"/>
                <a:gd name="connsiteY70" fmla="*/ 152052 h 900906"/>
                <a:gd name="connsiteX71" fmla="*/ 0 w 2441576"/>
                <a:gd name="connsiteY71" fmla="*/ 83444 h 900906"/>
                <a:gd name="connsiteX72" fmla="*/ 0 w 2441576"/>
                <a:gd name="connsiteY72" fmla="*/ 0 h 900906"/>
                <a:gd name="connsiteX0" fmla="*/ 0 w 2441576"/>
                <a:gd name="connsiteY0" fmla="*/ 0 h 900906"/>
                <a:gd name="connsiteX1" fmla="*/ 94270 w 2441576"/>
                <a:gd name="connsiteY1" fmla="*/ 0 h 900906"/>
                <a:gd name="connsiteX2" fmla="*/ 185400 w 2441576"/>
                <a:gd name="connsiteY2" fmla="*/ 0 h 900906"/>
                <a:gd name="connsiteX3" fmla="*/ 188541 w 2441576"/>
                <a:gd name="connsiteY3" fmla="*/ 0 h 900906"/>
                <a:gd name="connsiteX4" fmla="*/ 282811 w 2441576"/>
                <a:gd name="connsiteY4" fmla="*/ 0 h 900906"/>
                <a:gd name="connsiteX5" fmla="*/ 377080 w 2441576"/>
                <a:gd name="connsiteY5" fmla="*/ 0 h 900906"/>
                <a:gd name="connsiteX6" fmla="*/ 470246 w 2441576"/>
                <a:gd name="connsiteY6" fmla="*/ 0 h 900906"/>
                <a:gd name="connsiteX7" fmla="*/ 471351 w 2441576"/>
                <a:gd name="connsiteY7" fmla="*/ 0 h 900906"/>
                <a:gd name="connsiteX8" fmla="*/ 581332 w 2441576"/>
                <a:gd name="connsiteY8" fmla="*/ 0 h 900906"/>
                <a:gd name="connsiteX9" fmla="*/ 685028 w 2441576"/>
                <a:gd name="connsiteY9" fmla="*/ 0 h 900906"/>
                <a:gd name="connsiteX10" fmla="*/ 755093 w 2441576"/>
                <a:gd name="connsiteY10" fmla="*/ 0 h 900906"/>
                <a:gd name="connsiteX11" fmla="*/ 969874 w 2441576"/>
                <a:gd name="connsiteY11" fmla="*/ 0 h 900906"/>
                <a:gd name="connsiteX12" fmla="*/ 1039939 w 2441576"/>
                <a:gd name="connsiteY12" fmla="*/ 0 h 900906"/>
                <a:gd name="connsiteX13" fmla="*/ 1254721 w 2441576"/>
                <a:gd name="connsiteY13" fmla="*/ 0 h 900906"/>
                <a:gd name="connsiteX14" fmla="*/ 1324785 w 2441576"/>
                <a:gd name="connsiteY14" fmla="*/ 0 h 900906"/>
                <a:gd name="connsiteX15" fmla="*/ 1539566 w 2441576"/>
                <a:gd name="connsiteY15" fmla="*/ 0 h 900906"/>
                <a:gd name="connsiteX16" fmla="*/ 1609632 w 2441576"/>
                <a:gd name="connsiteY16" fmla="*/ 0 h 900906"/>
                <a:gd name="connsiteX17" fmla="*/ 1824412 w 2441576"/>
                <a:gd name="connsiteY17" fmla="*/ 0 h 900906"/>
                <a:gd name="connsiteX18" fmla="*/ 1941949 w 2441576"/>
                <a:gd name="connsiteY18" fmla="*/ 0 h 900906"/>
                <a:gd name="connsiteX19" fmla="*/ 2094866 w 2441576"/>
                <a:gd name="connsiteY19" fmla="*/ 0 h 900906"/>
                <a:gd name="connsiteX20" fmla="*/ 2176781 w 2441576"/>
                <a:gd name="connsiteY20" fmla="*/ 0 h 900906"/>
                <a:gd name="connsiteX21" fmla="*/ 2258696 w 2441576"/>
                <a:gd name="connsiteY21" fmla="*/ 0 h 900906"/>
                <a:gd name="connsiteX22" fmla="*/ 2321561 w 2441576"/>
                <a:gd name="connsiteY22" fmla="*/ 0 h 900906"/>
                <a:gd name="connsiteX23" fmla="*/ 2441576 w 2441576"/>
                <a:gd name="connsiteY23" fmla="*/ 0 h 900906"/>
                <a:gd name="connsiteX24" fmla="*/ 2441576 w 2441576"/>
                <a:gd name="connsiteY24" fmla="*/ 83444 h 900906"/>
                <a:gd name="connsiteX25" fmla="*/ 2441576 w 2441576"/>
                <a:gd name="connsiteY25" fmla="*/ 152052 h 900906"/>
                <a:gd name="connsiteX26" fmla="*/ 2441576 w 2441576"/>
                <a:gd name="connsiteY26" fmla="*/ 235496 h 900906"/>
                <a:gd name="connsiteX27" fmla="*/ 2441576 w 2441576"/>
                <a:gd name="connsiteY27" fmla="*/ 304104 h 900906"/>
                <a:gd name="connsiteX28" fmla="*/ 2441576 w 2441576"/>
                <a:gd name="connsiteY28" fmla="*/ 387548 h 900906"/>
                <a:gd name="connsiteX29" fmla="*/ 2441576 w 2441576"/>
                <a:gd name="connsiteY29" fmla="*/ 456156 h 900906"/>
                <a:gd name="connsiteX30" fmla="*/ 2441576 w 2441576"/>
                <a:gd name="connsiteY30" fmla="*/ 539600 h 900906"/>
                <a:gd name="connsiteX31" fmla="*/ 2441576 w 2441576"/>
                <a:gd name="connsiteY31" fmla="*/ 608208 h 900906"/>
                <a:gd name="connsiteX32" fmla="*/ 2441576 w 2441576"/>
                <a:gd name="connsiteY32" fmla="*/ 691652 h 900906"/>
                <a:gd name="connsiteX33" fmla="*/ 2441576 w 2441576"/>
                <a:gd name="connsiteY33" fmla="*/ 760260 h 900906"/>
                <a:gd name="connsiteX34" fmla="*/ 2441576 w 2441576"/>
                <a:gd name="connsiteY34" fmla="*/ 832298 h 900906"/>
                <a:gd name="connsiteX35" fmla="*/ 2441576 w 2441576"/>
                <a:gd name="connsiteY35" fmla="*/ 900906 h 900906"/>
                <a:gd name="connsiteX36" fmla="*/ 2321561 w 2441576"/>
                <a:gd name="connsiteY36" fmla="*/ 900906 h 900906"/>
                <a:gd name="connsiteX37" fmla="*/ 2239646 w 2441576"/>
                <a:gd name="connsiteY37" fmla="*/ 900906 h 900906"/>
                <a:gd name="connsiteX38" fmla="*/ 2176781 w 2441576"/>
                <a:gd name="connsiteY38" fmla="*/ 900906 h 900906"/>
                <a:gd name="connsiteX39" fmla="*/ 2109259 w 2441576"/>
                <a:gd name="connsiteY39" fmla="*/ 900906 h 900906"/>
                <a:gd name="connsiteX40" fmla="*/ 1941949 w 2441576"/>
                <a:gd name="connsiteY40" fmla="*/ 900906 h 900906"/>
                <a:gd name="connsiteX41" fmla="*/ 1824412 w 2441576"/>
                <a:gd name="connsiteY41" fmla="*/ 900906 h 900906"/>
                <a:gd name="connsiteX42" fmla="*/ 1609632 w 2441576"/>
                <a:gd name="connsiteY42" fmla="*/ 900906 h 900906"/>
                <a:gd name="connsiteX43" fmla="*/ 1539566 w 2441576"/>
                <a:gd name="connsiteY43" fmla="*/ 900906 h 900906"/>
                <a:gd name="connsiteX44" fmla="*/ 1324785 w 2441576"/>
                <a:gd name="connsiteY44" fmla="*/ 900906 h 900906"/>
                <a:gd name="connsiteX45" fmla="*/ 1254721 w 2441576"/>
                <a:gd name="connsiteY45" fmla="*/ 900906 h 900906"/>
                <a:gd name="connsiteX46" fmla="*/ 1039939 w 2441576"/>
                <a:gd name="connsiteY46" fmla="*/ 900906 h 900906"/>
                <a:gd name="connsiteX47" fmla="*/ 969874 w 2441576"/>
                <a:gd name="connsiteY47" fmla="*/ 900906 h 900906"/>
                <a:gd name="connsiteX48" fmla="*/ 755093 w 2441576"/>
                <a:gd name="connsiteY48" fmla="*/ 900906 h 900906"/>
                <a:gd name="connsiteX49" fmla="*/ 685028 w 2441576"/>
                <a:gd name="connsiteY49" fmla="*/ 900906 h 900906"/>
                <a:gd name="connsiteX50" fmla="*/ 581332 w 2441576"/>
                <a:gd name="connsiteY50" fmla="*/ 900906 h 900906"/>
                <a:gd name="connsiteX51" fmla="*/ 471351 w 2441576"/>
                <a:gd name="connsiteY51" fmla="*/ 900906 h 900906"/>
                <a:gd name="connsiteX52" fmla="*/ 470246 w 2441576"/>
                <a:gd name="connsiteY52" fmla="*/ 900906 h 900906"/>
                <a:gd name="connsiteX53" fmla="*/ 377080 w 2441576"/>
                <a:gd name="connsiteY53" fmla="*/ 900906 h 900906"/>
                <a:gd name="connsiteX54" fmla="*/ 282811 w 2441576"/>
                <a:gd name="connsiteY54" fmla="*/ 900906 h 900906"/>
                <a:gd name="connsiteX55" fmla="*/ 188541 w 2441576"/>
                <a:gd name="connsiteY55" fmla="*/ 900906 h 900906"/>
                <a:gd name="connsiteX56" fmla="*/ 185400 w 2441576"/>
                <a:gd name="connsiteY56" fmla="*/ 900906 h 900906"/>
                <a:gd name="connsiteX57" fmla="*/ 94270 w 2441576"/>
                <a:gd name="connsiteY57" fmla="*/ 900906 h 900906"/>
                <a:gd name="connsiteX58" fmla="*/ 0 w 2441576"/>
                <a:gd name="connsiteY58" fmla="*/ 900906 h 900906"/>
                <a:gd name="connsiteX59" fmla="*/ 0 w 2441576"/>
                <a:gd name="connsiteY59" fmla="*/ 832298 h 900906"/>
                <a:gd name="connsiteX60" fmla="*/ 0 w 2441576"/>
                <a:gd name="connsiteY60" fmla="*/ 760260 h 900906"/>
                <a:gd name="connsiteX61" fmla="*/ 0 w 2441576"/>
                <a:gd name="connsiteY61" fmla="*/ 748854 h 900906"/>
                <a:gd name="connsiteX62" fmla="*/ 0 w 2441576"/>
                <a:gd name="connsiteY62" fmla="*/ 691652 h 900906"/>
                <a:gd name="connsiteX63" fmla="*/ 0 w 2441576"/>
                <a:gd name="connsiteY63" fmla="*/ 608208 h 900906"/>
                <a:gd name="connsiteX64" fmla="*/ 0 w 2441576"/>
                <a:gd name="connsiteY64" fmla="*/ 539600 h 900906"/>
                <a:gd name="connsiteX65" fmla="*/ 0 w 2441576"/>
                <a:gd name="connsiteY65" fmla="*/ 456156 h 900906"/>
                <a:gd name="connsiteX66" fmla="*/ 0 w 2441576"/>
                <a:gd name="connsiteY66" fmla="*/ 387548 h 900906"/>
                <a:gd name="connsiteX67" fmla="*/ 0 w 2441576"/>
                <a:gd name="connsiteY67" fmla="*/ 304104 h 900906"/>
                <a:gd name="connsiteX68" fmla="*/ 0 w 2441576"/>
                <a:gd name="connsiteY68" fmla="*/ 235496 h 900906"/>
                <a:gd name="connsiteX69" fmla="*/ 0 w 2441576"/>
                <a:gd name="connsiteY69" fmla="*/ 152052 h 900906"/>
                <a:gd name="connsiteX70" fmla="*/ 0 w 2441576"/>
                <a:gd name="connsiteY70" fmla="*/ 83444 h 900906"/>
                <a:gd name="connsiteX71" fmla="*/ 0 w 2441576"/>
                <a:gd name="connsiteY71" fmla="*/ 0 h 900906"/>
                <a:gd name="connsiteX0" fmla="*/ 0 w 2441576"/>
                <a:gd name="connsiteY0" fmla="*/ 0 h 900906"/>
                <a:gd name="connsiteX1" fmla="*/ 94270 w 2441576"/>
                <a:gd name="connsiteY1" fmla="*/ 0 h 900906"/>
                <a:gd name="connsiteX2" fmla="*/ 185400 w 2441576"/>
                <a:gd name="connsiteY2" fmla="*/ 0 h 900906"/>
                <a:gd name="connsiteX3" fmla="*/ 188541 w 2441576"/>
                <a:gd name="connsiteY3" fmla="*/ 0 h 900906"/>
                <a:gd name="connsiteX4" fmla="*/ 282811 w 2441576"/>
                <a:gd name="connsiteY4" fmla="*/ 0 h 900906"/>
                <a:gd name="connsiteX5" fmla="*/ 377080 w 2441576"/>
                <a:gd name="connsiteY5" fmla="*/ 0 h 900906"/>
                <a:gd name="connsiteX6" fmla="*/ 470246 w 2441576"/>
                <a:gd name="connsiteY6" fmla="*/ 0 h 900906"/>
                <a:gd name="connsiteX7" fmla="*/ 471351 w 2441576"/>
                <a:gd name="connsiteY7" fmla="*/ 0 h 900906"/>
                <a:gd name="connsiteX8" fmla="*/ 581332 w 2441576"/>
                <a:gd name="connsiteY8" fmla="*/ 0 h 900906"/>
                <a:gd name="connsiteX9" fmla="*/ 685028 w 2441576"/>
                <a:gd name="connsiteY9" fmla="*/ 0 h 900906"/>
                <a:gd name="connsiteX10" fmla="*/ 755093 w 2441576"/>
                <a:gd name="connsiteY10" fmla="*/ 0 h 900906"/>
                <a:gd name="connsiteX11" fmla="*/ 969874 w 2441576"/>
                <a:gd name="connsiteY11" fmla="*/ 0 h 900906"/>
                <a:gd name="connsiteX12" fmla="*/ 1039939 w 2441576"/>
                <a:gd name="connsiteY12" fmla="*/ 0 h 900906"/>
                <a:gd name="connsiteX13" fmla="*/ 1254721 w 2441576"/>
                <a:gd name="connsiteY13" fmla="*/ 0 h 900906"/>
                <a:gd name="connsiteX14" fmla="*/ 1324785 w 2441576"/>
                <a:gd name="connsiteY14" fmla="*/ 0 h 900906"/>
                <a:gd name="connsiteX15" fmla="*/ 1539566 w 2441576"/>
                <a:gd name="connsiteY15" fmla="*/ 0 h 900906"/>
                <a:gd name="connsiteX16" fmla="*/ 1609632 w 2441576"/>
                <a:gd name="connsiteY16" fmla="*/ 0 h 900906"/>
                <a:gd name="connsiteX17" fmla="*/ 1824412 w 2441576"/>
                <a:gd name="connsiteY17" fmla="*/ 0 h 900906"/>
                <a:gd name="connsiteX18" fmla="*/ 1941949 w 2441576"/>
                <a:gd name="connsiteY18" fmla="*/ 0 h 900906"/>
                <a:gd name="connsiteX19" fmla="*/ 2094866 w 2441576"/>
                <a:gd name="connsiteY19" fmla="*/ 0 h 900906"/>
                <a:gd name="connsiteX20" fmla="*/ 2176781 w 2441576"/>
                <a:gd name="connsiteY20" fmla="*/ 0 h 900906"/>
                <a:gd name="connsiteX21" fmla="*/ 2258696 w 2441576"/>
                <a:gd name="connsiteY21" fmla="*/ 0 h 900906"/>
                <a:gd name="connsiteX22" fmla="*/ 2321561 w 2441576"/>
                <a:gd name="connsiteY22" fmla="*/ 0 h 900906"/>
                <a:gd name="connsiteX23" fmla="*/ 2441576 w 2441576"/>
                <a:gd name="connsiteY23" fmla="*/ 0 h 900906"/>
                <a:gd name="connsiteX24" fmla="*/ 2441576 w 2441576"/>
                <a:gd name="connsiteY24" fmla="*/ 83444 h 900906"/>
                <a:gd name="connsiteX25" fmla="*/ 2441576 w 2441576"/>
                <a:gd name="connsiteY25" fmla="*/ 152052 h 900906"/>
                <a:gd name="connsiteX26" fmla="*/ 2441576 w 2441576"/>
                <a:gd name="connsiteY26" fmla="*/ 235496 h 900906"/>
                <a:gd name="connsiteX27" fmla="*/ 2441576 w 2441576"/>
                <a:gd name="connsiteY27" fmla="*/ 304104 h 900906"/>
                <a:gd name="connsiteX28" fmla="*/ 2441576 w 2441576"/>
                <a:gd name="connsiteY28" fmla="*/ 387548 h 900906"/>
                <a:gd name="connsiteX29" fmla="*/ 2441576 w 2441576"/>
                <a:gd name="connsiteY29" fmla="*/ 456156 h 900906"/>
                <a:gd name="connsiteX30" fmla="*/ 2441576 w 2441576"/>
                <a:gd name="connsiteY30" fmla="*/ 539600 h 900906"/>
                <a:gd name="connsiteX31" fmla="*/ 2441576 w 2441576"/>
                <a:gd name="connsiteY31" fmla="*/ 608208 h 900906"/>
                <a:gd name="connsiteX32" fmla="*/ 2441576 w 2441576"/>
                <a:gd name="connsiteY32" fmla="*/ 691652 h 900906"/>
                <a:gd name="connsiteX33" fmla="*/ 2441576 w 2441576"/>
                <a:gd name="connsiteY33" fmla="*/ 760260 h 900906"/>
                <a:gd name="connsiteX34" fmla="*/ 2441576 w 2441576"/>
                <a:gd name="connsiteY34" fmla="*/ 832298 h 900906"/>
                <a:gd name="connsiteX35" fmla="*/ 2441576 w 2441576"/>
                <a:gd name="connsiteY35" fmla="*/ 900906 h 900906"/>
                <a:gd name="connsiteX36" fmla="*/ 2321561 w 2441576"/>
                <a:gd name="connsiteY36" fmla="*/ 900906 h 900906"/>
                <a:gd name="connsiteX37" fmla="*/ 2239646 w 2441576"/>
                <a:gd name="connsiteY37" fmla="*/ 900906 h 900906"/>
                <a:gd name="connsiteX38" fmla="*/ 2176781 w 2441576"/>
                <a:gd name="connsiteY38" fmla="*/ 900906 h 900906"/>
                <a:gd name="connsiteX39" fmla="*/ 2109259 w 2441576"/>
                <a:gd name="connsiteY39" fmla="*/ 900906 h 900906"/>
                <a:gd name="connsiteX40" fmla="*/ 1941949 w 2441576"/>
                <a:gd name="connsiteY40" fmla="*/ 900906 h 900906"/>
                <a:gd name="connsiteX41" fmla="*/ 1824412 w 2441576"/>
                <a:gd name="connsiteY41" fmla="*/ 900906 h 900906"/>
                <a:gd name="connsiteX42" fmla="*/ 1609632 w 2441576"/>
                <a:gd name="connsiteY42" fmla="*/ 900906 h 900906"/>
                <a:gd name="connsiteX43" fmla="*/ 1539566 w 2441576"/>
                <a:gd name="connsiteY43" fmla="*/ 900906 h 900906"/>
                <a:gd name="connsiteX44" fmla="*/ 1324785 w 2441576"/>
                <a:gd name="connsiteY44" fmla="*/ 900906 h 900906"/>
                <a:gd name="connsiteX45" fmla="*/ 1254721 w 2441576"/>
                <a:gd name="connsiteY45" fmla="*/ 900906 h 900906"/>
                <a:gd name="connsiteX46" fmla="*/ 1039939 w 2441576"/>
                <a:gd name="connsiteY46" fmla="*/ 900906 h 900906"/>
                <a:gd name="connsiteX47" fmla="*/ 969874 w 2441576"/>
                <a:gd name="connsiteY47" fmla="*/ 900906 h 900906"/>
                <a:gd name="connsiteX48" fmla="*/ 755093 w 2441576"/>
                <a:gd name="connsiteY48" fmla="*/ 900906 h 900906"/>
                <a:gd name="connsiteX49" fmla="*/ 685028 w 2441576"/>
                <a:gd name="connsiteY49" fmla="*/ 900906 h 900906"/>
                <a:gd name="connsiteX50" fmla="*/ 581332 w 2441576"/>
                <a:gd name="connsiteY50" fmla="*/ 900906 h 900906"/>
                <a:gd name="connsiteX51" fmla="*/ 471351 w 2441576"/>
                <a:gd name="connsiteY51" fmla="*/ 900906 h 900906"/>
                <a:gd name="connsiteX52" fmla="*/ 470246 w 2441576"/>
                <a:gd name="connsiteY52" fmla="*/ 900906 h 900906"/>
                <a:gd name="connsiteX53" fmla="*/ 377080 w 2441576"/>
                <a:gd name="connsiteY53" fmla="*/ 900906 h 900906"/>
                <a:gd name="connsiteX54" fmla="*/ 282811 w 2441576"/>
                <a:gd name="connsiteY54" fmla="*/ 900906 h 900906"/>
                <a:gd name="connsiteX55" fmla="*/ 188541 w 2441576"/>
                <a:gd name="connsiteY55" fmla="*/ 900906 h 900906"/>
                <a:gd name="connsiteX56" fmla="*/ 185400 w 2441576"/>
                <a:gd name="connsiteY56" fmla="*/ 900906 h 900906"/>
                <a:gd name="connsiteX57" fmla="*/ 94270 w 2441576"/>
                <a:gd name="connsiteY57" fmla="*/ 900906 h 900906"/>
                <a:gd name="connsiteX58" fmla="*/ 0 w 2441576"/>
                <a:gd name="connsiteY58" fmla="*/ 900906 h 900906"/>
                <a:gd name="connsiteX59" fmla="*/ 0 w 2441576"/>
                <a:gd name="connsiteY59" fmla="*/ 832298 h 900906"/>
                <a:gd name="connsiteX60" fmla="*/ 0 w 2441576"/>
                <a:gd name="connsiteY60" fmla="*/ 760260 h 900906"/>
                <a:gd name="connsiteX61" fmla="*/ 0 w 2441576"/>
                <a:gd name="connsiteY61" fmla="*/ 691652 h 900906"/>
                <a:gd name="connsiteX62" fmla="*/ 0 w 2441576"/>
                <a:gd name="connsiteY62" fmla="*/ 608208 h 900906"/>
                <a:gd name="connsiteX63" fmla="*/ 0 w 2441576"/>
                <a:gd name="connsiteY63" fmla="*/ 539600 h 900906"/>
                <a:gd name="connsiteX64" fmla="*/ 0 w 2441576"/>
                <a:gd name="connsiteY64" fmla="*/ 456156 h 900906"/>
                <a:gd name="connsiteX65" fmla="*/ 0 w 2441576"/>
                <a:gd name="connsiteY65" fmla="*/ 387548 h 900906"/>
                <a:gd name="connsiteX66" fmla="*/ 0 w 2441576"/>
                <a:gd name="connsiteY66" fmla="*/ 304104 h 900906"/>
                <a:gd name="connsiteX67" fmla="*/ 0 w 2441576"/>
                <a:gd name="connsiteY67" fmla="*/ 235496 h 900906"/>
                <a:gd name="connsiteX68" fmla="*/ 0 w 2441576"/>
                <a:gd name="connsiteY68" fmla="*/ 152052 h 900906"/>
                <a:gd name="connsiteX69" fmla="*/ 0 w 2441576"/>
                <a:gd name="connsiteY69" fmla="*/ 83444 h 900906"/>
                <a:gd name="connsiteX70" fmla="*/ 0 w 2441576"/>
                <a:gd name="connsiteY70" fmla="*/ 0 h 900906"/>
                <a:gd name="connsiteX0" fmla="*/ 0 w 2441576"/>
                <a:gd name="connsiteY0" fmla="*/ 247 h 901153"/>
                <a:gd name="connsiteX1" fmla="*/ 94270 w 2441576"/>
                <a:gd name="connsiteY1" fmla="*/ 247 h 901153"/>
                <a:gd name="connsiteX2" fmla="*/ 185400 w 2441576"/>
                <a:gd name="connsiteY2" fmla="*/ 247 h 901153"/>
                <a:gd name="connsiteX3" fmla="*/ 188541 w 2441576"/>
                <a:gd name="connsiteY3" fmla="*/ 247 h 901153"/>
                <a:gd name="connsiteX4" fmla="*/ 282811 w 2441576"/>
                <a:gd name="connsiteY4" fmla="*/ 247 h 901153"/>
                <a:gd name="connsiteX5" fmla="*/ 377080 w 2441576"/>
                <a:gd name="connsiteY5" fmla="*/ 247 h 901153"/>
                <a:gd name="connsiteX6" fmla="*/ 470246 w 2441576"/>
                <a:gd name="connsiteY6" fmla="*/ 247 h 901153"/>
                <a:gd name="connsiteX7" fmla="*/ 471351 w 2441576"/>
                <a:gd name="connsiteY7" fmla="*/ 247 h 901153"/>
                <a:gd name="connsiteX8" fmla="*/ 581332 w 2441576"/>
                <a:gd name="connsiteY8" fmla="*/ 247 h 901153"/>
                <a:gd name="connsiteX9" fmla="*/ 685028 w 2441576"/>
                <a:gd name="connsiteY9" fmla="*/ 247 h 901153"/>
                <a:gd name="connsiteX10" fmla="*/ 755093 w 2441576"/>
                <a:gd name="connsiteY10" fmla="*/ 247 h 901153"/>
                <a:gd name="connsiteX11" fmla="*/ 969874 w 2441576"/>
                <a:gd name="connsiteY11" fmla="*/ 247 h 901153"/>
                <a:gd name="connsiteX12" fmla="*/ 1039939 w 2441576"/>
                <a:gd name="connsiteY12" fmla="*/ 247 h 901153"/>
                <a:gd name="connsiteX13" fmla="*/ 1254721 w 2441576"/>
                <a:gd name="connsiteY13" fmla="*/ 247 h 901153"/>
                <a:gd name="connsiteX14" fmla="*/ 1324785 w 2441576"/>
                <a:gd name="connsiteY14" fmla="*/ 247 h 901153"/>
                <a:gd name="connsiteX15" fmla="*/ 1430031 w 2441576"/>
                <a:gd name="connsiteY15" fmla="*/ 0 h 901153"/>
                <a:gd name="connsiteX16" fmla="*/ 1539566 w 2441576"/>
                <a:gd name="connsiteY16" fmla="*/ 247 h 901153"/>
                <a:gd name="connsiteX17" fmla="*/ 1609632 w 2441576"/>
                <a:gd name="connsiteY17" fmla="*/ 247 h 901153"/>
                <a:gd name="connsiteX18" fmla="*/ 1824412 w 2441576"/>
                <a:gd name="connsiteY18" fmla="*/ 247 h 901153"/>
                <a:gd name="connsiteX19" fmla="*/ 1941949 w 2441576"/>
                <a:gd name="connsiteY19" fmla="*/ 247 h 901153"/>
                <a:gd name="connsiteX20" fmla="*/ 2094866 w 2441576"/>
                <a:gd name="connsiteY20" fmla="*/ 247 h 901153"/>
                <a:gd name="connsiteX21" fmla="*/ 2176781 w 2441576"/>
                <a:gd name="connsiteY21" fmla="*/ 247 h 901153"/>
                <a:gd name="connsiteX22" fmla="*/ 2258696 w 2441576"/>
                <a:gd name="connsiteY22" fmla="*/ 247 h 901153"/>
                <a:gd name="connsiteX23" fmla="*/ 2321561 w 2441576"/>
                <a:gd name="connsiteY23" fmla="*/ 247 h 901153"/>
                <a:gd name="connsiteX24" fmla="*/ 2441576 w 2441576"/>
                <a:gd name="connsiteY24" fmla="*/ 247 h 901153"/>
                <a:gd name="connsiteX25" fmla="*/ 2441576 w 2441576"/>
                <a:gd name="connsiteY25" fmla="*/ 83691 h 901153"/>
                <a:gd name="connsiteX26" fmla="*/ 2441576 w 2441576"/>
                <a:gd name="connsiteY26" fmla="*/ 152299 h 901153"/>
                <a:gd name="connsiteX27" fmla="*/ 2441576 w 2441576"/>
                <a:gd name="connsiteY27" fmla="*/ 235743 h 901153"/>
                <a:gd name="connsiteX28" fmla="*/ 2441576 w 2441576"/>
                <a:gd name="connsiteY28" fmla="*/ 304351 h 901153"/>
                <a:gd name="connsiteX29" fmla="*/ 2441576 w 2441576"/>
                <a:gd name="connsiteY29" fmla="*/ 387795 h 901153"/>
                <a:gd name="connsiteX30" fmla="*/ 2441576 w 2441576"/>
                <a:gd name="connsiteY30" fmla="*/ 456403 h 901153"/>
                <a:gd name="connsiteX31" fmla="*/ 2441576 w 2441576"/>
                <a:gd name="connsiteY31" fmla="*/ 539847 h 901153"/>
                <a:gd name="connsiteX32" fmla="*/ 2441576 w 2441576"/>
                <a:gd name="connsiteY32" fmla="*/ 608455 h 901153"/>
                <a:gd name="connsiteX33" fmla="*/ 2441576 w 2441576"/>
                <a:gd name="connsiteY33" fmla="*/ 691899 h 901153"/>
                <a:gd name="connsiteX34" fmla="*/ 2441576 w 2441576"/>
                <a:gd name="connsiteY34" fmla="*/ 760507 h 901153"/>
                <a:gd name="connsiteX35" fmla="*/ 2441576 w 2441576"/>
                <a:gd name="connsiteY35" fmla="*/ 832545 h 901153"/>
                <a:gd name="connsiteX36" fmla="*/ 2441576 w 2441576"/>
                <a:gd name="connsiteY36" fmla="*/ 901153 h 901153"/>
                <a:gd name="connsiteX37" fmla="*/ 2321561 w 2441576"/>
                <a:gd name="connsiteY37" fmla="*/ 901153 h 901153"/>
                <a:gd name="connsiteX38" fmla="*/ 2239646 w 2441576"/>
                <a:gd name="connsiteY38" fmla="*/ 901153 h 901153"/>
                <a:gd name="connsiteX39" fmla="*/ 2176781 w 2441576"/>
                <a:gd name="connsiteY39" fmla="*/ 901153 h 901153"/>
                <a:gd name="connsiteX40" fmla="*/ 2109259 w 2441576"/>
                <a:gd name="connsiteY40" fmla="*/ 901153 h 901153"/>
                <a:gd name="connsiteX41" fmla="*/ 1941949 w 2441576"/>
                <a:gd name="connsiteY41" fmla="*/ 901153 h 901153"/>
                <a:gd name="connsiteX42" fmla="*/ 1824412 w 2441576"/>
                <a:gd name="connsiteY42" fmla="*/ 901153 h 901153"/>
                <a:gd name="connsiteX43" fmla="*/ 1609632 w 2441576"/>
                <a:gd name="connsiteY43" fmla="*/ 901153 h 901153"/>
                <a:gd name="connsiteX44" fmla="*/ 1539566 w 2441576"/>
                <a:gd name="connsiteY44" fmla="*/ 901153 h 901153"/>
                <a:gd name="connsiteX45" fmla="*/ 1324785 w 2441576"/>
                <a:gd name="connsiteY45" fmla="*/ 901153 h 901153"/>
                <a:gd name="connsiteX46" fmla="*/ 1254721 w 2441576"/>
                <a:gd name="connsiteY46" fmla="*/ 901153 h 901153"/>
                <a:gd name="connsiteX47" fmla="*/ 1039939 w 2441576"/>
                <a:gd name="connsiteY47" fmla="*/ 901153 h 901153"/>
                <a:gd name="connsiteX48" fmla="*/ 969874 w 2441576"/>
                <a:gd name="connsiteY48" fmla="*/ 901153 h 901153"/>
                <a:gd name="connsiteX49" fmla="*/ 755093 w 2441576"/>
                <a:gd name="connsiteY49" fmla="*/ 901153 h 901153"/>
                <a:gd name="connsiteX50" fmla="*/ 685028 w 2441576"/>
                <a:gd name="connsiteY50" fmla="*/ 901153 h 901153"/>
                <a:gd name="connsiteX51" fmla="*/ 581332 w 2441576"/>
                <a:gd name="connsiteY51" fmla="*/ 901153 h 901153"/>
                <a:gd name="connsiteX52" fmla="*/ 471351 w 2441576"/>
                <a:gd name="connsiteY52" fmla="*/ 901153 h 901153"/>
                <a:gd name="connsiteX53" fmla="*/ 470246 w 2441576"/>
                <a:gd name="connsiteY53" fmla="*/ 901153 h 901153"/>
                <a:gd name="connsiteX54" fmla="*/ 377080 w 2441576"/>
                <a:gd name="connsiteY54" fmla="*/ 901153 h 901153"/>
                <a:gd name="connsiteX55" fmla="*/ 282811 w 2441576"/>
                <a:gd name="connsiteY55" fmla="*/ 901153 h 901153"/>
                <a:gd name="connsiteX56" fmla="*/ 188541 w 2441576"/>
                <a:gd name="connsiteY56" fmla="*/ 901153 h 901153"/>
                <a:gd name="connsiteX57" fmla="*/ 185400 w 2441576"/>
                <a:gd name="connsiteY57" fmla="*/ 901153 h 901153"/>
                <a:gd name="connsiteX58" fmla="*/ 94270 w 2441576"/>
                <a:gd name="connsiteY58" fmla="*/ 901153 h 901153"/>
                <a:gd name="connsiteX59" fmla="*/ 0 w 2441576"/>
                <a:gd name="connsiteY59" fmla="*/ 901153 h 901153"/>
                <a:gd name="connsiteX60" fmla="*/ 0 w 2441576"/>
                <a:gd name="connsiteY60" fmla="*/ 832545 h 901153"/>
                <a:gd name="connsiteX61" fmla="*/ 0 w 2441576"/>
                <a:gd name="connsiteY61" fmla="*/ 760507 h 901153"/>
                <a:gd name="connsiteX62" fmla="*/ 0 w 2441576"/>
                <a:gd name="connsiteY62" fmla="*/ 691899 h 901153"/>
                <a:gd name="connsiteX63" fmla="*/ 0 w 2441576"/>
                <a:gd name="connsiteY63" fmla="*/ 608455 h 901153"/>
                <a:gd name="connsiteX64" fmla="*/ 0 w 2441576"/>
                <a:gd name="connsiteY64" fmla="*/ 539847 h 901153"/>
                <a:gd name="connsiteX65" fmla="*/ 0 w 2441576"/>
                <a:gd name="connsiteY65" fmla="*/ 456403 h 901153"/>
                <a:gd name="connsiteX66" fmla="*/ 0 w 2441576"/>
                <a:gd name="connsiteY66" fmla="*/ 387795 h 901153"/>
                <a:gd name="connsiteX67" fmla="*/ 0 w 2441576"/>
                <a:gd name="connsiteY67" fmla="*/ 304351 h 901153"/>
                <a:gd name="connsiteX68" fmla="*/ 0 w 2441576"/>
                <a:gd name="connsiteY68" fmla="*/ 235743 h 901153"/>
                <a:gd name="connsiteX69" fmla="*/ 0 w 2441576"/>
                <a:gd name="connsiteY69" fmla="*/ 152299 h 901153"/>
                <a:gd name="connsiteX70" fmla="*/ 0 w 2441576"/>
                <a:gd name="connsiteY70" fmla="*/ 83691 h 901153"/>
                <a:gd name="connsiteX71" fmla="*/ 0 w 2441576"/>
                <a:gd name="connsiteY71" fmla="*/ 247 h 901153"/>
                <a:gd name="connsiteX0" fmla="*/ 0 w 2441576"/>
                <a:gd name="connsiteY0" fmla="*/ 247 h 901154"/>
                <a:gd name="connsiteX1" fmla="*/ 94270 w 2441576"/>
                <a:gd name="connsiteY1" fmla="*/ 247 h 901154"/>
                <a:gd name="connsiteX2" fmla="*/ 185400 w 2441576"/>
                <a:gd name="connsiteY2" fmla="*/ 247 h 901154"/>
                <a:gd name="connsiteX3" fmla="*/ 188541 w 2441576"/>
                <a:gd name="connsiteY3" fmla="*/ 247 h 901154"/>
                <a:gd name="connsiteX4" fmla="*/ 282811 w 2441576"/>
                <a:gd name="connsiteY4" fmla="*/ 247 h 901154"/>
                <a:gd name="connsiteX5" fmla="*/ 377080 w 2441576"/>
                <a:gd name="connsiteY5" fmla="*/ 247 h 901154"/>
                <a:gd name="connsiteX6" fmla="*/ 470246 w 2441576"/>
                <a:gd name="connsiteY6" fmla="*/ 247 h 901154"/>
                <a:gd name="connsiteX7" fmla="*/ 471351 w 2441576"/>
                <a:gd name="connsiteY7" fmla="*/ 247 h 901154"/>
                <a:gd name="connsiteX8" fmla="*/ 581332 w 2441576"/>
                <a:gd name="connsiteY8" fmla="*/ 247 h 901154"/>
                <a:gd name="connsiteX9" fmla="*/ 685028 w 2441576"/>
                <a:gd name="connsiteY9" fmla="*/ 247 h 901154"/>
                <a:gd name="connsiteX10" fmla="*/ 755093 w 2441576"/>
                <a:gd name="connsiteY10" fmla="*/ 247 h 901154"/>
                <a:gd name="connsiteX11" fmla="*/ 969874 w 2441576"/>
                <a:gd name="connsiteY11" fmla="*/ 247 h 901154"/>
                <a:gd name="connsiteX12" fmla="*/ 1039939 w 2441576"/>
                <a:gd name="connsiteY12" fmla="*/ 247 h 901154"/>
                <a:gd name="connsiteX13" fmla="*/ 1254721 w 2441576"/>
                <a:gd name="connsiteY13" fmla="*/ 247 h 901154"/>
                <a:gd name="connsiteX14" fmla="*/ 1324785 w 2441576"/>
                <a:gd name="connsiteY14" fmla="*/ 247 h 901154"/>
                <a:gd name="connsiteX15" fmla="*/ 1430031 w 2441576"/>
                <a:gd name="connsiteY15" fmla="*/ 0 h 901154"/>
                <a:gd name="connsiteX16" fmla="*/ 1539566 w 2441576"/>
                <a:gd name="connsiteY16" fmla="*/ 247 h 901154"/>
                <a:gd name="connsiteX17" fmla="*/ 1609632 w 2441576"/>
                <a:gd name="connsiteY17" fmla="*/ 247 h 901154"/>
                <a:gd name="connsiteX18" fmla="*/ 1824412 w 2441576"/>
                <a:gd name="connsiteY18" fmla="*/ 247 h 901154"/>
                <a:gd name="connsiteX19" fmla="*/ 1941949 w 2441576"/>
                <a:gd name="connsiteY19" fmla="*/ 247 h 901154"/>
                <a:gd name="connsiteX20" fmla="*/ 2094866 w 2441576"/>
                <a:gd name="connsiteY20" fmla="*/ 247 h 901154"/>
                <a:gd name="connsiteX21" fmla="*/ 2176781 w 2441576"/>
                <a:gd name="connsiteY21" fmla="*/ 247 h 901154"/>
                <a:gd name="connsiteX22" fmla="*/ 2258696 w 2441576"/>
                <a:gd name="connsiteY22" fmla="*/ 247 h 901154"/>
                <a:gd name="connsiteX23" fmla="*/ 2321561 w 2441576"/>
                <a:gd name="connsiteY23" fmla="*/ 247 h 901154"/>
                <a:gd name="connsiteX24" fmla="*/ 2441576 w 2441576"/>
                <a:gd name="connsiteY24" fmla="*/ 247 h 901154"/>
                <a:gd name="connsiteX25" fmla="*/ 2441576 w 2441576"/>
                <a:gd name="connsiteY25" fmla="*/ 83691 h 901154"/>
                <a:gd name="connsiteX26" fmla="*/ 2441576 w 2441576"/>
                <a:gd name="connsiteY26" fmla="*/ 152299 h 901154"/>
                <a:gd name="connsiteX27" fmla="*/ 2441576 w 2441576"/>
                <a:gd name="connsiteY27" fmla="*/ 235743 h 901154"/>
                <a:gd name="connsiteX28" fmla="*/ 2441576 w 2441576"/>
                <a:gd name="connsiteY28" fmla="*/ 304351 h 901154"/>
                <a:gd name="connsiteX29" fmla="*/ 2441576 w 2441576"/>
                <a:gd name="connsiteY29" fmla="*/ 387795 h 901154"/>
                <a:gd name="connsiteX30" fmla="*/ 2441576 w 2441576"/>
                <a:gd name="connsiteY30" fmla="*/ 456403 h 901154"/>
                <a:gd name="connsiteX31" fmla="*/ 2441576 w 2441576"/>
                <a:gd name="connsiteY31" fmla="*/ 539847 h 901154"/>
                <a:gd name="connsiteX32" fmla="*/ 2441576 w 2441576"/>
                <a:gd name="connsiteY32" fmla="*/ 608455 h 901154"/>
                <a:gd name="connsiteX33" fmla="*/ 2441576 w 2441576"/>
                <a:gd name="connsiteY33" fmla="*/ 691899 h 901154"/>
                <a:gd name="connsiteX34" fmla="*/ 2441576 w 2441576"/>
                <a:gd name="connsiteY34" fmla="*/ 760507 h 901154"/>
                <a:gd name="connsiteX35" fmla="*/ 2441576 w 2441576"/>
                <a:gd name="connsiteY35" fmla="*/ 832545 h 901154"/>
                <a:gd name="connsiteX36" fmla="*/ 2441576 w 2441576"/>
                <a:gd name="connsiteY36" fmla="*/ 901153 h 901154"/>
                <a:gd name="connsiteX37" fmla="*/ 2321561 w 2441576"/>
                <a:gd name="connsiteY37" fmla="*/ 901153 h 901154"/>
                <a:gd name="connsiteX38" fmla="*/ 2239646 w 2441576"/>
                <a:gd name="connsiteY38" fmla="*/ 901153 h 901154"/>
                <a:gd name="connsiteX39" fmla="*/ 2176781 w 2441576"/>
                <a:gd name="connsiteY39" fmla="*/ 901153 h 901154"/>
                <a:gd name="connsiteX40" fmla="*/ 2109259 w 2441576"/>
                <a:gd name="connsiteY40" fmla="*/ 901153 h 901154"/>
                <a:gd name="connsiteX41" fmla="*/ 1941949 w 2441576"/>
                <a:gd name="connsiteY41" fmla="*/ 901153 h 901154"/>
                <a:gd name="connsiteX42" fmla="*/ 1824412 w 2441576"/>
                <a:gd name="connsiteY42" fmla="*/ 901153 h 901154"/>
                <a:gd name="connsiteX43" fmla="*/ 1609632 w 2441576"/>
                <a:gd name="connsiteY43" fmla="*/ 901153 h 901154"/>
                <a:gd name="connsiteX44" fmla="*/ 1539566 w 2441576"/>
                <a:gd name="connsiteY44" fmla="*/ 901153 h 901154"/>
                <a:gd name="connsiteX45" fmla="*/ 1324785 w 2441576"/>
                <a:gd name="connsiteY45" fmla="*/ 901153 h 901154"/>
                <a:gd name="connsiteX46" fmla="*/ 1254721 w 2441576"/>
                <a:gd name="connsiteY46" fmla="*/ 901153 h 901154"/>
                <a:gd name="connsiteX47" fmla="*/ 1039939 w 2441576"/>
                <a:gd name="connsiteY47" fmla="*/ 901153 h 901154"/>
                <a:gd name="connsiteX48" fmla="*/ 969874 w 2441576"/>
                <a:gd name="connsiteY48" fmla="*/ 901153 h 901154"/>
                <a:gd name="connsiteX49" fmla="*/ 864820 w 2441576"/>
                <a:gd name="connsiteY49" fmla="*/ 901154 h 901154"/>
                <a:gd name="connsiteX50" fmla="*/ 755093 w 2441576"/>
                <a:gd name="connsiteY50" fmla="*/ 901153 h 901154"/>
                <a:gd name="connsiteX51" fmla="*/ 685028 w 2441576"/>
                <a:gd name="connsiteY51" fmla="*/ 901153 h 901154"/>
                <a:gd name="connsiteX52" fmla="*/ 581332 w 2441576"/>
                <a:gd name="connsiteY52" fmla="*/ 901153 h 901154"/>
                <a:gd name="connsiteX53" fmla="*/ 471351 w 2441576"/>
                <a:gd name="connsiteY53" fmla="*/ 901153 h 901154"/>
                <a:gd name="connsiteX54" fmla="*/ 470246 w 2441576"/>
                <a:gd name="connsiteY54" fmla="*/ 901153 h 901154"/>
                <a:gd name="connsiteX55" fmla="*/ 377080 w 2441576"/>
                <a:gd name="connsiteY55" fmla="*/ 901153 h 901154"/>
                <a:gd name="connsiteX56" fmla="*/ 282811 w 2441576"/>
                <a:gd name="connsiteY56" fmla="*/ 901153 h 901154"/>
                <a:gd name="connsiteX57" fmla="*/ 188541 w 2441576"/>
                <a:gd name="connsiteY57" fmla="*/ 901153 h 901154"/>
                <a:gd name="connsiteX58" fmla="*/ 185400 w 2441576"/>
                <a:gd name="connsiteY58" fmla="*/ 901153 h 901154"/>
                <a:gd name="connsiteX59" fmla="*/ 94270 w 2441576"/>
                <a:gd name="connsiteY59" fmla="*/ 901153 h 901154"/>
                <a:gd name="connsiteX60" fmla="*/ 0 w 2441576"/>
                <a:gd name="connsiteY60" fmla="*/ 901153 h 901154"/>
                <a:gd name="connsiteX61" fmla="*/ 0 w 2441576"/>
                <a:gd name="connsiteY61" fmla="*/ 832545 h 901154"/>
                <a:gd name="connsiteX62" fmla="*/ 0 w 2441576"/>
                <a:gd name="connsiteY62" fmla="*/ 760507 h 901154"/>
                <a:gd name="connsiteX63" fmla="*/ 0 w 2441576"/>
                <a:gd name="connsiteY63" fmla="*/ 691899 h 901154"/>
                <a:gd name="connsiteX64" fmla="*/ 0 w 2441576"/>
                <a:gd name="connsiteY64" fmla="*/ 608455 h 901154"/>
                <a:gd name="connsiteX65" fmla="*/ 0 w 2441576"/>
                <a:gd name="connsiteY65" fmla="*/ 539847 h 901154"/>
                <a:gd name="connsiteX66" fmla="*/ 0 w 2441576"/>
                <a:gd name="connsiteY66" fmla="*/ 456403 h 901154"/>
                <a:gd name="connsiteX67" fmla="*/ 0 w 2441576"/>
                <a:gd name="connsiteY67" fmla="*/ 387795 h 901154"/>
                <a:gd name="connsiteX68" fmla="*/ 0 w 2441576"/>
                <a:gd name="connsiteY68" fmla="*/ 304351 h 901154"/>
                <a:gd name="connsiteX69" fmla="*/ 0 w 2441576"/>
                <a:gd name="connsiteY69" fmla="*/ 235743 h 901154"/>
                <a:gd name="connsiteX70" fmla="*/ 0 w 2441576"/>
                <a:gd name="connsiteY70" fmla="*/ 152299 h 901154"/>
                <a:gd name="connsiteX71" fmla="*/ 0 w 2441576"/>
                <a:gd name="connsiteY71" fmla="*/ 83691 h 901154"/>
                <a:gd name="connsiteX72" fmla="*/ 0 w 2441576"/>
                <a:gd name="connsiteY72" fmla="*/ 247 h 901154"/>
                <a:gd name="connsiteX0" fmla="*/ 0 w 2441576"/>
                <a:gd name="connsiteY0" fmla="*/ 247 h 901154"/>
                <a:gd name="connsiteX1" fmla="*/ 94270 w 2441576"/>
                <a:gd name="connsiteY1" fmla="*/ 247 h 901154"/>
                <a:gd name="connsiteX2" fmla="*/ 185400 w 2441576"/>
                <a:gd name="connsiteY2" fmla="*/ 247 h 901154"/>
                <a:gd name="connsiteX3" fmla="*/ 188541 w 2441576"/>
                <a:gd name="connsiteY3" fmla="*/ 247 h 901154"/>
                <a:gd name="connsiteX4" fmla="*/ 282811 w 2441576"/>
                <a:gd name="connsiteY4" fmla="*/ 247 h 901154"/>
                <a:gd name="connsiteX5" fmla="*/ 377080 w 2441576"/>
                <a:gd name="connsiteY5" fmla="*/ 247 h 901154"/>
                <a:gd name="connsiteX6" fmla="*/ 470246 w 2441576"/>
                <a:gd name="connsiteY6" fmla="*/ 247 h 901154"/>
                <a:gd name="connsiteX7" fmla="*/ 471351 w 2441576"/>
                <a:gd name="connsiteY7" fmla="*/ 247 h 901154"/>
                <a:gd name="connsiteX8" fmla="*/ 581332 w 2441576"/>
                <a:gd name="connsiteY8" fmla="*/ 247 h 901154"/>
                <a:gd name="connsiteX9" fmla="*/ 685028 w 2441576"/>
                <a:gd name="connsiteY9" fmla="*/ 247 h 901154"/>
                <a:gd name="connsiteX10" fmla="*/ 755093 w 2441576"/>
                <a:gd name="connsiteY10" fmla="*/ 247 h 901154"/>
                <a:gd name="connsiteX11" fmla="*/ 969874 w 2441576"/>
                <a:gd name="connsiteY11" fmla="*/ 247 h 901154"/>
                <a:gd name="connsiteX12" fmla="*/ 1039939 w 2441576"/>
                <a:gd name="connsiteY12" fmla="*/ 247 h 901154"/>
                <a:gd name="connsiteX13" fmla="*/ 1254721 w 2441576"/>
                <a:gd name="connsiteY13" fmla="*/ 247 h 901154"/>
                <a:gd name="connsiteX14" fmla="*/ 1324785 w 2441576"/>
                <a:gd name="connsiteY14" fmla="*/ 247 h 901154"/>
                <a:gd name="connsiteX15" fmla="*/ 1430031 w 2441576"/>
                <a:gd name="connsiteY15" fmla="*/ 0 h 901154"/>
                <a:gd name="connsiteX16" fmla="*/ 1539566 w 2441576"/>
                <a:gd name="connsiteY16" fmla="*/ 247 h 901154"/>
                <a:gd name="connsiteX17" fmla="*/ 1609632 w 2441576"/>
                <a:gd name="connsiteY17" fmla="*/ 247 h 901154"/>
                <a:gd name="connsiteX18" fmla="*/ 1824412 w 2441576"/>
                <a:gd name="connsiteY18" fmla="*/ 247 h 901154"/>
                <a:gd name="connsiteX19" fmla="*/ 1941949 w 2441576"/>
                <a:gd name="connsiteY19" fmla="*/ 247 h 901154"/>
                <a:gd name="connsiteX20" fmla="*/ 2094866 w 2441576"/>
                <a:gd name="connsiteY20" fmla="*/ 247 h 901154"/>
                <a:gd name="connsiteX21" fmla="*/ 2176781 w 2441576"/>
                <a:gd name="connsiteY21" fmla="*/ 247 h 901154"/>
                <a:gd name="connsiteX22" fmla="*/ 2258696 w 2441576"/>
                <a:gd name="connsiteY22" fmla="*/ 247 h 901154"/>
                <a:gd name="connsiteX23" fmla="*/ 2321561 w 2441576"/>
                <a:gd name="connsiteY23" fmla="*/ 247 h 901154"/>
                <a:gd name="connsiteX24" fmla="*/ 2441576 w 2441576"/>
                <a:gd name="connsiteY24" fmla="*/ 247 h 901154"/>
                <a:gd name="connsiteX25" fmla="*/ 2441576 w 2441576"/>
                <a:gd name="connsiteY25" fmla="*/ 83691 h 901154"/>
                <a:gd name="connsiteX26" fmla="*/ 2441576 w 2441576"/>
                <a:gd name="connsiteY26" fmla="*/ 152299 h 901154"/>
                <a:gd name="connsiteX27" fmla="*/ 2441576 w 2441576"/>
                <a:gd name="connsiteY27" fmla="*/ 235743 h 901154"/>
                <a:gd name="connsiteX28" fmla="*/ 2441576 w 2441576"/>
                <a:gd name="connsiteY28" fmla="*/ 304351 h 901154"/>
                <a:gd name="connsiteX29" fmla="*/ 2441576 w 2441576"/>
                <a:gd name="connsiteY29" fmla="*/ 387795 h 901154"/>
                <a:gd name="connsiteX30" fmla="*/ 2441576 w 2441576"/>
                <a:gd name="connsiteY30" fmla="*/ 456403 h 901154"/>
                <a:gd name="connsiteX31" fmla="*/ 2441576 w 2441576"/>
                <a:gd name="connsiteY31" fmla="*/ 539847 h 901154"/>
                <a:gd name="connsiteX32" fmla="*/ 2441576 w 2441576"/>
                <a:gd name="connsiteY32" fmla="*/ 608455 h 901154"/>
                <a:gd name="connsiteX33" fmla="*/ 2441576 w 2441576"/>
                <a:gd name="connsiteY33" fmla="*/ 691899 h 901154"/>
                <a:gd name="connsiteX34" fmla="*/ 2441576 w 2441576"/>
                <a:gd name="connsiteY34" fmla="*/ 760507 h 901154"/>
                <a:gd name="connsiteX35" fmla="*/ 2441576 w 2441576"/>
                <a:gd name="connsiteY35" fmla="*/ 832545 h 901154"/>
                <a:gd name="connsiteX36" fmla="*/ 2441576 w 2441576"/>
                <a:gd name="connsiteY36" fmla="*/ 901153 h 901154"/>
                <a:gd name="connsiteX37" fmla="*/ 2321561 w 2441576"/>
                <a:gd name="connsiteY37" fmla="*/ 901153 h 901154"/>
                <a:gd name="connsiteX38" fmla="*/ 2239646 w 2441576"/>
                <a:gd name="connsiteY38" fmla="*/ 901153 h 901154"/>
                <a:gd name="connsiteX39" fmla="*/ 2176781 w 2441576"/>
                <a:gd name="connsiteY39" fmla="*/ 901153 h 901154"/>
                <a:gd name="connsiteX40" fmla="*/ 2109259 w 2441576"/>
                <a:gd name="connsiteY40" fmla="*/ 901153 h 901154"/>
                <a:gd name="connsiteX41" fmla="*/ 1941949 w 2441576"/>
                <a:gd name="connsiteY41" fmla="*/ 901153 h 901154"/>
                <a:gd name="connsiteX42" fmla="*/ 1824412 w 2441576"/>
                <a:gd name="connsiteY42" fmla="*/ 901153 h 901154"/>
                <a:gd name="connsiteX43" fmla="*/ 1609632 w 2441576"/>
                <a:gd name="connsiteY43" fmla="*/ 901153 h 901154"/>
                <a:gd name="connsiteX44" fmla="*/ 1539566 w 2441576"/>
                <a:gd name="connsiteY44" fmla="*/ 901153 h 901154"/>
                <a:gd name="connsiteX45" fmla="*/ 1324785 w 2441576"/>
                <a:gd name="connsiteY45" fmla="*/ 901153 h 901154"/>
                <a:gd name="connsiteX46" fmla="*/ 1254721 w 2441576"/>
                <a:gd name="connsiteY46" fmla="*/ 901153 h 901154"/>
                <a:gd name="connsiteX47" fmla="*/ 1146253 w 2441576"/>
                <a:gd name="connsiteY47" fmla="*/ 901153 h 901154"/>
                <a:gd name="connsiteX48" fmla="*/ 1039939 w 2441576"/>
                <a:gd name="connsiteY48" fmla="*/ 901153 h 901154"/>
                <a:gd name="connsiteX49" fmla="*/ 969874 w 2441576"/>
                <a:gd name="connsiteY49" fmla="*/ 901153 h 901154"/>
                <a:gd name="connsiteX50" fmla="*/ 864820 w 2441576"/>
                <a:gd name="connsiteY50" fmla="*/ 901154 h 901154"/>
                <a:gd name="connsiteX51" fmla="*/ 755093 w 2441576"/>
                <a:gd name="connsiteY51" fmla="*/ 901153 h 901154"/>
                <a:gd name="connsiteX52" fmla="*/ 685028 w 2441576"/>
                <a:gd name="connsiteY52" fmla="*/ 901153 h 901154"/>
                <a:gd name="connsiteX53" fmla="*/ 581332 w 2441576"/>
                <a:gd name="connsiteY53" fmla="*/ 901153 h 901154"/>
                <a:gd name="connsiteX54" fmla="*/ 471351 w 2441576"/>
                <a:gd name="connsiteY54" fmla="*/ 901153 h 901154"/>
                <a:gd name="connsiteX55" fmla="*/ 470246 w 2441576"/>
                <a:gd name="connsiteY55" fmla="*/ 901153 h 901154"/>
                <a:gd name="connsiteX56" fmla="*/ 377080 w 2441576"/>
                <a:gd name="connsiteY56" fmla="*/ 901153 h 901154"/>
                <a:gd name="connsiteX57" fmla="*/ 282811 w 2441576"/>
                <a:gd name="connsiteY57" fmla="*/ 901153 h 901154"/>
                <a:gd name="connsiteX58" fmla="*/ 188541 w 2441576"/>
                <a:gd name="connsiteY58" fmla="*/ 901153 h 901154"/>
                <a:gd name="connsiteX59" fmla="*/ 185400 w 2441576"/>
                <a:gd name="connsiteY59" fmla="*/ 901153 h 901154"/>
                <a:gd name="connsiteX60" fmla="*/ 94270 w 2441576"/>
                <a:gd name="connsiteY60" fmla="*/ 901153 h 901154"/>
                <a:gd name="connsiteX61" fmla="*/ 0 w 2441576"/>
                <a:gd name="connsiteY61" fmla="*/ 901153 h 901154"/>
                <a:gd name="connsiteX62" fmla="*/ 0 w 2441576"/>
                <a:gd name="connsiteY62" fmla="*/ 832545 h 901154"/>
                <a:gd name="connsiteX63" fmla="*/ 0 w 2441576"/>
                <a:gd name="connsiteY63" fmla="*/ 760507 h 901154"/>
                <a:gd name="connsiteX64" fmla="*/ 0 w 2441576"/>
                <a:gd name="connsiteY64" fmla="*/ 691899 h 901154"/>
                <a:gd name="connsiteX65" fmla="*/ 0 w 2441576"/>
                <a:gd name="connsiteY65" fmla="*/ 608455 h 901154"/>
                <a:gd name="connsiteX66" fmla="*/ 0 w 2441576"/>
                <a:gd name="connsiteY66" fmla="*/ 539847 h 901154"/>
                <a:gd name="connsiteX67" fmla="*/ 0 w 2441576"/>
                <a:gd name="connsiteY67" fmla="*/ 456403 h 901154"/>
                <a:gd name="connsiteX68" fmla="*/ 0 w 2441576"/>
                <a:gd name="connsiteY68" fmla="*/ 387795 h 901154"/>
                <a:gd name="connsiteX69" fmla="*/ 0 w 2441576"/>
                <a:gd name="connsiteY69" fmla="*/ 304351 h 901154"/>
                <a:gd name="connsiteX70" fmla="*/ 0 w 2441576"/>
                <a:gd name="connsiteY70" fmla="*/ 235743 h 901154"/>
                <a:gd name="connsiteX71" fmla="*/ 0 w 2441576"/>
                <a:gd name="connsiteY71" fmla="*/ 152299 h 901154"/>
                <a:gd name="connsiteX72" fmla="*/ 0 w 2441576"/>
                <a:gd name="connsiteY72" fmla="*/ 83691 h 901154"/>
                <a:gd name="connsiteX73" fmla="*/ 0 w 2441576"/>
                <a:gd name="connsiteY73" fmla="*/ 247 h 901154"/>
                <a:gd name="connsiteX0" fmla="*/ 0 w 2441576"/>
                <a:gd name="connsiteY0" fmla="*/ 247 h 901154"/>
                <a:gd name="connsiteX1" fmla="*/ 94270 w 2441576"/>
                <a:gd name="connsiteY1" fmla="*/ 247 h 901154"/>
                <a:gd name="connsiteX2" fmla="*/ 185400 w 2441576"/>
                <a:gd name="connsiteY2" fmla="*/ 247 h 901154"/>
                <a:gd name="connsiteX3" fmla="*/ 188541 w 2441576"/>
                <a:gd name="connsiteY3" fmla="*/ 247 h 901154"/>
                <a:gd name="connsiteX4" fmla="*/ 282811 w 2441576"/>
                <a:gd name="connsiteY4" fmla="*/ 247 h 901154"/>
                <a:gd name="connsiteX5" fmla="*/ 377080 w 2441576"/>
                <a:gd name="connsiteY5" fmla="*/ 247 h 901154"/>
                <a:gd name="connsiteX6" fmla="*/ 470246 w 2441576"/>
                <a:gd name="connsiteY6" fmla="*/ 247 h 901154"/>
                <a:gd name="connsiteX7" fmla="*/ 471351 w 2441576"/>
                <a:gd name="connsiteY7" fmla="*/ 247 h 901154"/>
                <a:gd name="connsiteX8" fmla="*/ 581332 w 2441576"/>
                <a:gd name="connsiteY8" fmla="*/ 247 h 901154"/>
                <a:gd name="connsiteX9" fmla="*/ 685028 w 2441576"/>
                <a:gd name="connsiteY9" fmla="*/ 247 h 901154"/>
                <a:gd name="connsiteX10" fmla="*/ 755093 w 2441576"/>
                <a:gd name="connsiteY10" fmla="*/ 247 h 901154"/>
                <a:gd name="connsiteX11" fmla="*/ 969874 w 2441576"/>
                <a:gd name="connsiteY11" fmla="*/ 247 h 901154"/>
                <a:gd name="connsiteX12" fmla="*/ 1039939 w 2441576"/>
                <a:gd name="connsiteY12" fmla="*/ 247 h 901154"/>
                <a:gd name="connsiteX13" fmla="*/ 1254721 w 2441576"/>
                <a:gd name="connsiteY13" fmla="*/ 247 h 901154"/>
                <a:gd name="connsiteX14" fmla="*/ 1324785 w 2441576"/>
                <a:gd name="connsiteY14" fmla="*/ 247 h 901154"/>
                <a:gd name="connsiteX15" fmla="*/ 1430031 w 2441576"/>
                <a:gd name="connsiteY15" fmla="*/ 0 h 901154"/>
                <a:gd name="connsiteX16" fmla="*/ 1539566 w 2441576"/>
                <a:gd name="connsiteY16" fmla="*/ 247 h 901154"/>
                <a:gd name="connsiteX17" fmla="*/ 1609632 w 2441576"/>
                <a:gd name="connsiteY17" fmla="*/ 247 h 901154"/>
                <a:gd name="connsiteX18" fmla="*/ 1824412 w 2441576"/>
                <a:gd name="connsiteY18" fmla="*/ 247 h 901154"/>
                <a:gd name="connsiteX19" fmla="*/ 1941949 w 2441576"/>
                <a:gd name="connsiteY19" fmla="*/ 247 h 901154"/>
                <a:gd name="connsiteX20" fmla="*/ 2094866 w 2441576"/>
                <a:gd name="connsiteY20" fmla="*/ 247 h 901154"/>
                <a:gd name="connsiteX21" fmla="*/ 2176781 w 2441576"/>
                <a:gd name="connsiteY21" fmla="*/ 247 h 901154"/>
                <a:gd name="connsiteX22" fmla="*/ 2258696 w 2441576"/>
                <a:gd name="connsiteY22" fmla="*/ 247 h 901154"/>
                <a:gd name="connsiteX23" fmla="*/ 2321561 w 2441576"/>
                <a:gd name="connsiteY23" fmla="*/ 247 h 901154"/>
                <a:gd name="connsiteX24" fmla="*/ 2441576 w 2441576"/>
                <a:gd name="connsiteY24" fmla="*/ 247 h 901154"/>
                <a:gd name="connsiteX25" fmla="*/ 2441576 w 2441576"/>
                <a:gd name="connsiteY25" fmla="*/ 83691 h 901154"/>
                <a:gd name="connsiteX26" fmla="*/ 2441576 w 2441576"/>
                <a:gd name="connsiteY26" fmla="*/ 152299 h 901154"/>
                <a:gd name="connsiteX27" fmla="*/ 2441576 w 2441576"/>
                <a:gd name="connsiteY27" fmla="*/ 235743 h 901154"/>
                <a:gd name="connsiteX28" fmla="*/ 2441576 w 2441576"/>
                <a:gd name="connsiteY28" fmla="*/ 304351 h 901154"/>
                <a:gd name="connsiteX29" fmla="*/ 2441576 w 2441576"/>
                <a:gd name="connsiteY29" fmla="*/ 387795 h 901154"/>
                <a:gd name="connsiteX30" fmla="*/ 2441576 w 2441576"/>
                <a:gd name="connsiteY30" fmla="*/ 456403 h 901154"/>
                <a:gd name="connsiteX31" fmla="*/ 2441576 w 2441576"/>
                <a:gd name="connsiteY31" fmla="*/ 539847 h 901154"/>
                <a:gd name="connsiteX32" fmla="*/ 2441576 w 2441576"/>
                <a:gd name="connsiteY32" fmla="*/ 608455 h 901154"/>
                <a:gd name="connsiteX33" fmla="*/ 2441576 w 2441576"/>
                <a:gd name="connsiteY33" fmla="*/ 691899 h 901154"/>
                <a:gd name="connsiteX34" fmla="*/ 2441576 w 2441576"/>
                <a:gd name="connsiteY34" fmla="*/ 760507 h 901154"/>
                <a:gd name="connsiteX35" fmla="*/ 2441576 w 2441576"/>
                <a:gd name="connsiteY35" fmla="*/ 832545 h 901154"/>
                <a:gd name="connsiteX36" fmla="*/ 2441576 w 2441576"/>
                <a:gd name="connsiteY36" fmla="*/ 901153 h 901154"/>
                <a:gd name="connsiteX37" fmla="*/ 2321561 w 2441576"/>
                <a:gd name="connsiteY37" fmla="*/ 901153 h 901154"/>
                <a:gd name="connsiteX38" fmla="*/ 2239646 w 2441576"/>
                <a:gd name="connsiteY38" fmla="*/ 901153 h 901154"/>
                <a:gd name="connsiteX39" fmla="*/ 2176781 w 2441576"/>
                <a:gd name="connsiteY39" fmla="*/ 901153 h 901154"/>
                <a:gd name="connsiteX40" fmla="*/ 2109259 w 2441576"/>
                <a:gd name="connsiteY40" fmla="*/ 901153 h 901154"/>
                <a:gd name="connsiteX41" fmla="*/ 1941949 w 2441576"/>
                <a:gd name="connsiteY41" fmla="*/ 901153 h 901154"/>
                <a:gd name="connsiteX42" fmla="*/ 1824412 w 2441576"/>
                <a:gd name="connsiteY42" fmla="*/ 901153 h 901154"/>
                <a:gd name="connsiteX43" fmla="*/ 1609632 w 2441576"/>
                <a:gd name="connsiteY43" fmla="*/ 901153 h 901154"/>
                <a:gd name="connsiteX44" fmla="*/ 1539566 w 2441576"/>
                <a:gd name="connsiteY44" fmla="*/ 901153 h 901154"/>
                <a:gd name="connsiteX45" fmla="*/ 1427685 w 2441576"/>
                <a:gd name="connsiteY45" fmla="*/ 901153 h 901154"/>
                <a:gd name="connsiteX46" fmla="*/ 1324785 w 2441576"/>
                <a:gd name="connsiteY46" fmla="*/ 901153 h 901154"/>
                <a:gd name="connsiteX47" fmla="*/ 1254721 w 2441576"/>
                <a:gd name="connsiteY47" fmla="*/ 901153 h 901154"/>
                <a:gd name="connsiteX48" fmla="*/ 1146253 w 2441576"/>
                <a:gd name="connsiteY48" fmla="*/ 901153 h 901154"/>
                <a:gd name="connsiteX49" fmla="*/ 1039939 w 2441576"/>
                <a:gd name="connsiteY49" fmla="*/ 901153 h 901154"/>
                <a:gd name="connsiteX50" fmla="*/ 969874 w 2441576"/>
                <a:gd name="connsiteY50" fmla="*/ 901153 h 901154"/>
                <a:gd name="connsiteX51" fmla="*/ 864820 w 2441576"/>
                <a:gd name="connsiteY51" fmla="*/ 901154 h 901154"/>
                <a:gd name="connsiteX52" fmla="*/ 755093 w 2441576"/>
                <a:gd name="connsiteY52" fmla="*/ 901153 h 901154"/>
                <a:gd name="connsiteX53" fmla="*/ 685028 w 2441576"/>
                <a:gd name="connsiteY53" fmla="*/ 901153 h 901154"/>
                <a:gd name="connsiteX54" fmla="*/ 581332 w 2441576"/>
                <a:gd name="connsiteY54" fmla="*/ 901153 h 901154"/>
                <a:gd name="connsiteX55" fmla="*/ 471351 w 2441576"/>
                <a:gd name="connsiteY55" fmla="*/ 901153 h 901154"/>
                <a:gd name="connsiteX56" fmla="*/ 470246 w 2441576"/>
                <a:gd name="connsiteY56" fmla="*/ 901153 h 901154"/>
                <a:gd name="connsiteX57" fmla="*/ 377080 w 2441576"/>
                <a:gd name="connsiteY57" fmla="*/ 901153 h 901154"/>
                <a:gd name="connsiteX58" fmla="*/ 282811 w 2441576"/>
                <a:gd name="connsiteY58" fmla="*/ 901153 h 901154"/>
                <a:gd name="connsiteX59" fmla="*/ 188541 w 2441576"/>
                <a:gd name="connsiteY59" fmla="*/ 901153 h 901154"/>
                <a:gd name="connsiteX60" fmla="*/ 185400 w 2441576"/>
                <a:gd name="connsiteY60" fmla="*/ 901153 h 901154"/>
                <a:gd name="connsiteX61" fmla="*/ 94270 w 2441576"/>
                <a:gd name="connsiteY61" fmla="*/ 901153 h 901154"/>
                <a:gd name="connsiteX62" fmla="*/ 0 w 2441576"/>
                <a:gd name="connsiteY62" fmla="*/ 901153 h 901154"/>
                <a:gd name="connsiteX63" fmla="*/ 0 w 2441576"/>
                <a:gd name="connsiteY63" fmla="*/ 832545 h 901154"/>
                <a:gd name="connsiteX64" fmla="*/ 0 w 2441576"/>
                <a:gd name="connsiteY64" fmla="*/ 760507 h 901154"/>
                <a:gd name="connsiteX65" fmla="*/ 0 w 2441576"/>
                <a:gd name="connsiteY65" fmla="*/ 691899 h 901154"/>
                <a:gd name="connsiteX66" fmla="*/ 0 w 2441576"/>
                <a:gd name="connsiteY66" fmla="*/ 608455 h 901154"/>
                <a:gd name="connsiteX67" fmla="*/ 0 w 2441576"/>
                <a:gd name="connsiteY67" fmla="*/ 539847 h 901154"/>
                <a:gd name="connsiteX68" fmla="*/ 0 w 2441576"/>
                <a:gd name="connsiteY68" fmla="*/ 456403 h 901154"/>
                <a:gd name="connsiteX69" fmla="*/ 0 w 2441576"/>
                <a:gd name="connsiteY69" fmla="*/ 387795 h 901154"/>
                <a:gd name="connsiteX70" fmla="*/ 0 w 2441576"/>
                <a:gd name="connsiteY70" fmla="*/ 304351 h 901154"/>
                <a:gd name="connsiteX71" fmla="*/ 0 w 2441576"/>
                <a:gd name="connsiteY71" fmla="*/ 235743 h 901154"/>
                <a:gd name="connsiteX72" fmla="*/ 0 w 2441576"/>
                <a:gd name="connsiteY72" fmla="*/ 152299 h 901154"/>
                <a:gd name="connsiteX73" fmla="*/ 0 w 2441576"/>
                <a:gd name="connsiteY73" fmla="*/ 83691 h 901154"/>
                <a:gd name="connsiteX74" fmla="*/ 0 w 2441576"/>
                <a:gd name="connsiteY74" fmla="*/ 247 h 901154"/>
                <a:gd name="connsiteX0" fmla="*/ 0 w 2441576"/>
                <a:gd name="connsiteY0" fmla="*/ 247 h 901154"/>
                <a:gd name="connsiteX1" fmla="*/ 94270 w 2441576"/>
                <a:gd name="connsiteY1" fmla="*/ 247 h 901154"/>
                <a:gd name="connsiteX2" fmla="*/ 185400 w 2441576"/>
                <a:gd name="connsiteY2" fmla="*/ 247 h 901154"/>
                <a:gd name="connsiteX3" fmla="*/ 188541 w 2441576"/>
                <a:gd name="connsiteY3" fmla="*/ 247 h 901154"/>
                <a:gd name="connsiteX4" fmla="*/ 282811 w 2441576"/>
                <a:gd name="connsiteY4" fmla="*/ 247 h 901154"/>
                <a:gd name="connsiteX5" fmla="*/ 377080 w 2441576"/>
                <a:gd name="connsiteY5" fmla="*/ 247 h 901154"/>
                <a:gd name="connsiteX6" fmla="*/ 470246 w 2441576"/>
                <a:gd name="connsiteY6" fmla="*/ 247 h 901154"/>
                <a:gd name="connsiteX7" fmla="*/ 471351 w 2441576"/>
                <a:gd name="connsiteY7" fmla="*/ 247 h 901154"/>
                <a:gd name="connsiteX8" fmla="*/ 581332 w 2441576"/>
                <a:gd name="connsiteY8" fmla="*/ 247 h 901154"/>
                <a:gd name="connsiteX9" fmla="*/ 685028 w 2441576"/>
                <a:gd name="connsiteY9" fmla="*/ 247 h 901154"/>
                <a:gd name="connsiteX10" fmla="*/ 755093 w 2441576"/>
                <a:gd name="connsiteY10" fmla="*/ 247 h 901154"/>
                <a:gd name="connsiteX11" fmla="*/ 969874 w 2441576"/>
                <a:gd name="connsiteY11" fmla="*/ 247 h 901154"/>
                <a:gd name="connsiteX12" fmla="*/ 1039939 w 2441576"/>
                <a:gd name="connsiteY12" fmla="*/ 247 h 901154"/>
                <a:gd name="connsiteX13" fmla="*/ 1254721 w 2441576"/>
                <a:gd name="connsiteY13" fmla="*/ 247 h 901154"/>
                <a:gd name="connsiteX14" fmla="*/ 1324785 w 2441576"/>
                <a:gd name="connsiteY14" fmla="*/ 247 h 901154"/>
                <a:gd name="connsiteX15" fmla="*/ 1430031 w 2441576"/>
                <a:gd name="connsiteY15" fmla="*/ 0 h 901154"/>
                <a:gd name="connsiteX16" fmla="*/ 1539566 w 2441576"/>
                <a:gd name="connsiteY16" fmla="*/ 247 h 901154"/>
                <a:gd name="connsiteX17" fmla="*/ 1609632 w 2441576"/>
                <a:gd name="connsiteY17" fmla="*/ 247 h 901154"/>
                <a:gd name="connsiteX18" fmla="*/ 1824412 w 2441576"/>
                <a:gd name="connsiteY18" fmla="*/ 247 h 901154"/>
                <a:gd name="connsiteX19" fmla="*/ 1941949 w 2441576"/>
                <a:gd name="connsiteY19" fmla="*/ 247 h 901154"/>
                <a:gd name="connsiteX20" fmla="*/ 2094866 w 2441576"/>
                <a:gd name="connsiteY20" fmla="*/ 247 h 901154"/>
                <a:gd name="connsiteX21" fmla="*/ 2176781 w 2441576"/>
                <a:gd name="connsiteY21" fmla="*/ 247 h 901154"/>
                <a:gd name="connsiteX22" fmla="*/ 2258696 w 2441576"/>
                <a:gd name="connsiteY22" fmla="*/ 247 h 901154"/>
                <a:gd name="connsiteX23" fmla="*/ 2321561 w 2441576"/>
                <a:gd name="connsiteY23" fmla="*/ 247 h 901154"/>
                <a:gd name="connsiteX24" fmla="*/ 2441576 w 2441576"/>
                <a:gd name="connsiteY24" fmla="*/ 247 h 901154"/>
                <a:gd name="connsiteX25" fmla="*/ 2441576 w 2441576"/>
                <a:gd name="connsiteY25" fmla="*/ 83691 h 901154"/>
                <a:gd name="connsiteX26" fmla="*/ 2441576 w 2441576"/>
                <a:gd name="connsiteY26" fmla="*/ 152299 h 901154"/>
                <a:gd name="connsiteX27" fmla="*/ 2441576 w 2441576"/>
                <a:gd name="connsiteY27" fmla="*/ 235743 h 901154"/>
                <a:gd name="connsiteX28" fmla="*/ 2441576 w 2441576"/>
                <a:gd name="connsiteY28" fmla="*/ 304351 h 901154"/>
                <a:gd name="connsiteX29" fmla="*/ 2441576 w 2441576"/>
                <a:gd name="connsiteY29" fmla="*/ 387795 h 901154"/>
                <a:gd name="connsiteX30" fmla="*/ 2441576 w 2441576"/>
                <a:gd name="connsiteY30" fmla="*/ 456403 h 901154"/>
                <a:gd name="connsiteX31" fmla="*/ 2441576 w 2441576"/>
                <a:gd name="connsiteY31" fmla="*/ 539847 h 901154"/>
                <a:gd name="connsiteX32" fmla="*/ 2441576 w 2441576"/>
                <a:gd name="connsiteY32" fmla="*/ 608455 h 901154"/>
                <a:gd name="connsiteX33" fmla="*/ 2441576 w 2441576"/>
                <a:gd name="connsiteY33" fmla="*/ 691899 h 901154"/>
                <a:gd name="connsiteX34" fmla="*/ 2441576 w 2441576"/>
                <a:gd name="connsiteY34" fmla="*/ 760507 h 901154"/>
                <a:gd name="connsiteX35" fmla="*/ 2441576 w 2441576"/>
                <a:gd name="connsiteY35" fmla="*/ 832545 h 901154"/>
                <a:gd name="connsiteX36" fmla="*/ 2441576 w 2441576"/>
                <a:gd name="connsiteY36" fmla="*/ 901153 h 901154"/>
                <a:gd name="connsiteX37" fmla="*/ 2321561 w 2441576"/>
                <a:gd name="connsiteY37" fmla="*/ 901153 h 901154"/>
                <a:gd name="connsiteX38" fmla="*/ 2239646 w 2441576"/>
                <a:gd name="connsiteY38" fmla="*/ 901153 h 901154"/>
                <a:gd name="connsiteX39" fmla="*/ 2176781 w 2441576"/>
                <a:gd name="connsiteY39" fmla="*/ 901153 h 901154"/>
                <a:gd name="connsiteX40" fmla="*/ 2109259 w 2441576"/>
                <a:gd name="connsiteY40" fmla="*/ 901153 h 901154"/>
                <a:gd name="connsiteX41" fmla="*/ 1941949 w 2441576"/>
                <a:gd name="connsiteY41" fmla="*/ 901153 h 901154"/>
                <a:gd name="connsiteX42" fmla="*/ 1824412 w 2441576"/>
                <a:gd name="connsiteY42" fmla="*/ 901153 h 901154"/>
                <a:gd name="connsiteX43" fmla="*/ 1720844 w 2441576"/>
                <a:gd name="connsiteY43" fmla="*/ 901153 h 901154"/>
                <a:gd name="connsiteX44" fmla="*/ 1609632 w 2441576"/>
                <a:gd name="connsiteY44" fmla="*/ 901153 h 901154"/>
                <a:gd name="connsiteX45" fmla="*/ 1539566 w 2441576"/>
                <a:gd name="connsiteY45" fmla="*/ 901153 h 901154"/>
                <a:gd name="connsiteX46" fmla="*/ 1427685 w 2441576"/>
                <a:gd name="connsiteY46" fmla="*/ 901153 h 901154"/>
                <a:gd name="connsiteX47" fmla="*/ 1324785 w 2441576"/>
                <a:gd name="connsiteY47" fmla="*/ 901153 h 901154"/>
                <a:gd name="connsiteX48" fmla="*/ 1254721 w 2441576"/>
                <a:gd name="connsiteY48" fmla="*/ 901153 h 901154"/>
                <a:gd name="connsiteX49" fmla="*/ 1146253 w 2441576"/>
                <a:gd name="connsiteY49" fmla="*/ 901153 h 901154"/>
                <a:gd name="connsiteX50" fmla="*/ 1039939 w 2441576"/>
                <a:gd name="connsiteY50" fmla="*/ 901153 h 901154"/>
                <a:gd name="connsiteX51" fmla="*/ 969874 w 2441576"/>
                <a:gd name="connsiteY51" fmla="*/ 901153 h 901154"/>
                <a:gd name="connsiteX52" fmla="*/ 864820 w 2441576"/>
                <a:gd name="connsiteY52" fmla="*/ 901154 h 901154"/>
                <a:gd name="connsiteX53" fmla="*/ 755093 w 2441576"/>
                <a:gd name="connsiteY53" fmla="*/ 901153 h 901154"/>
                <a:gd name="connsiteX54" fmla="*/ 685028 w 2441576"/>
                <a:gd name="connsiteY54" fmla="*/ 901153 h 901154"/>
                <a:gd name="connsiteX55" fmla="*/ 581332 w 2441576"/>
                <a:gd name="connsiteY55" fmla="*/ 901153 h 901154"/>
                <a:gd name="connsiteX56" fmla="*/ 471351 w 2441576"/>
                <a:gd name="connsiteY56" fmla="*/ 901153 h 901154"/>
                <a:gd name="connsiteX57" fmla="*/ 470246 w 2441576"/>
                <a:gd name="connsiteY57" fmla="*/ 901153 h 901154"/>
                <a:gd name="connsiteX58" fmla="*/ 377080 w 2441576"/>
                <a:gd name="connsiteY58" fmla="*/ 901153 h 901154"/>
                <a:gd name="connsiteX59" fmla="*/ 282811 w 2441576"/>
                <a:gd name="connsiteY59" fmla="*/ 901153 h 901154"/>
                <a:gd name="connsiteX60" fmla="*/ 188541 w 2441576"/>
                <a:gd name="connsiteY60" fmla="*/ 901153 h 901154"/>
                <a:gd name="connsiteX61" fmla="*/ 185400 w 2441576"/>
                <a:gd name="connsiteY61" fmla="*/ 901153 h 901154"/>
                <a:gd name="connsiteX62" fmla="*/ 94270 w 2441576"/>
                <a:gd name="connsiteY62" fmla="*/ 901153 h 901154"/>
                <a:gd name="connsiteX63" fmla="*/ 0 w 2441576"/>
                <a:gd name="connsiteY63" fmla="*/ 901153 h 901154"/>
                <a:gd name="connsiteX64" fmla="*/ 0 w 2441576"/>
                <a:gd name="connsiteY64" fmla="*/ 832545 h 901154"/>
                <a:gd name="connsiteX65" fmla="*/ 0 w 2441576"/>
                <a:gd name="connsiteY65" fmla="*/ 760507 h 901154"/>
                <a:gd name="connsiteX66" fmla="*/ 0 w 2441576"/>
                <a:gd name="connsiteY66" fmla="*/ 691899 h 901154"/>
                <a:gd name="connsiteX67" fmla="*/ 0 w 2441576"/>
                <a:gd name="connsiteY67" fmla="*/ 608455 h 901154"/>
                <a:gd name="connsiteX68" fmla="*/ 0 w 2441576"/>
                <a:gd name="connsiteY68" fmla="*/ 539847 h 901154"/>
                <a:gd name="connsiteX69" fmla="*/ 0 w 2441576"/>
                <a:gd name="connsiteY69" fmla="*/ 456403 h 901154"/>
                <a:gd name="connsiteX70" fmla="*/ 0 w 2441576"/>
                <a:gd name="connsiteY70" fmla="*/ 387795 h 901154"/>
                <a:gd name="connsiteX71" fmla="*/ 0 w 2441576"/>
                <a:gd name="connsiteY71" fmla="*/ 304351 h 901154"/>
                <a:gd name="connsiteX72" fmla="*/ 0 w 2441576"/>
                <a:gd name="connsiteY72" fmla="*/ 235743 h 901154"/>
                <a:gd name="connsiteX73" fmla="*/ 0 w 2441576"/>
                <a:gd name="connsiteY73" fmla="*/ 152299 h 901154"/>
                <a:gd name="connsiteX74" fmla="*/ 0 w 2441576"/>
                <a:gd name="connsiteY74" fmla="*/ 83691 h 901154"/>
                <a:gd name="connsiteX75" fmla="*/ 0 w 2441576"/>
                <a:gd name="connsiteY75" fmla="*/ 247 h 901154"/>
                <a:gd name="connsiteX0" fmla="*/ 0 w 2441576"/>
                <a:gd name="connsiteY0" fmla="*/ 247 h 901154"/>
                <a:gd name="connsiteX1" fmla="*/ 94270 w 2441576"/>
                <a:gd name="connsiteY1" fmla="*/ 247 h 901154"/>
                <a:gd name="connsiteX2" fmla="*/ 185400 w 2441576"/>
                <a:gd name="connsiteY2" fmla="*/ 247 h 901154"/>
                <a:gd name="connsiteX3" fmla="*/ 188541 w 2441576"/>
                <a:gd name="connsiteY3" fmla="*/ 247 h 901154"/>
                <a:gd name="connsiteX4" fmla="*/ 282811 w 2441576"/>
                <a:gd name="connsiteY4" fmla="*/ 247 h 901154"/>
                <a:gd name="connsiteX5" fmla="*/ 377080 w 2441576"/>
                <a:gd name="connsiteY5" fmla="*/ 247 h 901154"/>
                <a:gd name="connsiteX6" fmla="*/ 470246 w 2441576"/>
                <a:gd name="connsiteY6" fmla="*/ 247 h 901154"/>
                <a:gd name="connsiteX7" fmla="*/ 471351 w 2441576"/>
                <a:gd name="connsiteY7" fmla="*/ 247 h 901154"/>
                <a:gd name="connsiteX8" fmla="*/ 581332 w 2441576"/>
                <a:gd name="connsiteY8" fmla="*/ 247 h 901154"/>
                <a:gd name="connsiteX9" fmla="*/ 685028 w 2441576"/>
                <a:gd name="connsiteY9" fmla="*/ 247 h 901154"/>
                <a:gd name="connsiteX10" fmla="*/ 755093 w 2441576"/>
                <a:gd name="connsiteY10" fmla="*/ 247 h 901154"/>
                <a:gd name="connsiteX11" fmla="*/ 969874 w 2441576"/>
                <a:gd name="connsiteY11" fmla="*/ 247 h 901154"/>
                <a:gd name="connsiteX12" fmla="*/ 1039939 w 2441576"/>
                <a:gd name="connsiteY12" fmla="*/ 247 h 901154"/>
                <a:gd name="connsiteX13" fmla="*/ 1254721 w 2441576"/>
                <a:gd name="connsiteY13" fmla="*/ 247 h 901154"/>
                <a:gd name="connsiteX14" fmla="*/ 1324785 w 2441576"/>
                <a:gd name="connsiteY14" fmla="*/ 247 h 901154"/>
                <a:gd name="connsiteX15" fmla="*/ 1430031 w 2441576"/>
                <a:gd name="connsiteY15" fmla="*/ 0 h 901154"/>
                <a:gd name="connsiteX16" fmla="*/ 1539566 w 2441576"/>
                <a:gd name="connsiteY16" fmla="*/ 247 h 901154"/>
                <a:gd name="connsiteX17" fmla="*/ 1609632 w 2441576"/>
                <a:gd name="connsiteY17" fmla="*/ 247 h 901154"/>
                <a:gd name="connsiteX18" fmla="*/ 1824412 w 2441576"/>
                <a:gd name="connsiteY18" fmla="*/ 247 h 901154"/>
                <a:gd name="connsiteX19" fmla="*/ 1941949 w 2441576"/>
                <a:gd name="connsiteY19" fmla="*/ 247 h 901154"/>
                <a:gd name="connsiteX20" fmla="*/ 2094866 w 2441576"/>
                <a:gd name="connsiteY20" fmla="*/ 247 h 901154"/>
                <a:gd name="connsiteX21" fmla="*/ 2176781 w 2441576"/>
                <a:gd name="connsiteY21" fmla="*/ 247 h 901154"/>
                <a:gd name="connsiteX22" fmla="*/ 2258696 w 2441576"/>
                <a:gd name="connsiteY22" fmla="*/ 247 h 901154"/>
                <a:gd name="connsiteX23" fmla="*/ 2321561 w 2441576"/>
                <a:gd name="connsiteY23" fmla="*/ 247 h 901154"/>
                <a:gd name="connsiteX24" fmla="*/ 2441576 w 2441576"/>
                <a:gd name="connsiteY24" fmla="*/ 247 h 901154"/>
                <a:gd name="connsiteX25" fmla="*/ 2441576 w 2441576"/>
                <a:gd name="connsiteY25" fmla="*/ 83691 h 901154"/>
                <a:gd name="connsiteX26" fmla="*/ 2441576 w 2441576"/>
                <a:gd name="connsiteY26" fmla="*/ 152299 h 901154"/>
                <a:gd name="connsiteX27" fmla="*/ 2441576 w 2441576"/>
                <a:gd name="connsiteY27" fmla="*/ 235743 h 901154"/>
                <a:gd name="connsiteX28" fmla="*/ 2441576 w 2441576"/>
                <a:gd name="connsiteY28" fmla="*/ 304351 h 901154"/>
                <a:gd name="connsiteX29" fmla="*/ 2441576 w 2441576"/>
                <a:gd name="connsiteY29" fmla="*/ 387795 h 901154"/>
                <a:gd name="connsiteX30" fmla="*/ 2441576 w 2441576"/>
                <a:gd name="connsiteY30" fmla="*/ 456403 h 901154"/>
                <a:gd name="connsiteX31" fmla="*/ 2441576 w 2441576"/>
                <a:gd name="connsiteY31" fmla="*/ 539847 h 901154"/>
                <a:gd name="connsiteX32" fmla="*/ 2441576 w 2441576"/>
                <a:gd name="connsiteY32" fmla="*/ 608455 h 901154"/>
                <a:gd name="connsiteX33" fmla="*/ 2441576 w 2441576"/>
                <a:gd name="connsiteY33" fmla="*/ 691899 h 901154"/>
                <a:gd name="connsiteX34" fmla="*/ 2441576 w 2441576"/>
                <a:gd name="connsiteY34" fmla="*/ 760507 h 901154"/>
                <a:gd name="connsiteX35" fmla="*/ 2441576 w 2441576"/>
                <a:gd name="connsiteY35" fmla="*/ 832545 h 901154"/>
                <a:gd name="connsiteX36" fmla="*/ 2441576 w 2441576"/>
                <a:gd name="connsiteY36" fmla="*/ 901153 h 901154"/>
                <a:gd name="connsiteX37" fmla="*/ 2321561 w 2441576"/>
                <a:gd name="connsiteY37" fmla="*/ 901153 h 901154"/>
                <a:gd name="connsiteX38" fmla="*/ 2239646 w 2441576"/>
                <a:gd name="connsiteY38" fmla="*/ 901153 h 901154"/>
                <a:gd name="connsiteX39" fmla="*/ 2176781 w 2441576"/>
                <a:gd name="connsiteY39" fmla="*/ 901153 h 901154"/>
                <a:gd name="connsiteX40" fmla="*/ 2109259 w 2441576"/>
                <a:gd name="connsiteY40" fmla="*/ 901153 h 901154"/>
                <a:gd name="connsiteX41" fmla="*/ 2025730 w 2441576"/>
                <a:gd name="connsiteY41" fmla="*/ 901153 h 901154"/>
                <a:gd name="connsiteX42" fmla="*/ 1941949 w 2441576"/>
                <a:gd name="connsiteY42" fmla="*/ 901153 h 901154"/>
                <a:gd name="connsiteX43" fmla="*/ 1824412 w 2441576"/>
                <a:gd name="connsiteY43" fmla="*/ 901153 h 901154"/>
                <a:gd name="connsiteX44" fmla="*/ 1720844 w 2441576"/>
                <a:gd name="connsiteY44" fmla="*/ 901153 h 901154"/>
                <a:gd name="connsiteX45" fmla="*/ 1609632 w 2441576"/>
                <a:gd name="connsiteY45" fmla="*/ 901153 h 901154"/>
                <a:gd name="connsiteX46" fmla="*/ 1539566 w 2441576"/>
                <a:gd name="connsiteY46" fmla="*/ 901153 h 901154"/>
                <a:gd name="connsiteX47" fmla="*/ 1427685 w 2441576"/>
                <a:gd name="connsiteY47" fmla="*/ 901153 h 901154"/>
                <a:gd name="connsiteX48" fmla="*/ 1324785 w 2441576"/>
                <a:gd name="connsiteY48" fmla="*/ 901153 h 901154"/>
                <a:gd name="connsiteX49" fmla="*/ 1254721 w 2441576"/>
                <a:gd name="connsiteY49" fmla="*/ 901153 h 901154"/>
                <a:gd name="connsiteX50" fmla="*/ 1146253 w 2441576"/>
                <a:gd name="connsiteY50" fmla="*/ 901153 h 901154"/>
                <a:gd name="connsiteX51" fmla="*/ 1039939 w 2441576"/>
                <a:gd name="connsiteY51" fmla="*/ 901153 h 901154"/>
                <a:gd name="connsiteX52" fmla="*/ 969874 w 2441576"/>
                <a:gd name="connsiteY52" fmla="*/ 901153 h 901154"/>
                <a:gd name="connsiteX53" fmla="*/ 864820 w 2441576"/>
                <a:gd name="connsiteY53" fmla="*/ 901154 h 901154"/>
                <a:gd name="connsiteX54" fmla="*/ 755093 w 2441576"/>
                <a:gd name="connsiteY54" fmla="*/ 901153 h 901154"/>
                <a:gd name="connsiteX55" fmla="*/ 685028 w 2441576"/>
                <a:gd name="connsiteY55" fmla="*/ 901153 h 901154"/>
                <a:gd name="connsiteX56" fmla="*/ 581332 w 2441576"/>
                <a:gd name="connsiteY56" fmla="*/ 901153 h 901154"/>
                <a:gd name="connsiteX57" fmla="*/ 471351 w 2441576"/>
                <a:gd name="connsiteY57" fmla="*/ 901153 h 901154"/>
                <a:gd name="connsiteX58" fmla="*/ 470246 w 2441576"/>
                <a:gd name="connsiteY58" fmla="*/ 901153 h 901154"/>
                <a:gd name="connsiteX59" fmla="*/ 377080 w 2441576"/>
                <a:gd name="connsiteY59" fmla="*/ 901153 h 901154"/>
                <a:gd name="connsiteX60" fmla="*/ 282811 w 2441576"/>
                <a:gd name="connsiteY60" fmla="*/ 901153 h 901154"/>
                <a:gd name="connsiteX61" fmla="*/ 188541 w 2441576"/>
                <a:gd name="connsiteY61" fmla="*/ 901153 h 901154"/>
                <a:gd name="connsiteX62" fmla="*/ 185400 w 2441576"/>
                <a:gd name="connsiteY62" fmla="*/ 901153 h 901154"/>
                <a:gd name="connsiteX63" fmla="*/ 94270 w 2441576"/>
                <a:gd name="connsiteY63" fmla="*/ 901153 h 901154"/>
                <a:gd name="connsiteX64" fmla="*/ 0 w 2441576"/>
                <a:gd name="connsiteY64" fmla="*/ 901153 h 901154"/>
                <a:gd name="connsiteX65" fmla="*/ 0 w 2441576"/>
                <a:gd name="connsiteY65" fmla="*/ 832545 h 901154"/>
                <a:gd name="connsiteX66" fmla="*/ 0 w 2441576"/>
                <a:gd name="connsiteY66" fmla="*/ 760507 h 901154"/>
                <a:gd name="connsiteX67" fmla="*/ 0 w 2441576"/>
                <a:gd name="connsiteY67" fmla="*/ 691899 h 901154"/>
                <a:gd name="connsiteX68" fmla="*/ 0 w 2441576"/>
                <a:gd name="connsiteY68" fmla="*/ 608455 h 901154"/>
                <a:gd name="connsiteX69" fmla="*/ 0 w 2441576"/>
                <a:gd name="connsiteY69" fmla="*/ 539847 h 901154"/>
                <a:gd name="connsiteX70" fmla="*/ 0 w 2441576"/>
                <a:gd name="connsiteY70" fmla="*/ 456403 h 901154"/>
                <a:gd name="connsiteX71" fmla="*/ 0 w 2441576"/>
                <a:gd name="connsiteY71" fmla="*/ 387795 h 901154"/>
                <a:gd name="connsiteX72" fmla="*/ 0 w 2441576"/>
                <a:gd name="connsiteY72" fmla="*/ 304351 h 901154"/>
                <a:gd name="connsiteX73" fmla="*/ 0 w 2441576"/>
                <a:gd name="connsiteY73" fmla="*/ 235743 h 901154"/>
                <a:gd name="connsiteX74" fmla="*/ 0 w 2441576"/>
                <a:gd name="connsiteY74" fmla="*/ 152299 h 901154"/>
                <a:gd name="connsiteX75" fmla="*/ 0 w 2441576"/>
                <a:gd name="connsiteY75" fmla="*/ 83691 h 901154"/>
                <a:gd name="connsiteX76" fmla="*/ 0 w 2441576"/>
                <a:gd name="connsiteY76" fmla="*/ 247 h 901154"/>
                <a:gd name="connsiteX0" fmla="*/ 0 w 2441576"/>
                <a:gd name="connsiteY0" fmla="*/ 247 h 901154"/>
                <a:gd name="connsiteX1" fmla="*/ 94270 w 2441576"/>
                <a:gd name="connsiteY1" fmla="*/ 247 h 901154"/>
                <a:gd name="connsiteX2" fmla="*/ 185400 w 2441576"/>
                <a:gd name="connsiteY2" fmla="*/ 247 h 901154"/>
                <a:gd name="connsiteX3" fmla="*/ 188541 w 2441576"/>
                <a:gd name="connsiteY3" fmla="*/ 247 h 901154"/>
                <a:gd name="connsiteX4" fmla="*/ 282811 w 2441576"/>
                <a:gd name="connsiteY4" fmla="*/ 247 h 901154"/>
                <a:gd name="connsiteX5" fmla="*/ 377080 w 2441576"/>
                <a:gd name="connsiteY5" fmla="*/ 247 h 901154"/>
                <a:gd name="connsiteX6" fmla="*/ 470246 w 2441576"/>
                <a:gd name="connsiteY6" fmla="*/ 247 h 901154"/>
                <a:gd name="connsiteX7" fmla="*/ 471351 w 2441576"/>
                <a:gd name="connsiteY7" fmla="*/ 247 h 901154"/>
                <a:gd name="connsiteX8" fmla="*/ 581332 w 2441576"/>
                <a:gd name="connsiteY8" fmla="*/ 247 h 901154"/>
                <a:gd name="connsiteX9" fmla="*/ 685028 w 2441576"/>
                <a:gd name="connsiteY9" fmla="*/ 247 h 901154"/>
                <a:gd name="connsiteX10" fmla="*/ 755093 w 2441576"/>
                <a:gd name="connsiteY10" fmla="*/ 247 h 901154"/>
                <a:gd name="connsiteX11" fmla="*/ 969874 w 2441576"/>
                <a:gd name="connsiteY11" fmla="*/ 247 h 901154"/>
                <a:gd name="connsiteX12" fmla="*/ 1039939 w 2441576"/>
                <a:gd name="connsiteY12" fmla="*/ 247 h 901154"/>
                <a:gd name="connsiteX13" fmla="*/ 1254721 w 2441576"/>
                <a:gd name="connsiteY13" fmla="*/ 247 h 901154"/>
                <a:gd name="connsiteX14" fmla="*/ 1324785 w 2441576"/>
                <a:gd name="connsiteY14" fmla="*/ 247 h 901154"/>
                <a:gd name="connsiteX15" fmla="*/ 1430031 w 2441576"/>
                <a:gd name="connsiteY15" fmla="*/ 0 h 901154"/>
                <a:gd name="connsiteX16" fmla="*/ 1539566 w 2441576"/>
                <a:gd name="connsiteY16" fmla="*/ 247 h 901154"/>
                <a:gd name="connsiteX17" fmla="*/ 1609632 w 2441576"/>
                <a:gd name="connsiteY17" fmla="*/ 247 h 901154"/>
                <a:gd name="connsiteX18" fmla="*/ 1707946 w 2441576"/>
                <a:gd name="connsiteY18" fmla="*/ 1 h 901154"/>
                <a:gd name="connsiteX19" fmla="*/ 1824412 w 2441576"/>
                <a:gd name="connsiteY19" fmla="*/ 247 h 901154"/>
                <a:gd name="connsiteX20" fmla="*/ 1941949 w 2441576"/>
                <a:gd name="connsiteY20" fmla="*/ 247 h 901154"/>
                <a:gd name="connsiteX21" fmla="*/ 2094866 w 2441576"/>
                <a:gd name="connsiteY21" fmla="*/ 247 h 901154"/>
                <a:gd name="connsiteX22" fmla="*/ 2176781 w 2441576"/>
                <a:gd name="connsiteY22" fmla="*/ 247 h 901154"/>
                <a:gd name="connsiteX23" fmla="*/ 2258696 w 2441576"/>
                <a:gd name="connsiteY23" fmla="*/ 247 h 901154"/>
                <a:gd name="connsiteX24" fmla="*/ 2321561 w 2441576"/>
                <a:gd name="connsiteY24" fmla="*/ 247 h 901154"/>
                <a:gd name="connsiteX25" fmla="*/ 2441576 w 2441576"/>
                <a:gd name="connsiteY25" fmla="*/ 247 h 901154"/>
                <a:gd name="connsiteX26" fmla="*/ 2441576 w 2441576"/>
                <a:gd name="connsiteY26" fmla="*/ 83691 h 901154"/>
                <a:gd name="connsiteX27" fmla="*/ 2441576 w 2441576"/>
                <a:gd name="connsiteY27" fmla="*/ 152299 h 901154"/>
                <a:gd name="connsiteX28" fmla="*/ 2441576 w 2441576"/>
                <a:gd name="connsiteY28" fmla="*/ 235743 h 901154"/>
                <a:gd name="connsiteX29" fmla="*/ 2441576 w 2441576"/>
                <a:gd name="connsiteY29" fmla="*/ 304351 h 901154"/>
                <a:gd name="connsiteX30" fmla="*/ 2441576 w 2441576"/>
                <a:gd name="connsiteY30" fmla="*/ 387795 h 901154"/>
                <a:gd name="connsiteX31" fmla="*/ 2441576 w 2441576"/>
                <a:gd name="connsiteY31" fmla="*/ 456403 h 901154"/>
                <a:gd name="connsiteX32" fmla="*/ 2441576 w 2441576"/>
                <a:gd name="connsiteY32" fmla="*/ 539847 h 901154"/>
                <a:gd name="connsiteX33" fmla="*/ 2441576 w 2441576"/>
                <a:gd name="connsiteY33" fmla="*/ 608455 h 901154"/>
                <a:gd name="connsiteX34" fmla="*/ 2441576 w 2441576"/>
                <a:gd name="connsiteY34" fmla="*/ 691899 h 901154"/>
                <a:gd name="connsiteX35" fmla="*/ 2441576 w 2441576"/>
                <a:gd name="connsiteY35" fmla="*/ 760507 h 901154"/>
                <a:gd name="connsiteX36" fmla="*/ 2441576 w 2441576"/>
                <a:gd name="connsiteY36" fmla="*/ 832545 h 901154"/>
                <a:gd name="connsiteX37" fmla="*/ 2441576 w 2441576"/>
                <a:gd name="connsiteY37" fmla="*/ 901153 h 901154"/>
                <a:gd name="connsiteX38" fmla="*/ 2321561 w 2441576"/>
                <a:gd name="connsiteY38" fmla="*/ 901153 h 901154"/>
                <a:gd name="connsiteX39" fmla="*/ 2239646 w 2441576"/>
                <a:gd name="connsiteY39" fmla="*/ 901153 h 901154"/>
                <a:gd name="connsiteX40" fmla="*/ 2176781 w 2441576"/>
                <a:gd name="connsiteY40" fmla="*/ 901153 h 901154"/>
                <a:gd name="connsiteX41" fmla="*/ 2109259 w 2441576"/>
                <a:gd name="connsiteY41" fmla="*/ 901153 h 901154"/>
                <a:gd name="connsiteX42" fmla="*/ 2025730 w 2441576"/>
                <a:gd name="connsiteY42" fmla="*/ 901153 h 901154"/>
                <a:gd name="connsiteX43" fmla="*/ 1941949 w 2441576"/>
                <a:gd name="connsiteY43" fmla="*/ 901153 h 901154"/>
                <a:gd name="connsiteX44" fmla="*/ 1824412 w 2441576"/>
                <a:gd name="connsiteY44" fmla="*/ 901153 h 901154"/>
                <a:gd name="connsiteX45" fmla="*/ 1720844 w 2441576"/>
                <a:gd name="connsiteY45" fmla="*/ 901153 h 901154"/>
                <a:gd name="connsiteX46" fmla="*/ 1609632 w 2441576"/>
                <a:gd name="connsiteY46" fmla="*/ 901153 h 901154"/>
                <a:gd name="connsiteX47" fmla="*/ 1539566 w 2441576"/>
                <a:gd name="connsiteY47" fmla="*/ 901153 h 901154"/>
                <a:gd name="connsiteX48" fmla="*/ 1427685 w 2441576"/>
                <a:gd name="connsiteY48" fmla="*/ 901153 h 901154"/>
                <a:gd name="connsiteX49" fmla="*/ 1324785 w 2441576"/>
                <a:gd name="connsiteY49" fmla="*/ 901153 h 901154"/>
                <a:gd name="connsiteX50" fmla="*/ 1254721 w 2441576"/>
                <a:gd name="connsiteY50" fmla="*/ 901153 h 901154"/>
                <a:gd name="connsiteX51" fmla="*/ 1146253 w 2441576"/>
                <a:gd name="connsiteY51" fmla="*/ 901153 h 901154"/>
                <a:gd name="connsiteX52" fmla="*/ 1039939 w 2441576"/>
                <a:gd name="connsiteY52" fmla="*/ 901153 h 901154"/>
                <a:gd name="connsiteX53" fmla="*/ 969874 w 2441576"/>
                <a:gd name="connsiteY53" fmla="*/ 901153 h 901154"/>
                <a:gd name="connsiteX54" fmla="*/ 864820 w 2441576"/>
                <a:gd name="connsiteY54" fmla="*/ 901154 h 901154"/>
                <a:gd name="connsiteX55" fmla="*/ 755093 w 2441576"/>
                <a:gd name="connsiteY55" fmla="*/ 901153 h 901154"/>
                <a:gd name="connsiteX56" fmla="*/ 685028 w 2441576"/>
                <a:gd name="connsiteY56" fmla="*/ 901153 h 901154"/>
                <a:gd name="connsiteX57" fmla="*/ 581332 w 2441576"/>
                <a:gd name="connsiteY57" fmla="*/ 901153 h 901154"/>
                <a:gd name="connsiteX58" fmla="*/ 471351 w 2441576"/>
                <a:gd name="connsiteY58" fmla="*/ 901153 h 901154"/>
                <a:gd name="connsiteX59" fmla="*/ 470246 w 2441576"/>
                <a:gd name="connsiteY59" fmla="*/ 901153 h 901154"/>
                <a:gd name="connsiteX60" fmla="*/ 377080 w 2441576"/>
                <a:gd name="connsiteY60" fmla="*/ 901153 h 901154"/>
                <a:gd name="connsiteX61" fmla="*/ 282811 w 2441576"/>
                <a:gd name="connsiteY61" fmla="*/ 901153 h 901154"/>
                <a:gd name="connsiteX62" fmla="*/ 188541 w 2441576"/>
                <a:gd name="connsiteY62" fmla="*/ 901153 h 901154"/>
                <a:gd name="connsiteX63" fmla="*/ 185400 w 2441576"/>
                <a:gd name="connsiteY63" fmla="*/ 901153 h 901154"/>
                <a:gd name="connsiteX64" fmla="*/ 94270 w 2441576"/>
                <a:gd name="connsiteY64" fmla="*/ 901153 h 901154"/>
                <a:gd name="connsiteX65" fmla="*/ 0 w 2441576"/>
                <a:gd name="connsiteY65" fmla="*/ 901153 h 901154"/>
                <a:gd name="connsiteX66" fmla="*/ 0 w 2441576"/>
                <a:gd name="connsiteY66" fmla="*/ 832545 h 901154"/>
                <a:gd name="connsiteX67" fmla="*/ 0 w 2441576"/>
                <a:gd name="connsiteY67" fmla="*/ 760507 h 901154"/>
                <a:gd name="connsiteX68" fmla="*/ 0 w 2441576"/>
                <a:gd name="connsiteY68" fmla="*/ 691899 h 901154"/>
                <a:gd name="connsiteX69" fmla="*/ 0 w 2441576"/>
                <a:gd name="connsiteY69" fmla="*/ 608455 h 901154"/>
                <a:gd name="connsiteX70" fmla="*/ 0 w 2441576"/>
                <a:gd name="connsiteY70" fmla="*/ 539847 h 901154"/>
                <a:gd name="connsiteX71" fmla="*/ 0 w 2441576"/>
                <a:gd name="connsiteY71" fmla="*/ 456403 h 901154"/>
                <a:gd name="connsiteX72" fmla="*/ 0 w 2441576"/>
                <a:gd name="connsiteY72" fmla="*/ 387795 h 901154"/>
                <a:gd name="connsiteX73" fmla="*/ 0 w 2441576"/>
                <a:gd name="connsiteY73" fmla="*/ 304351 h 901154"/>
                <a:gd name="connsiteX74" fmla="*/ 0 w 2441576"/>
                <a:gd name="connsiteY74" fmla="*/ 235743 h 901154"/>
                <a:gd name="connsiteX75" fmla="*/ 0 w 2441576"/>
                <a:gd name="connsiteY75" fmla="*/ 152299 h 901154"/>
                <a:gd name="connsiteX76" fmla="*/ 0 w 2441576"/>
                <a:gd name="connsiteY76" fmla="*/ 83691 h 901154"/>
                <a:gd name="connsiteX77" fmla="*/ 0 w 2441576"/>
                <a:gd name="connsiteY77" fmla="*/ 247 h 901154"/>
                <a:gd name="connsiteX0" fmla="*/ 0 w 2441576"/>
                <a:gd name="connsiteY0" fmla="*/ 247 h 901154"/>
                <a:gd name="connsiteX1" fmla="*/ 94270 w 2441576"/>
                <a:gd name="connsiteY1" fmla="*/ 247 h 901154"/>
                <a:gd name="connsiteX2" fmla="*/ 185400 w 2441576"/>
                <a:gd name="connsiteY2" fmla="*/ 247 h 901154"/>
                <a:gd name="connsiteX3" fmla="*/ 188541 w 2441576"/>
                <a:gd name="connsiteY3" fmla="*/ 247 h 901154"/>
                <a:gd name="connsiteX4" fmla="*/ 282811 w 2441576"/>
                <a:gd name="connsiteY4" fmla="*/ 247 h 901154"/>
                <a:gd name="connsiteX5" fmla="*/ 377080 w 2441576"/>
                <a:gd name="connsiteY5" fmla="*/ 247 h 901154"/>
                <a:gd name="connsiteX6" fmla="*/ 470246 w 2441576"/>
                <a:gd name="connsiteY6" fmla="*/ 247 h 901154"/>
                <a:gd name="connsiteX7" fmla="*/ 471351 w 2441576"/>
                <a:gd name="connsiteY7" fmla="*/ 247 h 901154"/>
                <a:gd name="connsiteX8" fmla="*/ 581332 w 2441576"/>
                <a:gd name="connsiteY8" fmla="*/ 247 h 901154"/>
                <a:gd name="connsiteX9" fmla="*/ 685028 w 2441576"/>
                <a:gd name="connsiteY9" fmla="*/ 247 h 901154"/>
                <a:gd name="connsiteX10" fmla="*/ 755093 w 2441576"/>
                <a:gd name="connsiteY10" fmla="*/ 247 h 901154"/>
                <a:gd name="connsiteX11" fmla="*/ 969874 w 2441576"/>
                <a:gd name="connsiteY11" fmla="*/ 247 h 901154"/>
                <a:gd name="connsiteX12" fmla="*/ 1039939 w 2441576"/>
                <a:gd name="connsiteY12" fmla="*/ 247 h 901154"/>
                <a:gd name="connsiteX13" fmla="*/ 1146839 w 2441576"/>
                <a:gd name="connsiteY13" fmla="*/ 1 h 901154"/>
                <a:gd name="connsiteX14" fmla="*/ 1254721 w 2441576"/>
                <a:gd name="connsiteY14" fmla="*/ 247 h 901154"/>
                <a:gd name="connsiteX15" fmla="*/ 1324785 w 2441576"/>
                <a:gd name="connsiteY15" fmla="*/ 247 h 901154"/>
                <a:gd name="connsiteX16" fmla="*/ 1430031 w 2441576"/>
                <a:gd name="connsiteY16" fmla="*/ 0 h 901154"/>
                <a:gd name="connsiteX17" fmla="*/ 1539566 w 2441576"/>
                <a:gd name="connsiteY17" fmla="*/ 247 h 901154"/>
                <a:gd name="connsiteX18" fmla="*/ 1609632 w 2441576"/>
                <a:gd name="connsiteY18" fmla="*/ 247 h 901154"/>
                <a:gd name="connsiteX19" fmla="*/ 1707946 w 2441576"/>
                <a:gd name="connsiteY19" fmla="*/ 1 h 901154"/>
                <a:gd name="connsiteX20" fmla="*/ 1824412 w 2441576"/>
                <a:gd name="connsiteY20" fmla="*/ 247 h 901154"/>
                <a:gd name="connsiteX21" fmla="*/ 1941949 w 2441576"/>
                <a:gd name="connsiteY21" fmla="*/ 247 h 901154"/>
                <a:gd name="connsiteX22" fmla="*/ 2094866 w 2441576"/>
                <a:gd name="connsiteY22" fmla="*/ 247 h 901154"/>
                <a:gd name="connsiteX23" fmla="*/ 2176781 w 2441576"/>
                <a:gd name="connsiteY23" fmla="*/ 247 h 901154"/>
                <a:gd name="connsiteX24" fmla="*/ 2258696 w 2441576"/>
                <a:gd name="connsiteY24" fmla="*/ 247 h 901154"/>
                <a:gd name="connsiteX25" fmla="*/ 2321561 w 2441576"/>
                <a:gd name="connsiteY25" fmla="*/ 247 h 901154"/>
                <a:gd name="connsiteX26" fmla="*/ 2441576 w 2441576"/>
                <a:gd name="connsiteY26" fmla="*/ 247 h 901154"/>
                <a:gd name="connsiteX27" fmla="*/ 2441576 w 2441576"/>
                <a:gd name="connsiteY27" fmla="*/ 83691 h 901154"/>
                <a:gd name="connsiteX28" fmla="*/ 2441576 w 2441576"/>
                <a:gd name="connsiteY28" fmla="*/ 152299 h 901154"/>
                <a:gd name="connsiteX29" fmla="*/ 2441576 w 2441576"/>
                <a:gd name="connsiteY29" fmla="*/ 235743 h 901154"/>
                <a:gd name="connsiteX30" fmla="*/ 2441576 w 2441576"/>
                <a:gd name="connsiteY30" fmla="*/ 304351 h 901154"/>
                <a:gd name="connsiteX31" fmla="*/ 2441576 w 2441576"/>
                <a:gd name="connsiteY31" fmla="*/ 387795 h 901154"/>
                <a:gd name="connsiteX32" fmla="*/ 2441576 w 2441576"/>
                <a:gd name="connsiteY32" fmla="*/ 456403 h 901154"/>
                <a:gd name="connsiteX33" fmla="*/ 2441576 w 2441576"/>
                <a:gd name="connsiteY33" fmla="*/ 539847 h 901154"/>
                <a:gd name="connsiteX34" fmla="*/ 2441576 w 2441576"/>
                <a:gd name="connsiteY34" fmla="*/ 608455 h 901154"/>
                <a:gd name="connsiteX35" fmla="*/ 2441576 w 2441576"/>
                <a:gd name="connsiteY35" fmla="*/ 691899 h 901154"/>
                <a:gd name="connsiteX36" fmla="*/ 2441576 w 2441576"/>
                <a:gd name="connsiteY36" fmla="*/ 760507 h 901154"/>
                <a:gd name="connsiteX37" fmla="*/ 2441576 w 2441576"/>
                <a:gd name="connsiteY37" fmla="*/ 832545 h 901154"/>
                <a:gd name="connsiteX38" fmla="*/ 2441576 w 2441576"/>
                <a:gd name="connsiteY38" fmla="*/ 901153 h 901154"/>
                <a:gd name="connsiteX39" fmla="*/ 2321561 w 2441576"/>
                <a:gd name="connsiteY39" fmla="*/ 901153 h 901154"/>
                <a:gd name="connsiteX40" fmla="*/ 2239646 w 2441576"/>
                <a:gd name="connsiteY40" fmla="*/ 901153 h 901154"/>
                <a:gd name="connsiteX41" fmla="*/ 2176781 w 2441576"/>
                <a:gd name="connsiteY41" fmla="*/ 901153 h 901154"/>
                <a:gd name="connsiteX42" fmla="*/ 2109259 w 2441576"/>
                <a:gd name="connsiteY42" fmla="*/ 901153 h 901154"/>
                <a:gd name="connsiteX43" fmla="*/ 2025730 w 2441576"/>
                <a:gd name="connsiteY43" fmla="*/ 901153 h 901154"/>
                <a:gd name="connsiteX44" fmla="*/ 1941949 w 2441576"/>
                <a:gd name="connsiteY44" fmla="*/ 901153 h 901154"/>
                <a:gd name="connsiteX45" fmla="*/ 1824412 w 2441576"/>
                <a:gd name="connsiteY45" fmla="*/ 901153 h 901154"/>
                <a:gd name="connsiteX46" fmla="*/ 1720844 w 2441576"/>
                <a:gd name="connsiteY46" fmla="*/ 901153 h 901154"/>
                <a:gd name="connsiteX47" fmla="*/ 1609632 w 2441576"/>
                <a:gd name="connsiteY47" fmla="*/ 901153 h 901154"/>
                <a:gd name="connsiteX48" fmla="*/ 1539566 w 2441576"/>
                <a:gd name="connsiteY48" fmla="*/ 901153 h 901154"/>
                <a:gd name="connsiteX49" fmla="*/ 1427685 w 2441576"/>
                <a:gd name="connsiteY49" fmla="*/ 901153 h 901154"/>
                <a:gd name="connsiteX50" fmla="*/ 1324785 w 2441576"/>
                <a:gd name="connsiteY50" fmla="*/ 901153 h 901154"/>
                <a:gd name="connsiteX51" fmla="*/ 1254721 w 2441576"/>
                <a:gd name="connsiteY51" fmla="*/ 901153 h 901154"/>
                <a:gd name="connsiteX52" fmla="*/ 1146253 w 2441576"/>
                <a:gd name="connsiteY52" fmla="*/ 901153 h 901154"/>
                <a:gd name="connsiteX53" fmla="*/ 1039939 w 2441576"/>
                <a:gd name="connsiteY53" fmla="*/ 901153 h 901154"/>
                <a:gd name="connsiteX54" fmla="*/ 969874 w 2441576"/>
                <a:gd name="connsiteY54" fmla="*/ 901153 h 901154"/>
                <a:gd name="connsiteX55" fmla="*/ 864820 w 2441576"/>
                <a:gd name="connsiteY55" fmla="*/ 901154 h 901154"/>
                <a:gd name="connsiteX56" fmla="*/ 755093 w 2441576"/>
                <a:gd name="connsiteY56" fmla="*/ 901153 h 901154"/>
                <a:gd name="connsiteX57" fmla="*/ 685028 w 2441576"/>
                <a:gd name="connsiteY57" fmla="*/ 901153 h 901154"/>
                <a:gd name="connsiteX58" fmla="*/ 581332 w 2441576"/>
                <a:gd name="connsiteY58" fmla="*/ 901153 h 901154"/>
                <a:gd name="connsiteX59" fmla="*/ 471351 w 2441576"/>
                <a:gd name="connsiteY59" fmla="*/ 901153 h 901154"/>
                <a:gd name="connsiteX60" fmla="*/ 470246 w 2441576"/>
                <a:gd name="connsiteY60" fmla="*/ 901153 h 901154"/>
                <a:gd name="connsiteX61" fmla="*/ 377080 w 2441576"/>
                <a:gd name="connsiteY61" fmla="*/ 901153 h 901154"/>
                <a:gd name="connsiteX62" fmla="*/ 282811 w 2441576"/>
                <a:gd name="connsiteY62" fmla="*/ 901153 h 901154"/>
                <a:gd name="connsiteX63" fmla="*/ 188541 w 2441576"/>
                <a:gd name="connsiteY63" fmla="*/ 901153 h 901154"/>
                <a:gd name="connsiteX64" fmla="*/ 185400 w 2441576"/>
                <a:gd name="connsiteY64" fmla="*/ 901153 h 901154"/>
                <a:gd name="connsiteX65" fmla="*/ 94270 w 2441576"/>
                <a:gd name="connsiteY65" fmla="*/ 901153 h 901154"/>
                <a:gd name="connsiteX66" fmla="*/ 0 w 2441576"/>
                <a:gd name="connsiteY66" fmla="*/ 901153 h 901154"/>
                <a:gd name="connsiteX67" fmla="*/ 0 w 2441576"/>
                <a:gd name="connsiteY67" fmla="*/ 832545 h 901154"/>
                <a:gd name="connsiteX68" fmla="*/ 0 w 2441576"/>
                <a:gd name="connsiteY68" fmla="*/ 760507 h 901154"/>
                <a:gd name="connsiteX69" fmla="*/ 0 w 2441576"/>
                <a:gd name="connsiteY69" fmla="*/ 691899 h 901154"/>
                <a:gd name="connsiteX70" fmla="*/ 0 w 2441576"/>
                <a:gd name="connsiteY70" fmla="*/ 608455 h 901154"/>
                <a:gd name="connsiteX71" fmla="*/ 0 w 2441576"/>
                <a:gd name="connsiteY71" fmla="*/ 539847 h 901154"/>
                <a:gd name="connsiteX72" fmla="*/ 0 w 2441576"/>
                <a:gd name="connsiteY72" fmla="*/ 456403 h 901154"/>
                <a:gd name="connsiteX73" fmla="*/ 0 w 2441576"/>
                <a:gd name="connsiteY73" fmla="*/ 387795 h 901154"/>
                <a:gd name="connsiteX74" fmla="*/ 0 w 2441576"/>
                <a:gd name="connsiteY74" fmla="*/ 304351 h 901154"/>
                <a:gd name="connsiteX75" fmla="*/ 0 w 2441576"/>
                <a:gd name="connsiteY75" fmla="*/ 235743 h 901154"/>
                <a:gd name="connsiteX76" fmla="*/ 0 w 2441576"/>
                <a:gd name="connsiteY76" fmla="*/ 152299 h 901154"/>
                <a:gd name="connsiteX77" fmla="*/ 0 w 2441576"/>
                <a:gd name="connsiteY77" fmla="*/ 83691 h 901154"/>
                <a:gd name="connsiteX78" fmla="*/ 0 w 2441576"/>
                <a:gd name="connsiteY78" fmla="*/ 247 h 901154"/>
                <a:gd name="connsiteX0" fmla="*/ 0 w 2441576"/>
                <a:gd name="connsiteY0" fmla="*/ 247 h 901154"/>
                <a:gd name="connsiteX1" fmla="*/ 94270 w 2441576"/>
                <a:gd name="connsiteY1" fmla="*/ 247 h 901154"/>
                <a:gd name="connsiteX2" fmla="*/ 185400 w 2441576"/>
                <a:gd name="connsiteY2" fmla="*/ 247 h 901154"/>
                <a:gd name="connsiteX3" fmla="*/ 188541 w 2441576"/>
                <a:gd name="connsiteY3" fmla="*/ 247 h 901154"/>
                <a:gd name="connsiteX4" fmla="*/ 282811 w 2441576"/>
                <a:gd name="connsiteY4" fmla="*/ 247 h 901154"/>
                <a:gd name="connsiteX5" fmla="*/ 377080 w 2441576"/>
                <a:gd name="connsiteY5" fmla="*/ 247 h 901154"/>
                <a:gd name="connsiteX6" fmla="*/ 470246 w 2441576"/>
                <a:gd name="connsiteY6" fmla="*/ 247 h 901154"/>
                <a:gd name="connsiteX7" fmla="*/ 471351 w 2441576"/>
                <a:gd name="connsiteY7" fmla="*/ 247 h 901154"/>
                <a:gd name="connsiteX8" fmla="*/ 581332 w 2441576"/>
                <a:gd name="connsiteY8" fmla="*/ 247 h 901154"/>
                <a:gd name="connsiteX9" fmla="*/ 685028 w 2441576"/>
                <a:gd name="connsiteY9" fmla="*/ 247 h 901154"/>
                <a:gd name="connsiteX10" fmla="*/ 755093 w 2441576"/>
                <a:gd name="connsiteY10" fmla="*/ 247 h 901154"/>
                <a:gd name="connsiteX11" fmla="*/ 860129 w 2441576"/>
                <a:gd name="connsiteY11" fmla="*/ 1 h 901154"/>
                <a:gd name="connsiteX12" fmla="*/ 969874 w 2441576"/>
                <a:gd name="connsiteY12" fmla="*/ 247 h 901154"/>
                <a:gd name="connsiteX13" fmla="*/ 1039939 w 2441576"/>
                <a:gd name="connsiteY13" fmla="*/ 247 h 901154"/>
                <a:gd name="connsiteX14" fmla="*/ 1146839 w 2441576"/>
                <a:gd name="connsiteY14" fmla="*/ 1 h 901154"/>
                <a:gd name="connsiteX15" fmla="*/ 1254721 w 2441576"/>
                <a:gd name="connsiteY15" fmla="*/ 247 h 901154"/>
                <a:gd name="connsiteX16" fmla="*/ 1324785 w 2441576"/>
                <a:gd name="connsiteY16" fmla="*/ 247 h 901154"/>
                <a:gd name="connsiteX17" fmla="*/ 1430031 w 2441576"/>
                <a:gd name="connsiteY17" fmla="*/ 0 h 901154"/>
                <a:gd name="connsiteX18" fmla="*/ 1539566 w 2441576"/>
                <a:gd name="connsiteY18" fmla="*/ 247 h 901154"/>
                <a:gd name="connsiteX19" fmla="*/ 1609632 w 2441576"/>
                <a:gd name="connsiteY19" fmla="*/ 247 h 901154"/>
                <a:gd name="connsiteX20" fmla="*/ 1707946 w 2441576"/>
                <a:gd name="connsiteY20" fmla="*/ 1 h 901154"/>
                <a:gd name="connsiteX21" fmla="*/ 1824412 w 2441576"/>
                <a:gd name="connsiteY21" fmla="*/ 247 h 901154"/>
                <a:gd name="connsiteX22" fmla="*/ 1941949 w 2441576"/>
                <a:gd name="connsiteY22" fmla="*/ 247 h 901154"/>
                <a:gd name="connsiteX23" fmla="*/ 2094866 w 2441576"/>
                <a:gd name="connsiteY23" fmla="*/ 247 h 901154"/>
                <a:gd name="connsiteX24" fmla="*/ 2176781 w 2441576"/>
                <a:gd name="connsiteY24" fmla="*/ 247 h 901154"/>
                <a:gd name="connsiteX25" fmla="*/ 2258696 w 2441576"/>
                <a:gd name="connsiteY25" fmla="*/ 247 h 901154"/>
                <a:gd name="connsiteX26" fmla="*/ 2321561 w 2441576"/>
                <a:gd name="connsiteY26" fmla="*/ 247 h 901154"/>
                <a:gd name="connsiteX27" fmla="*/ 2441576 w 2441576"/>
                <a:gd name="connsiteY27" fmla="*/ 247 h 901154"/>
                <a:gd name="connsiteX28" fmla="*/ 2441576 w 2441576"/>
                <a:gd name="connsiteY28" fmla="*/ 83691 h 901154"/>
                <a:gd name="connsiteX29" fmla="*/ 2441576 w 2441576"/>
                <a:gd name="connsiteY29" fmla="*/ 152299 h 901154"/>
                <a:gd name="connsiteX30" fmla="*/ 2441576 w 2441576"/>
                <a:gd name="connsiteY30" fmla="*/ 235743 h 901154"/>
                <a:gd name="connsiteX31" fmla="*/ 2441576 w 2441576"/>
                <a:gd name="connsiteY31" fmla="*/ 304351 h 901154"/>
                <a:gd name="connsiteX32" fmla="*/ 2441576 w 2441576"/>
                <a:gd name="connsiteY32" fmla="*/ 387795 h 901154"/>
                <a:gd name="connsiteX33" fmla="*/ 2441576 w 2441576"/>
                <a:gd name="connsiteY33" fmla="*/ 456403 h 901154"/>
                <a:gd name="connsiteX34" fmla="*/ 2441576 w 2441576"/>
                <a:gd name="connsiteY34" fmla="*/ 539847 h 901154"/>
                <a:gd name="connsiteX35" fmla="*/ 2441576 w 2441576"/>
                <a:gd name="connsiteY35" fmla="*/ 608455 h 901154"/>
                <a:gd name="connsiteX36" fmla="*/ 2441576 w 2441576"/>
                <a:gd name="connsiteY36" fmla="*/ 691899 h 901154"/>
                <a:gd name="connsiteX37" fmla="*/ 2441576 w 2441576"/>
                <a:gd name="connsiteY37" fmla="*/ 760507 h 901154"/>
                <a:gd name="connsiteX38" fmla="*/ 2441576 w 2441576"/>
                <a:gd name="connsiteY38" fmla="*/ 832545 h 901154"/>
                <a:gd name="connsiteX39" fmla="*/ 2441576 w 2441576"/>
                <a:gd name="connsiteY39" fmla="*/ 901153 h 901154"/>
                <a:gd name="connsiteX40" fmla="*/ 2321561 w 2441576"/>
                <a:gd name="connsiteY40" fmla="*/ 901153 h 901154"/>
                <a:gd name="connsiteX41" fmla="*/ 2239646 w 2441576"/>
                <a:gd name="connsiteY41" fmla="*/ 901153 h 901154"/>
                <a:gd name="connsiteX42" fmla="*/ 2176781 w 2441576"/>
                <a:gd name="connsiteY42" fmla="*/ 901153 h 901154"/>
                <a:gd name="connsiteX43" fmla="*/ 2109259 w 2441576"/>
                <a:gd name="connsiteY43" fmla="*/ 901153 h 901154"/>
                <a:gd name="connsiteX44" fmla="*/ 2025730 w 2441576"/>
                <a:gd name="connsiteY44" fmla="*/ 901153 h 901154"/>
                <a:gd name="connsiteX45" fmla="*/ 1941949 w 2441576"/>
                <a:gd name="connsiteY45" fmla="*/ 901153 h 901154"/>
                <a:gd name="connsiteX46" fmla="*/ 1824412 w 2441576"/>
                <a:gd name="connsiteY46" fmla="*/ 901153 h 901154"/>
                <a:gd name="connsiteX47" fmla="*/ 1720844 w 2441576"/>
                <a:gd name="connsiteY47" fmla="*/ 901153 h 901154"/>
                <a:gd name="connsiteX48" fmla="*/ 1609632 w 2441576"/>
                <a:gd name="connsiteY48" fmla="*/ 901153 h 901154"/>
                <a:gd name="connsiteX49" fmla="*/ 1539566 w 2441576"/>
                <a:gd name="connsiteY49" fmla="*/ 901153 h 901154"/>
                <a:gd name="connsiteX50" fmla="*/ 1427685 w 2441576"/>
                <a:gd name="connsiteY50" fmla="*/ 901153 h 901154"/>
                <a:gd name="connsiteX51" fmla="*/ 1324785 w 2441576"/>
                <a:gd name="connsiteY51" fmla="*/ 901153 h 901154"/>
                <a:gd name="connsiteX52" fmla="*/ 1254721 w 2441576"/>
                <a:gd name="connsiteY52" fmla="*/ 901153 h 901154"/>
                <a:gd name="connsiteX53" fmla="*/ 1146253 w 2441576"/>
                <a:gd name="connsiteY53" fmla="*/ 901153 h 901154"/>
                <a:gd name="connsiteX54" fmla="*/ 1039939 w 2441576"/>
                <a:gd name="connsiteY54" fmla="*/ 901153 h 901154"/>
                <a:gd name="connsiteX55" fmla="*/ 969874 w 2441576"/>
                <a:gd name="connsiteY55" fmla="*/ 901153 h 901154"/>
                <a:gd name="connsiteX56" fmla="*/ 864820 w 2441576"/>
                <a:gd name="connsiteY56" fmla="*/ 901154 h 901154"/>
                <a:gd name="connsiteX57" fmla="*/ 755093 w 2441576"/>
                <a:gd name="connsiteY57" fmla="*/ 901153 h 901154"/>
                <a:gd name="connsiteX58" fmla="*/ 685028 w 2441576"/>
                <a:gd name="connsiteY58" fmla="*/ 901153 h 901154"/>
                <a:gd name="connsiteX59" fmla="*/ 581332 w 2441576"/>
                <a:gd name="connsiteY59" fmla="*/ 901153 h 901154"/>
                <a:gd name="connsiteX60" fmla="*/ 471351 w 2441576"/>
                <a:gd name="connsiteY60" fmla="*/ 901153 h 901154"/>
                <a:gd name="connsiteX61" fmla="*/ 470246 w 2441576"/>
                <a:gd name="connsiteY61" fmla="*/ 901153 h 901154"/>
                <a:gd name="connsiteX62" fmla="*/ 377080 w 2441576"/>
                <a:gd name="connsiteY62" fmla="*/ 901153 h 901154"/>
                <a:gd name="connsiteX63" fmla="*/ 282811 w 2441576"/>
                <a:gd name="connsiteY63" fmla="*/ 901153 h 901154"/>
                <a:gd name="connsiteX64" fmla="*/ 188541 w 2441576"/>
                <a:gd name="connsiteY64" fmla="*/ 901153 h 901154"/>
                <a:gd name="connsiteX65" fmla="*/ 185400 w 2441576"/>
                <a:gd name="connsiteY65" fmla="*/ 901153 h 901154"/>
                <a:gd name="connsiteX66" fmla="*/ 94270 w 2441576"/>
                <a:gd name="connsiteY66" fmla="*/ 901153 h 901154"/>
                <a:gd name="connsiteX67" fmla="*/ 0 w 2441576"/>
                <a:gd name="connsiteY67" fmla="*/ 901153 h 901154"/>
                <a:gd name="connsiteX68" fmla="*/ 0 w 2441576"/>
                <a:gd name="connsiteY68" fmla="*/ 832545 h 901154"/>
                <a:gd name="connsiteX69" fmla="*/ 0 w 2441576"/>
                <a:gd name="connsiteY69" fmla="*/ 760507 h 901154"/>
                <a:gd name="connsiteX70" fmla="*/ 0 w 2441576"/>
                <a:gd name="connsiteY70" fmla="*/ 691899 h 901154"/>
                <a:gd name="connsiteX71" fmla="*/ 0 w 2441576"/>
                <a:gd name="connsiteY71" fmla="*/ 608455 h 901154"/>
                <a:gd name="connsiteX72" fmla="*/ 0 w 2441576"/>
                <a:gd name="connsiteY72" fmla="*/ 539847 h 901154"/>
                <a:gd name="connsiteX73" fmla="*/ 0 w 2441576"/>
                <a:gd name="connsiteY73" fmla="*/ 456403 h 901154"/>
                <a:gd name="connsiteX74" fmla="*/ 0 w 2441576"/>
                <a:gd name="connsiteY74" fmla="*/ 387795 h 901154"/>
                <a:gd name="connsiteX75" fmla="*/ 0 w 2441576"/>
                <a:gd name="connsiteY75" fmla="*/ 304351 h 901154"/>
                <a:gd name="connsiteX76" fmla="*/ 0 w 2441576"/>
                <a:gd name="connsiteY76" fmla="*/ 235743 h 901154"/>
                <a:gd name="connsiteX77" fmla="*/ 0 w 2441576"/>
                <a:gd name="connsiteY77" fmla="*/ 152299 h 901154"/>
                <a:gd name="connsiteX78" fmla="*/ 0 w 2441576"/>
                <a:gd name="connsiteY78" fmla="*/ 83691 h 901154"/>
                <a:gd name="connsiteX79" fmla="*/ 0 w 2441576"/>
                <a:gd name="connsiteY79" fmla="*/ 247 h 901154"/>
                <a:gd name="connsiteX0" fmla="*/ 0 w 2441576"/>
                <a:gd name="connsiteY0" fmla="*/ 247 h 901154"/>
                <a:gd name="connsiteX1" fmla="*/ 94270 w 2441576"/>
                <a:gd name="connsiteY1" fmla="*/ 247 h 901154"/>
                <a:gd name="connsiteX2" fmla="*/ 185400 w 2441576"/>
                <a:gd name="connsiteY2" fmla="*/ 247 h 901154"/>
                <a:gd name="connsiteX3" fmla="*/ 188541 w 2441576"/>
                <a:gd name="connsiteY3" fmla="*/ 247 h 901154"/>
                <a:gd name="connsiteX4" fmla="*/ 282811 w 2441576"/>
                <a:gd name="connsiteY4" fmla="*/ 247 h 901154"/>
                <a:gd name="connsiteX5" fmla="*/ 377080 w 2441576"/>
                <a:gd name="connsiteY5" fmla="*/ 247 h 901154"/>
                <a:gd name="connsiteX6" fmla="*/ 470246 w 2441576"/>
                <a:gd name="connsiteY6" fmla="*/ 247 h 901154"/>
                <a:gd name="connsiteX7" fmla="*/ 581332 w 2441576"/>
                <a:gd name="connsiteY7" fmla="*/ 247 h 901154"/>
                <a:gd name="connsiteX8" fmla="*/ 685028 w 2441576"/>
                <a:gd name="connsiteY8" fmla="*/ 247 h 901154"/>
                <a:gd name="connsiteX9" fmla="*/ 755093 w 2441576"/>
                <a:gd name="connsiteY9" fmla="*/ 247 h 901154"/>
                <a:gd name="connsiteX10" fmla="*/ 860129 w 2441576"/>
                <a:gd name="connsiteY10" fmla="*/ 1 h 901154"/>
                <a:gd name="connsiteX11" fmla="*/ 969874 w 2441576"/>
                <a:gd name="connsiteY11" fmla="*/ 247 h 901154"/>
                <a:gd name="connsiteX12" fmla="*/ 1039939 w 2441576"/>
                <a:gd name="connsiteY12" fmla="*/ 247 h 901154"/>
                <a:gd name="connsiteX13" fmla="*/ 1146839 w 2441576"/>
                <a:gd name="connsiteY13" fmla="*/ 1 h 901154"/>
                <a:gd name="connsiteX14" fmla="*/ 1254721 w 2441576"/>
                <a:gd name="connsiteY14" fmla="*/ 247 h 901154"/>
                <a:gd name="connsiteX15" fmla="*/ 1324785 w 2441576"/>
                <a:gd name="connsiteY15" fmla="*/ 247 h 901154"/>
                <a:gd name="connsiteX16" fmla="*/ 1430031 w 2441576"/>
                <a:gd name="connsiteY16" fmla="*/ 0 h 901154"/>
                <a:gd name="connsiteX17" fmla="*/ 1539566 w 2441576"/>
                <a:gd name="connsiteY17" fmla="*/ 247 h 901154"/>
                <a:gd name="connsiteX18" fmla="*/ 1609632 w 2441576"/>
                <a:gd name="connsiteY18" fmla="*/ 247 h 901154"/>
                <a:gd name="connsiteX19" fmla="*/ 1707946 w 2441576"/>
                <a:gd name="connsiteY19" fmla="*/ 1 h 901154"/>
                <a:gd name="connsiteX20" fmla="*/ 1824412 w 2441576"/>
                <a:gd name="connsiteY20" fmla="*/ 247 h 901154"/>
                <a:gd name="connsiteX21" fmla="*/ 1941949 w 2441576"/>
                <a:gd name="connsiteY21" fmla="*/ 247 h 901154"/>
                <a:gd name="connsiteX22" fmla="*/ 2094866 w 2441576"/>
                <a:gd name="connsiteY22" fmla="*/ 247 h 901154"/>
                <a:gd name="connsiteX23" fmla="*/ 2176781 w 2441576"/>
                <a:gd name="connsiteY23" fmla="*/ 247 h 901154"/>
                <a:gd name="connsiteX24" fmla="*/ 2258696 w 2441576"/>
                <a:gd name="connsiteY24" fmla="*/ 247 h 901154"/>
                <a:gd name="connsiteX25" fmla="*/ 2321561 w 2441576"/>
                <a:gd name="connsiteY25" fmla="*/ 247 h 901154"/>
                <a:gd name="connsiteX26" fmla="*/ 2441576 w 2441576"/>
                <a:gd name="connsiteY26" fmla="*/ 247 h 901154"/>
                <a:gd name="connsiteX27" fmla="*/ 2441576 w 2441576"/>
                <a:gd name="connsiteY27" fmla="*/ 83691 h 901154"/>
                <a:gd name="connsiteX28" fmla="*/ 2441576 w 2441576"/>
                <a:gd name="connsiteY28" fmla="*/ 152299 h 901154"/>
                <a:gd name="connsiteX29" fmla="*/ 2441576 w 2441576"/>
                <a:gd name="connsiteY29" fmla="*/ 235743 h 901154"/>
                <a:gd name="connsiteX30" fmla="*/ 2441576 w 2441576"/>
                <a:gd name="connsiteY30" fmla="*/ 304351 h 901154"/>
                <a:gd name="connsiteX31" fmla="*/ 2441576 w 2441576"/>
                <a:gd name="connsiteY31" fmla="*/ 387795 h 901154"/>
                <a:gd name="connsiteX32" fmla="*/ 2441576 w 2441576"/>
                <a:gd name="connsiteY32" fmla="*/ 456403 h 901154"/>
                <a:gd name="connsiteX33" fmla="*/ 2441576 w 2441576"/>
                <a:gd name="connsiteY33" fmla="*/ 539847 h 901154"/>
                <a:gd name="connsiteX34" fmla="*/ 2441576 w 2441576"/>
                <a:gd name="connsiteY34" fmla="*/ 608455 h 901154"/>
                <a:gd name="connsiteX35" fmla="*/ 2441576 w 2441576"/>
                <a:gd name="connsiteY35" fmla="*/ 691899 h 901154"/>
                <a:gd name="connsiteX36" fmla="*/ 2441576 w 2441576"/>
                <a:gd name="connsiteY36" fmla="*/ 760507 h 901154"/>
                <a:gd name="connsiteX37" fmla="*/ 2441576 w 2441576"/>
                <a:gd name="connsiteY37" fmla="*/ 832545 h 901154"/>
                <a:gd name="connsiteX38" fmla="*/ 2441576 w 2441576"/>
                <a:gd name="connsiteY38" fmla="*/ 901153 h 901154"/>
                <a:gd name="connsiteX39" fmla="*/ 2321561 w 2441576"/>
                <a:gd name="connsiteY39" fmla="*/ 901153 h 901154"/>
                <a:gd name="connsiteX40" fmla="*/ 2239646 w 2441576"/>
                <a:gd name="connsiteY40" fmla="*/ 901153 h 901154"/>
                <a:gd name="connsiteX41" fmla="*/ 2176781 w 2441576"/>
                <a:gd name="connsiteY41" fmla="*/ 901153 h 901154"/>
                <a:gd name="connsiteX42" fmla="*/ 2109259 w 2441576"/>
                <a:gd name="connsiteY42" fmla="*/ 901153 h 901154"/>
                <a:gd name="connsiteX43" fmla="*/ 2025730 w 2441576"/>
                <a:gd name="connsiteY43" fmla="*/ 901153 h 901154"/>
                <a:gd name="connsiteX44" fmla="*/ 1941949 w 2441576"/>
                <a:gd name="connsiteY44" fmla="*/ 901153 h 901154"/>
                <a:gd name="connsiteX45" fmla="*/ 1824412 w 2441576"/>
                <a:gd name="connsiteY45" fmla="*/ 901153 h 901154"/>
                <a:gd name="connsiteX46" fmla="*/ 1720844 w 2441576"/>
                <a:gd name="connsiteY46" fmla="*/ 901153 h 901154"/>
                <a:gd name="connsiteX47" fmla="*/ 1609632 w 2441576"/>
                <a:gd name="connsiteY47" fmla="*/ 901153 h 901154"/>
                <a:gd name="connsiteX48" fmla="*/ 1539566 w 2441576"/>
                <a:gd name="connsiteY48" fmla="*/ 901153 h 901154"/>
                <a:gd name="connsiteX49" fmla="*/ 1427685 w 2441576"/>
                <a:gd name="connsiteY49" fmla="*/ 901153 h 901154"/>
                <a:gd name="connsiteX50" fmla="*/ 1324785 w 2441576"/>
                <a:gd name="connsiteY50" fmla="*/ 901153 h 901154"/>
                <a:gd name="connsiteX51" fmla="*/ 1254721 w 2441576"/>
                <a:gd name="connsiteY51" fmla="*/ 901153 h 901154"/>
                <a:gd name="connsiteX52" fmla="*/ 1146253 w 2441576"/>
                <a:gd name="connsiteY52" fmla="*/ 901153 h 901154"/>
                <a:gd name="connsiteX53" fmla="*/ 1039939 w 2441576"/>
                <a:gd name="connsiteY53" fmla="*/ 901153 h 901154"/>
                <a:gd name="connsiteX54" fmla="*/ 969874 w 2441576"/>
                <a:gd name="connsiteY54" fmla="*/ 901153 h 901154"/>
                <a:gd name="connsiteX55" fmla="*/ 864820 w 2441576"/>
                <a:gd name="connsiteY55" fmla="*/ 901154 h 901154"/>
                <a:gd name="connsiteX56" fmla="*/ 755093 w 2441576"/>
                <a:gd name="connsiteY56" fmla="*/ 901153 h 901154"/>
                <a:gd name="connsiteX57" fmla="*/ 685028 w 2441576"/>
                <a:gd name="connsiteY57" fmla="*/ 901153 h 901154"/>
                <a:gd name="connsiteX58" fmla="*/ 581332 w 2441576"/>
                <a:gd name="connsiteY58" fmla="*/ 901153 h 901154"/>
                <a:gd name="connsiteX59" fmla="*/ 471351 w 2441576"/>
                <a:gd name="connsiteY59" fmla="*/ 901153 h 901154"/>
                <a:gd name="connsiteX60" fmla="*/ 470246 w 2441576"/>
                <a:gd name="connsiteY60" fmla="*/ 901153 h 901154"/>
                <a:gd name="connsiteX61" fmla="*/ 377080 w 2441576"/>
                <a:gd name="connsiteY61" fmla="*/ 901153 h 901154"/>
                <a:gd name="connsiteX62" fmla="*/ 282811 w 2441576"/>
                <a:gd name="connsiteY62" fmla="*/ 901153 h 901154"/>
                <a:gd name="connsiteX63" fmla="*/ 188541 w 2441576"/>
                <a:gd name="connsiteY63" fmla="*/ 901153 h 901154"/>
                <a:gd name="connsiteX64" fmla="*/ 185400 w 2441576"/>
                <a:gd name="connsiteY64" fmla="*/ 901153 h 901154"/>
                <a:gd name="connsiteX65" fmla="*/ 94270 w 2441576"/>
                <a:gd name="connsiteY65" fmla="*/ 901153 h 901154"/>
                <a:gd name="connsiteX66" fmla="*/ 0 w 2441576"/>
                <a:gd name="connsiteY66" fmla="*/ 901153 h 901154"/>
                <a:gd name="connsiteX67" fmla="*/ 0 w 2441576"/>
                <a:gd name="connsiteY67" fmla="*/ 832545 h 901154"/>
                <a:gd name="connsiteX68" fmla="*/ 0 w 2441576"/>
                <a:gd name="connsiteY68" fmla="*/ 760507 h 901154"/>
                <a:gd name="connsiteX69" fmla="*/ 0 w 2441576"/>
                <a:gd name="connsiteY69" fmla="*/ 691899 h 901154"/>
                <a:gd name="connsiteX70" fmla="*/ 0 w 2441576"/>
                <a:gd name="connsiteY70" fmla="*/ 608455 h 901154"/>
                <a:gd name="connsiteX71" fmla="*/ 0 w 2441576"/>
                <a:gd name="connsiteY71" fmla="*/ 539847 h 901154"/>
                <a:gd name="connsiteX72" fmla="*/ 0 w 2441576"/>
                <a:gd name="connsiteY72" fmla="*/ 456403 h 901154"/>
                <a:gd name="connsiteX73" fmla="*/ 0 w 2441576"/>
                <a:gd name="connsiteY73" fmla="*/ 387795 h 901154"/>
                <a:gd name="connsiteX74" fmla="*/ 0 w 2441576"/>
                <a:gd name="connsiteY74" fmla="*/ 304351 h 901154"/>
                <a:gd name="connsiteX75" fmla="*/ 0 w 2441576"/>
                <a:gd name="connsiteY75" fmla="*/ 235743 h 901154"/>
                <a:gd name="connsiteX76" fmla="*/ 0 w 2441576"/>
                <a:gd name="connsiteY76" fmla="*/ 152299 h 901154"/>
                <a:gd name="connsiteX77" fmla="*/ 0 w 2441576"/>
                <a:gd name="connsiteY77" fmla="*/ 83691 h 901154"/>
                <a:gd name="connsiteX78" fmla="*/ 0 w 2441576"/>
                <a:gd name="connsiteY78" fmla="*/ 247 h 901154"/>
                <a:gd name="connsiteX0" fmla="*/ 0 w 2441576"/>
                <a:gd name="connsiteY0" fmla="*/ 247 h 901154"/>
                <a:gd name="connsiteX1" fmla="*/ 94270 w 2441576"/>
                <a:gd name="connsiteY1" fmla="*/ 247 h 901154"/>
                <a:gd name="connsiteX2" fmla="*/ 185400 w 2441576"/>
                <a:gd name="connsiteY2" fmla="*/ 247 h 901154"/>
                <a:gd name="connsiteX3" fmla="*/ 282811 w 2441576"/>
                <a:gd name="connsiteY3" fmla="*/ 247 h 901154"/>
                <a:gd name="connsiteX4" fmla="*/ 377080 w 2441576"/>
                <a:gd name="connsiteY4" fmla="*/ 247 h 901154"/>
                <a:gd name="connsiteX5" fmla="*/ 470246 w 2441576"/>
                <a:gd name="connsiteY5" fmla="*/ 247 h 901154"/>
                <a:gd name="connsiteX6" fmla="*/ 581332 w 2441576"/>
                <a:gd name="connsiteY6" fmla="*/ 247 h 901154"/>
                <a:gd name="connsiteX7" fmla="*/ 685028 w 2441576"/>
                <a:gd name="connsiteY7" fmla="*/ 247 h 901154"/>
                <a:gd name="connsiteX8" fmla="*/ 755093 w 2441576"/>
                <a:gd name="connsiteY8" fmla="*/ 247 h 901154"/>
                <a:gd name="connsiteX9" fmla="*/ 860129 w 2441576"/>
                <a:gd name="connsiteY9" fmla="*/ 1 h 901154"/>
                <a:gd name="connsiteX10" fmla="*/ 969874 w 2441576"/>
                <a:gd name="connsiteY10" fmla="*/ 247 h 901154"/>
                <a:gd name="connsiteX11" fmla="*/ 1039939 w 2441576"/>
                <a:gd name="connsiteY11" fmla="*/ 247 h 901154"/>
                <a:gd name="connsiteX12" fmla="*/ 1146839 w 2441576"/>
                <a:gd name="connsiteY12" fmla="*/ 1 h 901154"/>
                <a:gd name="connsiteX13" fmla="*/ 1254721 w 2441576"/>
                <a:gd name="connsiteY13" fmla="*/ 247 h 901154"/>
                <a:gd name="connsiteX14" fmla="*/ 1324785 w 2441576"/>
                <a:gd name="connsiteY14" fmla="*/ 247 h 901154"/>
                <a:gd name="connsiteX15" fmla="*/ 1430031 w 2441576"/>
                <a:gd name="connsiteY15" fmla="*/ 0 h 901154"/>
                <a:gd name="connsiteX16" fmla="*/ 1539566 w 2441576"/>
                <a:gd name="connsiteY16" fmla="*/ 247 h 901154"/>
                <a:gd name="connsiteX17" fmla="*/ 1609632 w 2441576"/>
                <a:gd name="connsiteY17" fmla="*/ 247 h 901154"/>
                <a:gd name="connsiteX18" fmla="*/ 1707946 w 2441576"/>
                <a:gd name="connsiteY18" fmla="*/ 1 h 901154"/>
                <a:gd name="connsiteX19" fmla="*/ 1824412 w 2441576"/>
                <a:gd name="connsiteY19" fmla="*/ 247 h 901154"/>
                <a:gd name="connsiteX20" fmla="*/ 1941949 w 2441576"/>
                <a:gd name="connsiteY20" fmla="*/ 247 h 901154"/>
                <a:gd name="connsiteX21" fmla="*/ 2094866 w 2441576"/>
                <a:gd name="connsiteY21" fmla="*/ 247 h 901154"/>
                <a:gd name="connsiteX22" fmla="*/ 2176781 w 2441576"/>
                <a:gd name="connsiteY22" fmla="*/ 247 h 901154"/>
                <a:gd name="connsiteX23" fmla="*/ 2258696 w 2441576"/>
                <a:gd name="connsiteY23" fmla="*/ 247 h 901154"/>
                <a:gd name="connsiteX24" fmla="*/ 2321561 w 2441576"/>
                <a:gd name="connsiteY24" fmla="*/ 247 h 901154"/>
                <a:gd name="connsiteX25" fmla="*/ 2441576 w 2441576"/>
                <a:gd name="connsiteY25" fmla="*/ 247 h 901154"/>
                <a:gd name="connsiteX26" fmla="*/ 2441576 w 2441576"/>
                <a:gd name="connsiteY26" fmla="*/ 83691 h 901154"/>
                <a:gd name="connsiteX27" fmla="*/ 2441576 w 2441576"/>
                <a:gd name="connsiteY27" fmla="*/ 152299 h 901154"/>
                <a:gd name="connsiteX28" fmla="*/ 2441576 w 2441576"/>
                <a:gd name="connsiteY28" fmla="*/ 235743 h 901154"/>
                <a:gd name="connsiteX29" fmla="*/ 2441576 w 2441576"/>
                <a:gd name="connsiteY29" fmla="*/ 304351 h 901154"/>
                <a:gd name="connsiteX30" fmla="*/ 2441576 w 2441576"/>
                <a:gd name="connsiteY30" fmla="*/ 387795 h 901154"/>
                <a:gd name="connsiteX31" fmla="*/ 2441576 w 2441576"/>
                <a:gd name="connsiteY31" fmla="*/ 456403 h 901154"/>
                <a:gd name="connsiteX32" fmla="*/ 2441576 w 2441576"/>
                <a:gd name="connsiteY32" fmla="*/ 539847 h 901154"/>
                <a:gd name="connsiteX33" fmla="*/ 2441576 w 2441576"/>
                <a:gd name="connsiteY33" fmla="*/ 608455 h 901154"/>
                <a:gd name="connsiteX34" fmla="*/ 2441576 w 2441576"/>
                <a:gd name="connsiteY34" fmla="*/ 691899 h 901154"/>
                <a:gd name="connsiteX35" fmla="*/ 2441576 w 2441576"/>
                <a:gd name="connsiteY35" fmla="*/ 760507 h 901154"/>
                <a:gd name="connsiteX36" fmla="*/ 2441576 w 2441576"/>
                <a:gd name="connsiteY36" fmla="*/ 832545 h 901154"/>
                <a:gd name="connsiteX37" fmla="*/ 2441576 w 2441576"/>
                <a:gd name="connsiteY37" fmla="*/ 901153 h 901154"/>
                <a:gd name="connsiteX38" fmla="*/ 2321561 w 2441576"/>
                <a:gd name="connsiteY38" fmla="*/ 901153 h 901154"/>
                <a:gd name="connsiteX39" fmla="*/ 2239646 w 2441576"/>
                <a:gd name="connsiteY39" fmla="*/ 901153 h 901154"/>
                <a:gd name="connsiteX40" fmla="*/ 2176781 w 2441576"/>
                <a:gd name="connsiteY40" fmla="*/ 901153 h 901154"/>
                <a:gd name="connsiteX41" fmla="*/ 2109259 w 2441576"/>
                <a:gd name="connsiteY41" fmla="*/ 901153 h 901154"/>
                <a:gd name="connsiteX42" fmla="*/ 2025730 w 2441576"/>
                <a:gd name="connsiteY42" fmla="*/ 901153 h 901154"/>
                <a:gd name="connsiteX43" fmla="*/ 1941949 w 2441576"/>
                <a:gd name="connsiteY43" fmla="*/ 901153 h 901154"/>
                <a:gd name="connsiteX44" fmla="*/ 1824412 w 2441576"/>
                <a:gd name="connsiteY44" fmla="*/ 901153 h 901154"/>
                <a:gd name="connsiteX45" fmla="*/ 1720844 w 2441576"/>
                <a:gd name="connsiteY45" fmla="*/ 901153 h 901154"/>
                <a:gd name="connsiteX46" fmla="*/ 1609632 w 2441576"/>
                <a:gd name="connsiteY46" fmla="*/ 901153 h 901154"/>
                <a:gd name="connsiteX47" fmla="*/ 1539566 w 2441576"/>
                <a:gd name="connsiteY47" fmla="*/ 901153 h 901154"/>
                <a:gd name="connsiteX48" fmla="*/ 1427685 w 2441576"/>
                <a:gd name="connsiteY48" fmla="*/ 901153 h 901154"/>
                <a:gd name="connsiteX49" fmla="*/ 1324785 w 2441576"/>
                <a:gd name="connsiteY49" fmla="*/ 901153 h 901154"/>
                <a:gd name="connsiteX50" fmla="*/ 1254721 w 2441576"/>
                <a:gd name="connsiteY50" fmla="*/ 901153 h 901154"/>
                <a:gd name="connsiteX51" fmla="*/ 1146253 w 2441576"/>
                <a:gd name="connsiteY51" fmla="*/ 901153 h 901154"/>
                <a:gd name="connsiteX52" fmla="*/ 1039939 w 2441576"/>
                <a:gd name="connsiteY52" fmla="*/ 901153 h 901154"/>
                <a:gd name="connsiteX53" fmla="*/ 969874 w 2441576"/>
                <a:gd name="connsiteY53" fmla="*/ 901153 h 901154"/>
                <a:gd name="connsiteX54" fmla="*/ 864820 w 2441576"/>
                <a:gd name="connsiteY54" fmla="*/ 901154 h 901154"/>
                <a:gd name="connsiteX55" fmla="*/ 755093 w 2441576"/>
                <a:gd name="connsiteY55" fmla="*/ 901153 h 901154"/>
                <a:gd name="connsiteX56" fmla="*/ 685028 w 2441576"/>
                <a:gd name="connsiteY56" fmla="*/ 901153 h 901154"/>
                <a:gd name="connsiteX57" fmla="*/ 581332 w 2441576"/>
                <a:gd name="connsiteY57" fmla="*/ 901153 h 901154"/>
                <a:gd name="connsiteX58" fmla="*/ 471351 w 2441576"/>
                <a:gd name="connsiteY58" fmla="*/ 901153 h 901154"/>
                <a:gd name="connsiteX59" fmla="*/ 470246 w 2441576"/>
                <a:gd name="connsiteY59" fmla="*/ 901153 h 901154"/>
                <a:gd name="connsiteX60" fmla="*/ 377080 w 2441576"/>
                <a:gd name="connsiteY60" fmla="*/ 901153 h 901154"/>
                <a:gd name="connsiteX61" fmla="*/ 282811 w 2441576"/>
                <a:gd name="connsiteY61" fmla="*/ 901153 h 901154"/>
                <a:gd name="connsiteX62" fmla="*/ 188541 w 2441576"/>
                <a:gd name="connsiteY62" fmla="*/ 901153 h 901154"/>
                <a:gd name="connsiteX63" fmla="*/ 185400 w 2441576"/>
                <a:gd name="connsiteY63" fmla="*/ 901153 h 901154"/>
                <a:gd name="connsiteX64" fmla="*/ 94270 w 2441576"/>
                <a:gd name="connsiteY64" fmla="*/ 901153 h 901154"/>
                <a:gd name="connsiteX65" fmla="*/ 0 w 2441576"/>
                <a:gd name="connsiteY65" fmla="*/ 901153 h 901154"/>
                <a:gd name="connsiteX66" fmla="*/ 0 w 2441576"/>
                <a:gd name="connsiteY66" fmla="*/ 832545 h 901154"/>
                <a:gd name="connsiteX67" fmla="*/ 0 w 2441576"/>
                <a:gd name="connsiteY67" fmla="*/ 760507 h 901154"/>
                <a:gd name="connsiteX68" fmla="*/ 0 w 2441576"/>
                <a:gd name="connsiteY68" fmla="*/ 691899 h 901154"/>
                <a:gd name="connsiteX69" fmla="*/ 0 w 2441576"/>
                <a:gd name="connsiteY69" fmla="*/ 608455 h 901154"/>
                <a:gd name="connsiteX70" fmla="*/ 0 w 2441576"/>
                <a:gd name="connsiteY70" fmla="*/ 539847 h 901154"/>
                <a:gd name="connsiteX71" fmla="*/ 0 w 2441576"/>
                <a:gd name="connsiteY71" fmla="*/ 456403 h 901154"/>
                <a:gd name="connsiteX72" fmla="*/ 0 w 2441576"/>
                <a:gd name="connsiteY72" fmla="*/ 387795 h 901154"/>
                <a:gd name="connsiteX73" fmla="*/ 0 w 2441576"/>
                <a:gd name="connsiteY73" fmla="*/ 304351 h 901154"/>
                <a:gd name="connsiteX74" fmla="*/ 0 w 2441576"/>
                <a:gd name="connsiteY74" fmla="*/ 235743 h 901154"/>
                <a:gd name="connsiteX75" fmla="*/ 0 w 2441576"/>
                <a:gd name="connsiteY75" fmla="*/ 152299 h 901154"/>
                <a:gd name="connsiteX76" fmla="*/ 0 w 2441576"/>
                <a:gd name="connsiteY76" fmla="*/ 83691 h 901154"/>
                <a:gd name="connsiteX77" fmla="*/ 0 w 2441576"/>
                <a:gd name="connsiteY77" fmla="*/ 247 h 901154"/>
                <a:gd name="connsiteX0" fmla="*/ 0 w 2441576"/>
                <a:gd name="connsiteY0" fmla="*/ 247 h 901154"/>
                <a:gd name="connsiteX1" fmla="*/ 94270 w 2441576"/>
                <a:gd name="connsiteY1" fmla="*/ 247 h 901154"/>
                <a:gd name="connsiteX2" fmla="*/ 185400 w 2441576"/>
                <a:gd name="connsiteY2" fmla="*/ 247 h 901154"/>
                <a:gd name="connsiteX3" fmla="*/ 282811 w 2441576"/>
                <a:gd name="connsiteY3" fmla="*/ 247 h 901154"/>
                <a:gd name="connsiteX4" fmla="*/ 377080 w 2441576"/>
                <a:gd name="connsiteY4" fmla="*/ 247 h 901154"/>
                <a:gd name="connsiteX5" fmla="*/ 470246 w 2441576"/>
                <a:gd name="connsiteY5" fmla="*/ 247 h 901154"/>
                <a:gd name="connsiteX6" fmla="*/ 581332 w 2441576"/>
                <a:gd name="connsiteY6" fmla="*/ 247 h 901154"/>
                <a:gd name="connsiteX7" fmla="*/ 685028 w 2441576"/>
                <a:gd name="connsiteY7" fmla="*/ 247 h 901154"/>
                <a:gd name="connsiteX8" fmla="*/ 755093 w 2441576"/>
                <a:gd name="connsiteY8" fmla="*/ 247 h 901154"/>
                <a:gd name="connsiteX9" fmla="*/ 860129 w 2441576"/>
                <a:gd name="connsiteY9" fmla="*/ 1 h 901154"/>
                <a:gd name="connsiteX10" fmla="*/ 969874 w 2441576"/>
                <a:gd name="connsiteY10" fmla="*/ 247 h 901154"/>
                <a:gd name="connsiteX11" fmla="*/ 1039939 w 2441576"/>
                <a:gd name="connsiteY11" fmla="*/ 247 h 901154"/>
                <a:gd name="connsiteX12" fmla="*/ 1146839 w 2441576"/>
                <a:gd name="connsiteY12" fmla="*/ 1 h 901154"/>
                <a:gd name="connsiteX13" fmla="*/ 1254721 w 2441576"/>
                <a:gd name="connsiteY13" fmla="*/ 247 h 901154"/>
                <a:gd name="connsiteX14" fmla="*/ 1324785 w 2441576"/>
                <a:gd name="connsiteY14" fmla="*/ 247 h 901154"/>
                <a:gd name="connsiteX15" fmla="*/ 1430031 w 2441576"/>
                <a:gd name="connsiteY15" fmla="*/ 0 h 901154"/>
                <a:gd name="connsiteX16" fmla="*/ 1539566 w 2441576"/>
                <a:gd name="connsiteY16" fmla="*/ 247 h 901154"/>
                <a:gd name="connsiteX17" fmla="*/ 1609632 w 2441576"/>
                <a:gd name="connsiteY17" fmla="*/ 247 h 901154"/>
                <a:gd name="connsiteX18" fmla="*/ 1707946 w 2441576"/>
                <a:gd name="connsiteY18" fmla="*/ 1 h 901154"/>
                <a:gd name="connsiteX19" fmla="*/ 1824412 w 2441576"/>
                <a:gd name="connsiteY19" fmla="*/ 247 h 901154"/>
                <a:gd name="connsiteX20" fmla="*/ 1941949 w 2441576"/>
                <a:gd name="connsiteY20" fmla="*/ 247 h 901154"/>
                <a:gd name="connsiteX21" fmla="*/ 2094866 w 2441576"/>
                <a:gd name="connsiteY21" fmla="*/ 247 h 901154"/>
                <a:gd name="connsiteX22" fmla="*/ 2176781 w 2441576"/>
                <a:gd name="connsiteY22" fmla="*/ 247 h 901154"/>
                <a:gd name="connsiteX23" fmla="*/ 2258696 w 2441576"/>
                <a:gd name="connsiteY23" fmla="*/ 247 h 901154"/>
                <a:gd name="connsiteX24" fmla="*/ 2321561 w 2441576"/>
                <a:gd name="connsiteY24" fmla="*/ 247 h 901154"/>
                <a:gd name="connsiteX25" fmla="*/ 2441576 w 2441576"/>
                <a:gd name="connsiteY25" fmla="*/ 247 h 901154"/>
                <a:gd name="connsiteX26" fmla="*/ 2441576 w 2441576"/>
                <a:gd name="connsiteY26" fmla="*/ 83691 h 901154"/>
                <a:gd name="connsiteX27" fmla="*/ 2441576 w 2441576"/>
                <a:gd name="connsiteY27" fmla="*/ 152299 h 901154"/>
                <a:gd name="connsiteX28" fmla="*/ 2441576 w 2441576"/>
                <a:gd name="connsiteY28" fmla="*/ 235743 h 901154"/>
                <a:gd name="connsiteX29" fmla="*/ 2441576 w 2441576"/>
                <a:gd name="connsiteY29" fmla="*/ 304351 h 901154"/>
                <a:gd name="connsiteX30" fmla="*/ 2441576 w 2441576"/>
                <a:gd name="connsiteY30" fmla="*/ 387795 h 901154"/>
                <a:gd name="connsiteX31" fmla="*/ 2441576 w 2441576"/>
                <a:gd name="connsiteY31" fmla="*/ 456403 h 901154"/>
                <a:gd name="connsiteX32" fmla="*/ 2441576 w 2441576"/>
                <a:gd name="connsiteY32" fmla="*/ 539847 h 901154"/>
                <a:gd name="connsiteX33" fmla="*/ 2441576 w 2441576"/>
                <a:gd name="connsiteY33" fmla="*/ 608455 h 901154"/>
                <a:gd name="connsiteX34" fmla="*/ 2441576 w 2441576"/>
                <a:gd name="connsiteY34" fmla="*/ 691899 h 901154"/>
                <a:gd name="connsiteX35" fmla="*/ 2441576 w 2441576"/>
                <a:gd name="connsiteY35" fmla="*/ 760507 h 901154"/>
                <a:gd name="connsiteX36" fmla="*/ 2441576 w 2441576"/>
                <a:gd name="connsiteY36" fmla="*/ 832545 h 901154"/>
                <a:gd name="connsiteX37" fmla="*/ 2441576 w 2441576"/>
                <a:gd name="connsiteY37" fmla="*/ 901153 h 901154"/>
                <a:gd name="connsiteX38" fmla="*/ 2321561 w 2441576"/>
                <a:gd name="connsiteY38" fmla="*/ 901153 h 901154"/>
                <a:gd name="connsiteX39" fmla="*/ 2239646 w 2441576"/>
                <a:gd name="connsiteY39" fmla="*/ 901153 h 901154"/>
                <a:gd name="connsiteX40" fmla="*/ 2176781 w 2441576"/>
                <a:gd name="connsiteY40" fmla="*/ 901153 h 901154"/>
                <a:gd name="connsiteX41" fmla="*/ 2109259 w 2441576"/>
                <a:gd name="connsiteY41" fmla="*/ 901153 h 901154"/>
                <a:gd name="connsiteX42" fmla="*/ 2025730 w 2441576"/>
                <a:gd name="connsiteY42" fmla="*/ 901153 h 901154"/>
                <a:gd name="connsiteX43" fmla="*/ 1941949 w 2441576"/>
                <a:gd name="connsiteY43" fmla="*/ 901153 h 901154"/>
                <a:gd name="connsiteX44" fmla="*/ 1824412 w 2441576"/>
                <a:gd name="connsiteY44" fmla="*/ 901153 h 901154"/>
                <a:gd name="connsiteX45" fmla="*/ 1720844 w 2441576"/>
                <a:gd name="connsiteY45" fmla="*/ 901153 h 901154"/>
                <a:gd name="connsiteX46" fmla="*/ 1609632 w 2441576"/>
                <a:gd name="connsiteY46" fmla="*/ 901153 h 901154"/>
                <a:gd name="connsiteX47" fmla="*/ 1539566 w 2441576"/>
                <a:gd name="connsiteY47" fmla="*/ 901153 h 901154"/>
                <a:gd name="connsiteX48" fmla="*/ 1427685 w 2441576"/>
                <a:gd name="connsiteY48" fmla="*/ 901153 h 901154"/>
                <a:gd name="connsiteX49" fmla="*/ 1324785 w 2441576"/>
                <a:gd name="connsiteY49" fmla="*/ 901153 h 901154"/>
                <a:gd name="connsiteX50" fmla="*/ 1254721 w 2441576"/>
                <a:gd name="connsiteY50" fmla="*/ 901153 h 901154"/>
                <a:gd name="connsiteX51" fmla="*/ 1146253 w 2441576"/>
                <a:gd name="connsiteY51" fmla="*/ 901153 h 901154"/>
                <a:gd name="connsiteX52" fmla="*/ 1039939 w 2441576"/>
                <a:gd name="connsiteY52" fmla="*/ 901153 h 901154"/>
                <a:gd name="connsiteX53" fmla="*/ 969874 w 2441576"/>
                <a:gd name="connsiteY53" fmla="*/ 901153 h 901154"/>
                <a:gd name="connsiteX54" fmla="*/ 864820 w 2441576"/>
                <a:gd name="connsiteY54" fmla="*/ 901154 h 901154"/>
                <a:gd name="connsiteX55" fmla="*/ 755093 w 2441576"/>
                <a:gd name="connsiteY55" fmla="*/ 901153 h 901154"/>
                <a:gd name="connsiteX56" fmla="*/ 685028 w 2441576"/>
                <a:gd name="connsiteY56" fmla="*/ 901153 h 901154"/>
                <a:gd name="connsiteX57" fmla="*/ 581332 w 2441576"/>
                <a:gd name="connsiteY57" fmla="*/ 901153 h 901154"/>
                <a:gd name="connsiteX58" fmla="*/ 471351 w 2441576"/>
                <a:gd name="connsiteY58" fmla="*/ 901153 h 901154"/>
                <a:gd name="connsiteX59" fmla="*/ 470246 w 2441576"/>
                <a:gd name="connsiteY59" fmla="*/ 901153 h 901154"/>
                <a:gd name="connsiteX60" fmla="*/ 377080 w 2441576"/>
                <a:gd name="connsiteY60" fmla="*/ 901153 h 901154"/>
                <a:gd name="connsiteX61" fmla="*/ 282811 w 2441576"/>
                <a:gd name="connsiteY61" fmla="*/ 901153 h 901154"/>
                <a:gd name="connsiteX62" fmla="*/ 185400 w 2441576"/>
                <a:gd name="connsiteY62" fmla="*/ 901153 h 901154"/>
                <a:gd name="connsiteX63" fmla="*/ 94270 w 2441576"/>
                <a:gd name="connsiteY63" fmla="*/ 901153 h 901154"/>
                <a:gd name="connsiteX64" fmla="*/ 0 w 2441576"/>
                <a:gd name="connsiteY64" fmla="*/ 901153 h 901154"/>
                <a:gd name="connsiteX65" fmla="*/ 0 w 2441576"/>
                <a:gd name="connsiteY65" fmla="*/ 832545 h 901154"/>
                <a:gd name="connsiteX66" fmla="*/ 0 w 2441576"/>
                <a:gd name="connsiteY66" fmla="*/ 760507 h 901154"/>
                <a:gd name="connsiteX67" fmla="*/ 0 w 2441576"/>
                <a:gd name="connsiteY67" fmla="*/ 691899 h 901154"/>
                <a:gd name="connsiteX68" fmla="*/ 0 w 2441576"/>
                <a:gd name="connsiteY68" fmla="*/ 608455 h 901154"/>
                <a:gd name="connsiteX69" fmla="*/ 0 w 2441576"/>
                <a:gd name="connsiteY69" fmla="*/ 539847 h 901154"/>
                <a:gd name="connsiteX70" fmla="*/ 0 w 2441576"/>
                <a:gd name="connsiteY70" fmla="*/ 456403 h 901154"/>
                <a:gd name="connsiteX71" fmla="*/ 0 w 2441576"/>
                <a:gd name="connsiteY71" fmla="*/ 387795 h 901154"/>
                <a:gd name="connsiteX72" fmla="*/ 0 w 2441576"/>
                <a:gd name="connsiteY72" fmla="*/ 304351 h 901154"/>
                <a:gd name="connsiteX73" fmla="*/ 0 w 2441576"/>
                <a:gd name="connsiteY73" fmla="*/ 235743 h 901154"/>
                <a:gd name="connsiteX74" fmla="*/ 0 w 2441576"/>
                <a:gd name="connsiteY74" fmla="*/ 152299 h 901154"/>
                <a:gd name="connsiteX75" fmla="*/ 0 w 2441576"/>
                <a:gd name="connsiteY75" fmla="*/ 83691 h 901154"/>
                <a:gd name="connsiteX76" fmla="*/ 0 w 2441576"/>
                <a:gd name="connsiteY76" fmla="*/ 247 h 901154"/>
                <a:gd name="connsiteX0" fmla="*/ 0 w 2441576"/>
                <a:gd name="connsiteY0" fmla="*/ 247 h 1193517"/>
                <a:gd name="connsiteX1" fmla="*/ 94270 w 2441576"/>
                <a:gd name="connsiteY1" fmla="*/ 247 h 1193517"/>
                <a:gd name="connsiteX2" fmla="*/ 185400 w 2441576"/>
                <a:gd name="connsiteY2" fmla="*/ 247 h 1193517"/>
                <a:gd name="connsiteX3" fmla="*/ 282811 w 2441576"/>
                <a:gd name="connsiteY3" fmla="*/ 247 h 1193517"/>
                <a:gd name="connsiteX4" fmla="*/ 377080 w 2441576"/>
                <a:gd name="connsiteY4" fmla="*/ 247 h 1193517"/>
                <a:gd name="connsiteX5" fmla="*/ 470246 w 2441576"/>
                <a:gd name="connsiteY5" fmla="*/ 247 h 1193517"/>
                <a:gd name="connsiteX6" fmla="*/ 581332 w 2441576"/>
                <a:gd name="connsiteY6" fmla="*/ 247 h 1193517"/>
                <a:gd name="connsiteX7" fmla="*/ 685028 w 2441576"/>
                <a:gd name="connsiteY7" fmla="*/ 247 h 1193517"/>
                <a:gd name="connsiteX8" fmla="*/ 755093 w 2441576"/>
                <a:gd name="connsiteY8" fmla="*/ 247 h 1193517"/>
                <a:gd name="connsiteX9" fmla="*/ 860129 w 2441576"/>
                <a:gd name="connsiteY9" fmla="*/ 1 h 1193517"/>
                <a:gd name="connsiteX10" fmla="*/ 969874 w 2441576"/>
                <a:gd name="connsiteY10" fmla="*/ 247 h 1193517"/>
                <a:gd name="connsiteX11" fmla="*/ 1039939 w 2441576"/>
                <a:gd name="connsiteY11" fmla="*/ 247 h 1193517"/>
                <a:gd name="connsiteX12" fmla="*/ 1146839 w 2441576"/>
                <a:gd name="connsiteY12" fmla="*/ 1 h 1193517"/>
                <a:gd name="connsiteX13" fmla="*/ 1254721 w 2441576"/>
                <a:gd name="connsiteY13" fmla="*/ 247 h 1193517"/>
                <a:gd name="connsiteX14" fmla="*/ 1324785 w 2441576"/>
                <a:gd name="connsiteY14" fmla="*/ 247 h 1193517"/>
                <a:gd name="connsiteX15" fmla="*/ 1430031 w 2441576"/>
                <a:gd name="connsiteY15" fmla="*/ 0 h 1193517"/>
                <a:gd name="connsiteX16" fmla="*/ 1539566 w 2441576"/>
                <a:gd name="connsiteY16" fmla="*/ 247 h 1193517"/>
                <a:gd name="connsiteX17" fmla="*/ 1609632 w 2441576"/>
                <a:gd name="connsiteY17" fmla="*/ 247 h 1193517"/>
                <a:gd name="connsiteX18" fmla="*/ 1707946 w 2441576"/>
                <a:gd name="connsiteY18" fmla="*/ 1 h 1193517"/>
                <a:gd name="connsiteX19" fmla="*/ 1824412 w 2441576"/>
                <a:gd name="connsiteY19" fmla="*/ 247 h 1193517"/>
                <a:gd name="connsiteX20" fmla="*/ 1941949 w 2441576"/>
                <a:gd name="connsiteY20" fmla="*/ 247 h 1193517"/>
                <a:gd name="connsiteX21" fmla="*/ 2094866 w 2441576"/>
                <a:gd name="connsiteY21" fmla="*/ 247 h 1193517"/>
                <a:gd name="connsiteX22" fmla="*/ 2176781 w 2441576"/>
                <a:gd name="connsiteY22" fmla="*/ 247 h 1193517"/>
                <a:gd name="connsiteX23" fmla="*/ 2258696 w 2441576"/>
                <a:gd name="connsiteY23" fmla="*/ 247 h 1193517"/>
                <a:gd name="connsiteX24" fmla="*/ 2321561 w 2441576"/>
                <a:gd name="connsiteY24" fmla="*/ 247 h 1193517"/>
                <a:gd name="connsiteX25" fmla="*/ 2441576 w 2441576"/>
                <a:gd name="connsiteY25" fmla="*/ 247 h 1193517"/>
                <a:gd name="connsiteX26" fmla="*/ 2441576 w 2441576"/>
                <a:gd name="connsiteY26" fmla="*/ 83691 h 1193517"/>
                <a:gd name="connsiteX27" fmla="*/ 2441576 w 2441576"/>
                <a:gd name="connsiteY27" fmla="*/ 152299 h 1193517"/>
                <a:gd name="connsiteX28" fmla="*/ 2441576 w 2441576"/>
                <a:gd name="connsiteY28" fmla="*/ 235743 h 1193517"/>
                <a:gd name="connsiteX29" fmla="*/ 2441576 w 2441576"/>
                <a:gd name="connsiteY29" fmla="*/ 304351 h 1193517"/>
                <a:gd name="connsiteX30" fmla="*/ 2441576 w 2441576"/>
                <a:gd name="connsiteY30" fmla="*/ 387795 h 1193517"/>
                <a:gd name="connsiteX31" fmla="*/ 2441576 w 2441576"/>
                <a:gd name="connsiteY31" fmla="*/ 456403 h 1193517"/>
                <a:gd name="connsiteX32" fmla="*/ 2441576 w 2441576"/>
                <a:gd name="connsiteY32" fmla="*/ 539847 h 1193517"/>
                <a:gd name="connsiteX33" fmla="*/ 2441576 w 2441576"/>
                <a:gd name="connsiteY33" fmla="*/ 608455 h 1193517"/>
                <a:gd name="connsiteX34" fmla="*/ 2441576 w 2441576"/>
                <a:gd name="connsiteY34" fmla="*/ 691899 h 1193517"/>
                <a:gd name="connsiteX35" fmla="*/ 2441576 w 2441576"/>
                <a:gd name="connsiteY35" fmla="*/ 760507 h 1193517"/>
                <a:gd name="connsiteX36" fmla="*/ 2441576 w 2441576"/>
                <a:gd name="connsiteY36" fmla="*/ 832545 h 1193517"/>
                <a:gd name="connsiteX37" fmla="*/ 2441576 w 2441576"/>
                <a:gd name="connsiteY37" fmla="*/ 901153 h 1193517"/>
                <a:gd name="connsiteX38" fmla="*/ 2321561 w 2441576"/>
                <a:gd name="connsiteY38" fmla="*/ 901153 h 1193517"/>
                <a:gd name="connsiteX39" fmla="*/ 2239646 w 2441576"/>
                <a:gd name="connsiteY39" fmla="*/ 901153 h 1193517"/>
                <a:gd name="connsiteX40" fmla="*/ 2176781 w 2441576"/>
                <a:gd name="connsiteY40" fmla="*/ 901153 h 1193517"/>
                <a:gd name="connsiteX41" fmla="*/ 2109259 w 2441576"/>
                <a:gd name="connsiteY41" fmla="*/ 901153 h 1193517"/>
                <a:gd name="connsiteX42" fmla="*/ 2025730 w 2441576"/>
                <a:gd name="connsiteY42" fmla="*/ 901153 h 1193517"/>
                <a:gd name="connsiteX43" fmla="*/ 1941949 w 2441576"/>
                <a:gd name="connsiteY43" fmla="*/ 901153 h 1193517"/>
                <a:gd name="connsiteX44" fmla="*/ 1824412 w 2441576"/>
                <a:gd name="connsiteY44" fmla="*/ 901153 h 1193517"/>
                <a:gd name="connsiteX45" fmla="*/ 1720844 w 2441576"/>
                <a:gd name="connsiteY45" fmla="*/ 901153 h 1193517"/>
                <a:gd name="connsiteX46" fmla="*/ 1829119 w 2441576"/>
                <a:gd name="connsiteY46" fmla="*/ 1193517 h 1193517"/>
                <a:gd name="connsiteX47" fmla="*/ 1539566 w 2441576"/>
                <a:gd name="connsiteY47" fmla="*/ 901153 h 1193517"/>
                <a:gd name="connsiteX48" fmla="*/ 1427685 w 2441576"/>
                <a:gd name="connsiteY48" fmla="*/ 901153 h 1193517"/>
                <a:gd name="connsiteX49" fmla="*/ 1324785 w 2441576"/>
                <a:gd name="connsiteY49" fmla="*/ 901153 h 1193517"/>
                <a:gd name="connsiteX50" fmla="*/ 1254721 w 2441576"/>
                <a:gd name="connsiteY50" fmla="*/ 901153 h 1193517"/>
                <a:gd name="connsiteX51" fmla="*/ 1146253 w 2441576"/>
                <a:gd name="connsiteY51" fmla="*/ 901153 h 1193517"/>
                <a:gd name="connsiteX52" fmla="*/ 1039939 w 2441576"/>
                <a:gd name="connsiteY52" fmla="*/ 901153 h 1193517"/>
                <a:gd name="connsiteX53" fmla="*/ 969874 w 2441576"/>
                <a:gd name="connsiteY53" fmla="*/ 901153 h 1193517"/>
                <a:gd name="connsiteX54" fmla="*/ 864820 w 2441576"/>
                <a:gd name="connsiteY54" fmla="*/ 901154 h 1193517"/>
                <a:gd name="connsiteX55" fmla="*/ 755093 w 2441576"/>
                <a:gd name="connsiteY55" fmla="*/ 901153 h 1193517"/>
                <a:gd name="connsiteX56" fmla="*/ 685028 w 2441576"/>
                <a:gd name="connsiteY56" fmla="*/ 901153 h 1193517"/>
                <a:gd name="connsiteX57" fmla="*/ 581332 w 2441576"/>
                <a:gd name="connsiteY57" fmla="*/ 901153 h 1193517"/>
                <a:gd name="connsiteX58" fmla="*/ 471351 w 2441576"/>
                <a:gd name="connsiteY58" fmla="*/ 901153 h 1193517"/>
                <a:gd name="connsiteX59" fmla="*/ 470246 w 2441576"/>
                <a:gd name="connsiteY59" fmla="*/ 901153 h 1193517"/>
                <a:gd name="connsiteX60" fmla="*/ 377080 w 2441576"/>
                <a:gd name="connsiteY60" fmla="*/ 901153 h 1193517"/>
                <a:gd name="connsiteX61" fmla="*/ 282811 w 2441576"/>
                <a:gd name="connsiteY61" fmla="*/ 901153 h 1193517"/>
                <a:gd name="connsiteX62" fmla="*/ 185400 w 2441576"/>
                <a:gd name="connsiteY62" fmla="*/ 901153 h 1193517"/>
                <a:gd name="connsiteX63" fmla="*/ 94270 w 2441576"/>
                <a:gd name="connsiteY63" fmla="*/ 901153 h 1193517"/>
                <a:gd name="connsiteX64" fmla="*/ 0 w 2441576"/>
                <a:gd name="connsiteY64" fmla="*/ 901153 h 1193517"/>
                <a:gd name="connsiteX65" fmla="*/ 0 w 2441576"/>
                <a:gd name="connsiteY65" fmla="*/ 832545 h 1193517"/>
                <a:gd name="connsiteX66" fmla="*/ 0 w 2441576"/>
                <a:gd name="connsiteY66" fmla="*/ 760507 h 1193517"/>
                <a:gd name="connsiteX67" fmla="*/ 0 w 2441576"/>
                <a:gd name="connsiteY67" fmla="*/ 691899 h 1193517"/>
                <a:gd name="connsiteX68" fmla="*/ 0 w 2441576"/>
                <a:gd name="connsiteY68" fmla="*/ 608455 h 1193517"/>
                <a:gd name="connsiteX69" fmla="*/ 0 w 2441576"/>
                <a:gd name="connsiteY69" fmla="*/ 539847 h 1193517"/>
                <a:gd name="connsiteX70" fmla="*/ 0 w 2441576"/>
                <a:gd name="connsiteY70" fmla="*/ 456403 h 1193517"/>
                <a:gd name="connsiteX71" fmla="*/ 0 w 2441576"/>
                <a:gd name="connsiteY71" fmla="*/ 387795 h 1193517"/>
                <a:gd name="connsiteX72" fmla="*/ 0 w 2441576"/>
                <a:gd name="connsiteY72" fmla="*/ 304351 h 1193517"/>
                <a:gd name="connsiteX73" fmla="*/ 0 w 2441576"/>
                <a:gd name="connsiteY73" fmla="*/ 235743 h 1193517"/>
                <a:gd name="connsiteX74" fmla="*/ 0 w 2441576"/>
                <a:gd name="connsiteY74" fmla="*/ 152299 h 1193517"/>
                <a:gd name="connsiteX75" fmla="*/ 0 w 2441576"/>
                <a:gd name="connsiteY75" fmla="*/ 83691 h 1193517"/>
                <a:gd name="connsiteX76" fmla="*/ 0 w 2441576"/>
                <a:gd name="connsiteY76" fmla="*/ 247 h 1193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2441576" h="1193517">
                  <a:moveTo>
                    <a:pt x="0" y="247"/>
                  </a:moveTo>
                  <a:lnTo>
                    <a:pt x="94270" y="247"/>
                  </a:lnTo>
                  <a:lnTo>
                    <a:pt x="185400" y="247"/>
                  </a:lnTo>
                  <a:lnTo>
                    <a:pt x="282811" y="247"/>
                  </a:lnTo>
                  <a:lnTo>
                    <a:pt x="377080" y="247"/>
                  </a:lnTo>
                  <a:lnTo>
                    <a:pt x="470246" y="247"/>
                  </a:lnTo>
                  <a:lnTo>
                    <a:pt x="581332" y="247"/>
                  </a:lnTo>
                  <a:lnTo>
                    <a:pt x="685028" y="247"/>
                  </a:lnTo>
                  <a:lnTo>
                    <a:pt x="755093" y="247"/>
                  </a:lnTo>
                  <a:lnTo>
                    <a:pt x="860129" y="1"/>
                  </a:lnTo>
                  <a:lnTo>
                    <a:pt x="969874" y="247"/>
                  </a:lnTo>
                  <a:lnTo>
                    <a:pt x="1039939" y="247"/>
                  </a:lnTo>
                  <a:lnTo>
                    <a:pt x="1146839" y="1"/>
                  </a:lnTo>
                  <a:lnTo>
                    <a:pt x="1254721" y="247"/>
                  </a:lnTo>
                  <a:lnTo>
                    <a:pt x="1324785" y="247"/>
                  </a:lnTo>
                  <a:lnTo>
                    <a:pt x="1430031" y="0"/>
                  </a:lnTo>
                  <a:lnTo>
                    <a:pt x="1539566" y="247"/>
                  </a:lnTo>
                  <a:lnTo>
                    <a:pt x="1609632" y="247"/>
                  </a:lnTo>
                  <a:lnTo>
                    <a:pt x="1707946" y="1"/>
                  </a:lnTo>
                  <a:lnTo>
                    <a:pt x="1824412" y="247"/>
                  </a:lnTo>
                  <a:lnTo>
                    <a:pt x="1941949" y="247"/>
                  </a:lnTo>
                  <a:lnTo>
                    <a:pt x="2094866" y="247"/>
                  </a:lnTo>
                  <a:lnTo>
                    <a:pt x="2176781" y="247"/>
                  </a:lnTo>
                  <a:lnTo>
                    <a:pt x="2258696" y="247"/>
                  </a:lnTo>
                  <a:lnTo>
                    <a:pt x="2321561" y="247"/>
                  </a:lnTo>
                  <a:lnTo>
                    <a:pt x="2441576" y="247"/>
                  </a:lnTo>
                  <a:lnTo>
                    <a:pt x="2441576" y="83691"/>
                  </a:lnTo>
                  <a:lnTo>
                    <a:pt x="2441576" y="152299"/>
                  </a:lnTo>
                  <a:lnTo>
                    <a:pt x="2441576" y="235743"/>
                  </a:lnTo>
                  <a:lnTo>
                    <a:pt x="2441576" y="304351"/>
                  </a:lnTo>
                  <a:lnTo>
                    <a:pt x="2441576" y="387795"/>
                  </a:lnTo>
                  <a:lnTo>
                    <a:pt x="2441576" y="456403"/>
                  </a:lnTo>
                  <a:lnTo>
                    <a:pt x="2441576" y="539847"/>
                  </a:lnTo>
                  <a:lnTo>
                    <a:pt x="2441576" y="608455"/>
                  </a:lnTo>
                  <a:lnTo>
                    <a:pt x="2441576" y="691899"/>
                  </a:lnTo>
                  <a:lnTo>
                    <a:pt x="2441576" y="760507"/>
                  </a:lnTo>
                  <a:lnTo>
                    <a:pt x="2441576" y="832545"/>
                  </a:lnTo>
                  <a:lnTo>
                    <a:pt x="2441576" y="901153"/>
                  </a:lnTo>
                  <a:lnTo>
                    <a:pt x="2321561" y="901153"/>
                  </a:lnTo>
                  <a:lnTo>
                    <a:pt x="2239646" y="901153"/>
                  </a:lnTo>
                  <a:lnTo>
                    <a:pt x="2176781" y="901153"/>
                  </a:lnTo>
                  <a:lnTo>
                    <a:pt x="2109259" y="901153"/>
                  </a:lnTo>
                  <a:lnTo>
                    <a:pt x="2025730" y="901153"/>
                  </a:lnTo>
                  <a:lnTo>
                    <a:pt x="1941949" y="901153"/>
                  </a:lnTo>
                  <a:lnTo>
                    <a:pt x="1824412" y="901153"/>
                  </a:lnTo>
                  <a:lnTo>
                    <a:pt x="1720844" y="901153"/>
                  </a:lnTo>
                  <a:lnTo>
                    <a:pt x="1829119" y="1193517"/>
                  </a:lnTo>
                  <a:lnTo>
                    <a:pt x="1539566" y="901153"/>
                  </a:lnTo>
                  <a:lnTo>
                    <a:pt x="1427685" y="901153"/>
                  </a:lnTo>
                  <a:lnTo>
                    <a:pt x="1324785" y="901153"/>
                  </a:lnTo>
                  <a:lnTo>
                    <a:pt x="1254721" y="901153"/>
                  </a:lnTo>
                  <a:lnTo>
                    <a:pt x="1146253" y="901153"/>
                  </a:lnTo>
                  <a:lnTo>
                    <a:pt x="1039939" y="901153"/>
                  </a:lnTo>
                  <a:lnTo>
                    <a:pt x="969874" y="901153"/>
                  </a:lnTo>
                  <a:lnTo>
                    <a:pt x="864820" y="901154"/>
                  </a:lnTo>
                  <a:lnTo>
                    <a:pt x="755093" y="901153"/>
                  </a:lnTo>
                  <a:lnTo>
                    <a:pt x="685028" y="901153"/>
                  </a:lnTo>
                  <a:lnTo>
                    <a:pt x="581332" y="901153"/>
                  </a:lnTo>
                  <a:lnTo>
                    <a:pt x="471351" y="901153"/>
                  </a:lnTo>
                  <a:lnTo>
                    <a:pt x="470246" y="901153"/>
                  </a:lnTo>
                  <a:lnTo>
                    <a:pt x="377080" y="901153"/>
                  </a:lnTo>
                  <a:lnTo>
                    <a:pt x="282811" y="901153"/>
                  </a:lnTo>
                  <a:lnTo>
                    <a:pt x="185400" y="901153"/>
                  </a:lnTo>
                  <a:lnTo>
                    <a:pt x="94270" y="901153"/>
                  </a:lnTo>
                  <a:lnTo>
                    <a:pt x="0" y="901153"/>
                  </a:lnTo>
                  <a:lnTo>
                    <a:pt x="0" y="832545"/>
                  </a:lnTo>
                  <a:lnTo>
                    <a:pt x="0" y="760507"/>
                  </a:lnTo>
                  <a:lnTo>
                    <a:pt x="0" y="691899"/>
                  </a:lnTo>
                  <a:lnTo>
                    <a:pt x="0" y="608455"/>
                  </a:lnTo>
                  <a:lnTo>
                    <a:pt x="0" y="539847"/>
                  </a:lnTo>
                  <a:lnTo>
                    <a:pt x="0" y="456403"/>
                  </a:lnTo>
                  <a:lnTo>
                    <a:pt x="0" y="387795"/>
                  </a:lnTo>
                  <a:lnTo>
                    <a:pt x="0" y="304351"/>
                  </a:lnTo>
                  <a:lnTo>
                    <a:pt x="0" y="235743"/>
                  </a:lnTo>
                  <a:lnTo>
                    <a:pt x="0" y="152299"/>
                  </a:lnTo>
                  <a:lnTo>
                    <a:pt x="0" y="83691"/>
                  </a:lnTo>
                  <a:lnTo>
                    <a:pt x="0" y="247"/>
                  </a:lnTo>
                  <a:close/>
                </a:path>
              </a:pathLst>
            </a:custGeom>
            <a:solidFill>
              <a:schemeClr val="bg2"/>
            </a:solidFill>
            <a:ln w="12700" algn="ctr">
              <a:solidFill>
                <a:schemeClr val="accent2"/>
              </a:solidFill>
              <a:miter lim="800000"/>
              <a:headEnd/>
              <a:tailEnd/>
            </a:ln>
            <a:effectLst>
              <a:outerShdw dist="53340" dir="2700000" algn="tl" rotWithShape="0">
                <a:schemeClr val="tx1">
                  <a:alpha val="8000"/>
                </a:schemeClr>
              </a:outerShdw>
            </a:effec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868494">
                <a:defRPr/>
              </a:pPr>
              <a:endParaRPr lang="es-CL" sz="13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8" name="Rectangle 22"/>
            <p:cNvSpPr txBox="1"/>
            <p:nvPr>
              <p:custDataLst>
                <p:tags r:id="rId7"/>
              </p:custDataLst>
            </p:nvPr>
          </p:nvSpPr>
          <p:spPr>
            <a:xfrm flipH="1">
              <a:off x="647741" y="2371384"/>
              <a:ext cx="930594" cy="3537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850403">
                <a:buClr>
                  <a:srgbClr val="009A46"/>
                </a:buClr>
                <a:defRPr/>
              </a:pPr>
              <a:r>
                <a:rPr lang="es-CL" sz="1300">
                  <a:solidFill>
                    <a:srgbClr val="000000"/>
                  </a:solidFill>
                </a:rPr>
                <a:t>Acciones de control</a:t>
              </a:r>
            </a:p>
          </p:txBody>
        </p:sp>
      </p:grpSp>
      <p:grpSp>
        <p:nvGrpSpPr>
          <p:cNvPr id="69" name="Group 210"/>
          <p:cNvGrpSpPr/>
          <p:nvPr/>
        </p:nvGrpSpPr>
        <p:grpSpPr>
          <a:xfrm>
            <a:off x="2792926" y="4445627"/>
            <a:ext cx="1176800" cy="703580"/>
            <a:chOff x="581576" y="2313408"/>
            <a:chExt cx="1059559" cy="622141"/>
          </a:xfrm>
        </p:grpSpPr>
        <p:sp>
          <p:nvSpPr>
            <p:cNvPr id="70" name="Rectangle 1"/>
            <p:cNvSpPr>
              <a:spLocks/>
            </p:cNvSpPr>
            <p:nvPr/>
          </p:nvSpPr>
          <p:spPr>
            <a:xfrm>
              <a:off x="581576" y="2313408"/>
              <a:ext cx="1059559" cy="622141"/>
            </a:xfrm>
            <a:custGeom>
              <a:avLst/>
              <a:gdLst>
                <a:gd name="connsiteX0" fmla="*/ 0 w 2441576"/>
                <a:gd name="connsiteY0" fmla="*/ 0 h 900906"/>
                <a:gd name="connsiteX1" fmla="*/ 94270 w 2441576"/>
                <a:gd name="connsiteY1" fmla="*/ 0 h 900906"/>
                <a:gd name="connsiteX2" fmla="*/ 185400 w 2441576"/>
                <a:gd name="connsiteY2" fmla="*/ 0 h 900906"/>
                <a:gd name="connsiteX3" fmla="*/ 188541 w 2441576"/>
                <a:gd name="connsiteY3" fmla="*/ 0 h 900906"/>
                <a:gd name="connsiteX4" fmla="*/ 282811 w 2441576"/>
                <a:gd name="connsiteY4" fmla="*/ 0 h 900906"/>
                <a:gd name="connsiteX5" fmla="*/ 377080 w 2441576"/>
                <a:gd name="connsiteY5" fmla="*/ 0 h 900906"/>
                <a:gd name="connsiteX6" fmla="*/ 470246 w 2441576"/>
                <a:gd name="connsiteY6" fmla="*/ 0 h 900906"/>
                <a:gd name="connsiteX7" fmla="*/ 471351 w 2441576"/>
                <a:gd name="connsiteY7" fmla="*/ 0 h 900906"/>
                <a:gd name="connsiteX8" fmla="*/ 581332 w 2441576"/>
                <a:gd name="connsiteY8" fmla="*/ 0 h 900906"/>
                <a:gd name="connsiteX9" fmla="*/ 685028 w 2441576"/>
                <a:gd name="connsiteY9" fmla="*/ 0 h 900906"/>
                <a:gd name="connsiteX10" fmla="*/ 755093 w 2441576"/>
                <a:gd name="connsiteY10" fmla="*/ 0 h 900906"/>
                <a:gd name="connsiteX11" fmla="*/ 969874 w 2441576"/>
                <a:gd name="connsiteY11" fmla="*/ 0 h 900906"/>
                <a:gd name="connsiteX12" fmla="*/ 1039939 w 2441576"/>
                <a:gd name="connsiteY12" fmla="*/ 0 h 900906"/>
                <a:gd name="connsiteX13" fmla="*/ 1254721 w 2441576"/>
                <a:gd name="connsiteY13" fmla="*/ 0 h 900906"/>
                <a:gd name="connsiteX14" fmla="*/ 1324785 w 2441576"/>
                <a:gd name="connsiteY14" fmla="*/ 0 h 900906"/>
                <a:gd name="connsiteX15" fmla="*/ 1539566 w 2441576"/>
                <a:gd name="connsiteY15" fmla="*/ 0 h 900906"/>
                <a:gd name="connsiteX16" fmla="*/ 1609632 w 2441576"/>
                <a:gd name="connsiteY16" fmla="*/ 0 h 900906"/>
                <a:gd name="connsiteX17" fmla="*/ 1824412 w 2441576"/>
                <a:gd name="connsiteY17" fmla="*/ 0 h 900906"/>
                <a:gd name="connsiteX18" fmla="*/ 1941949 w 2441576"/>
                <a:gd name="connsiteY18" fmla="*/ 0 h 900906"/>
                <a:gd name="connsiteX19" fmla="*/ 2094866 w 2441576"/>
                <a:gd name="connsiteY19" fmla="*/ 0 h 900906"/>
                <a:gd name="connsiteX20" fmla="*/ 2176781 w 2441576"/>
                <a:gd name="connsiteY20" fmla="*/ 0 h 900906"/>
                <a:gd name="connsiteX21" fmla="*/ 2258696 w 2441576"/>
                <a:gd name="connsiteY21" fmla="*/ 0 h 900906"/>
                <a:gd name="connsiteX22" fmla="*/ 2321561 w 2441576"/>
                <a:gd name="connsiteY22" fmla="*/ 0 h 900906"/>
                <a:gd name="connsiteX23" fmla="*/ 2403476 w 2441576"/>
                <a:gd name="connsiteY23" fmla="*/ 0 h 900906"/>
                <a:gd name="connsiteX24" fmla="*/ 2441576 w 2441576"/>
                <a:gd name="connsiteY24" fmla="*/ 0 h 900906"/>
                <a:gd name="connsiteX25" fmla="*/ 2441576 w 2441576"/>
                <a:gd name="connsiteY25" fmla="*/ 83444 h 900906"/>
                <a:gd name="connsiteX26" fmla="*/ 2441576 w 2441576"/>
                <a:gd name="connsiteY26" fmla="*/ 152052 h 900906"/>
                <a:gd name="connsiteX27" fmla="*/ 2441576 w 2441576"/>
                <a:gd name="connsiteY27" fmla="*/ 235496 h 900906"/>
                <a:gd name="connsiteX28" fmla="*/ 2441576 w 2441576"/>
                <a:gd name="connsiteY28" fmla="*/ 304104 h 900906"/>
                <a:gd name="connsiteX29" fmla="*/ 2441576 w 2441576"/>
                <a:gd name="connsiteY29" fmla="*/ 387548 h 900906"/>
                <a:gd name="connsiteX30" fmla="*/ 2441576 w 2441576"/>
                <a:gd name="connsiteY30" fmla="*/ 456156 h 900906"/>
                <a:gd name="connsiteX31" fmla="*/ 2441576 w 2441576"/>
                <a:gd name="connsiteY31" fmla="*/ 539600 h 900906"/>
                <a:gd name="connsiteX32" fmla="*/ 2441576 w 2441576"/>
                <a:gd name="connsiteY32" fmla="*/ 608208 h 900906"/>
                <a:gd name="connsiteX33" fmla="*/ 2441576 w 2441576"/>
                <a:gd name="connsiteY33" fmla="*/ 691652 h 900906"/>
                <a:gd name="connsiteX34" fmla="*/ 2441576 w 2441576"/>
                <a:gd name="connsiteY34" fmla="*/ 748854 h 900906"/>
                <a:gd name="connsiteX35" fmla="*/ 2441576 w 2441576"/>
                <a:gd name="connsiteY35" fmla="*/ 760260 h 900906"/>
                <a:gd name="connsiteX36" fmla="*/ 2441576 w 2441576"/>
                <a:gd name="connsiteY36" fmla="*/ 832298 h 900906"/>
                <a:gd name="connsiteX37" fmla="*/ 2441576 w 2441576"/>
                <a:gd name="connsiteY37" fmla="*/ 900906 h 900906"/>
                <a:gd name="connsiteX38" fmla="*/ 2403476 w 2441576"/>
                <a:gd name="connsiteY38" fmla="*/ 900906 h 900906"/>
                <a:gd name="connsiteX39" fmla="*/ 2321561 w 2441576"/>
                <a:gd name="connsiteY39" fmla="*/ 900906 h 900906"/>
                <a:gd name="connsiteX40" fmla="*/ 2239646 w 2441576"/>
                <a:gd name="connsiteY40" fmla="*/ 900906 h 900906"/>
                <a:gd name="connsiteX41" fmla="*/ 2176781 w 2441576"/>
                <a:gd name="connsiteY41" fmla="*/ 900906 h 900906"/>
                <a:gd name="connsiteX42" fmla="*/ 2109259 w 2441576"/>
                <a:gd name="connsiteY42" fmla="*/ 900906 h 900906"/>
                <a:gd name="connsiteX43" fmla="*/ 2094866 w 2441576"/>
                <a:gd name="connsiteY43" fmla="*/ 900906 h 900906"/>
                <a:gd name="connsiteX44" fmla="*/ 1941949 w 2441576"/>
                <a:gd name="connsiteY44" fmla="*/ 900906 h 900906"/>
                <a:gd name="connsiteX45" fmla="*/ 1824412 w 2441576"/>
                <a:gd name="connsiteY45" fmla="*/ 900906 h 900906"/>
                <a:gd name="connsiteX46" fmla="*/ 1609632 w 2441576"/>
                <a:gd name="connsiteY46" fmla="*/ 900906 h 900906"/>
                <a:gd name="connsiteX47" fmla="*/ 1539566 w 2441576"/>
                <a:gd name="connsiteY47" fmla="*/ 900906 h 900906"/>
                <a:gd name="connsiteX48" fmla="*/ 1324785 w 2441576"/>
                <a:gd name="connsiteY48" fmla="*/ 900906 h 900906"/>
                <a:gd name="connsiteX49" fmla="*/ 1254721 w 2441576"/>
                <a:gd name="connsiteY49" fmla="*/ 900906 h 900906"/>
                <a:gd name="connsiteX50" fmla="*/ 1039939 w 2441576"/>
                <a:gd name="connsiteY50" fmla="*/ 900906 h 900906"/>
                <a:gd name="connsiteX51" fmla="*/ 969874 w 2441576"/>
                <a:gd name="connsiteY51" fmla="*/ 900906 h 900906"/>
                <a:gd name="connsiteX52" fmla="*/ 755093 w 2441576"/>
                <a:gd name="connsiteY52" fmla="*/ 900906 h 900906"/>
                <a:gd name="connsiteX53" fmla="*/ 685028 w 2441576"/>
                <a:gd name="connsiteY53" fmla="*/ 900906 h 900906"/>
                <a:gd name="connsiteX54" fmla="*/ 581332 w 2441576"/>
                <a:gd name="connsiteY54" fmla="*/ 900906 h 900906"/>
                <a:gd name="connsiteX55" fmla="*/ 471351 w 2441576"/>
                <a:gd name="connsiteY55" fmla="*/ 900906 h 900906"/>
                <a:gd name="connsiteX56" fmla="*/ 470246 w 2441576"/>
                <a:gd name="connsiteY56" fmla="*/ 900906 h 900906"/>
                <a:gd name="connsiteX57" fmla="*/ 377080 w 2441576"/>
                <a:gd name="connsiteY57" fmla="*/ 900906 h 900906"/>
                <a:gd name="connsiteX58" fmla="*/ 282811 w 2441576"/>
                <a:gd name="connsiteY58" fmla="*/ 900906 h 900906"/>
                <a:gd name="connsiteX59" fmla="*/ 188541 w 2441576"/>
                <a:gd name="connsiteY59" fmla="*/ 900906 h 900906"/>
                <a:gd name="connsiteX60" fmla="*/ 185400 w 2441576"/>
                <a:gd name="connsiteY60" fmla="*/ 900906 h 900906"/>
                <a:gd name="connsiteX61" fmla="*/ 94270 w 2441576"/>
                <a:gd name="connsiteY61" fmla="*/ 900906 h 900906"/>
                <a:gd name="connsiteX62" fmla="*/ 0 w 2441576"/>
                <a:gd name="connsiteY62" fmla="*/ 900906 h 900906"/>
                <a:gd name="connsiteX63" fmla="*/ 0 w 2441576"/>
                <a:gd name="connsiteY63" fmla="*/ 832298 h 900906"/>
                <a:gd name="connsiteX64" fmla="*/ 0 w 2441576"/>
                <a:gd name="connsiteY64" fmla="*/ 760260 h 900906"/>
                <a:gd name="connsiteX65" fmla="*/ 0 w 2441576"/>
                <a:gd name="connsiteY65" fmla="*/ 748854 h 900906"/>
                <a:gd name="connsiteX66" fmla="*/ 0 w 2441576"/>
                <a:gd name="connsiteY66" fmla="*/ 691652 h 900906"/>
                <a:gd name="connsiteX67" fmla="*/ 0 w 2441576"/>
                <a:gd name="connsiteY67" fmla="*/ 608208 h 900906"/>
                <a:gd name="connsiteX68" fmla="*/ 0 w 2441576"/>
                <a:gd name="connsiteY68" fmla="*/ 539600 h 900906"/>
                <a:gd name="connsiteX69" fmla="*/ 0 w 2441576"/>
                <a:gd name="connsiteY69" fmla="*/ 456156 h 900906"/>
                <a:gd name="connsiteX70" fmla="*/ 0 w 2441576"/>
                <a:gd name="connsiteY70" fmla="*/ 387548 h 900906"/>
                <a:gd name="connsiteX71" fmla="*/ 0 w 2441576"/>
                <a:gd name="connsiteY71" fmla="*/ 304104 h 900906"/>
                <a:gd name="connsiteX72" fmla="*/ 0 w 2441576"/>
                <a:gd name="connsiteY72" fmla="*/ 235496 h 900906"/>
                <a:gd name="connsiteX73" fmla="*/ 0 w 2441576"/>
                <a:gd name="connsiteY73" fmla="*/ 152052 h 900906"/>
                <a:gd name="connsiteX74" fmla="*/ 0 w 2441576"/>
                <a:gd name="connsiteY74" fmla="*/ 83444 h 900906"/>
                <a:gd name="connsiteX75" fmla="*/ 0 w 2441576"/>
                <a:gd name="connsiteY75" fmla="*/ 0 h 900906"/>
                <a:gd name="connsiteX0" fmla="*/ 0 w 2441576"/>
                <a:gd name="connsiteY0" fmla="*/ 0 h 900906"/>
                <a:gd name="connsiteX1" fmla="*/ 94270 w 2441576"/>
                <a:gd name="connsiteY1" fmla="*/ 0 h 900906"/>
                <a:gd name="connsiteX2" fmla="*/ 185400 w 2441576"/>
                <a:gd name="connsiteY2" fmla="*/ 0 h 900906"/>
                <a:gd name="connsiteX3" fmla="*/ 188541 w 2441576"/>
                <a:gd name="connsiteY3" fmla="*/ 0 h 900906"/>
                <a:gd name="connsiteX4" fmla="*/ 282811 w 2441576"/>
                <a:gd name="connsiteY4" fmla="*/ 0 h 900906"/>
                <a:gd name="connsiteX5" fmla="*/ 377080 w 2441576"/>
                <a:gd name="connsiteY5" fmla="*/ 0 h 900906"/>
                <a:gd name="connsiteX6" fmla="*/ 470246 w 2441576"/>
                <a:gd name="connsiteY6" fmla="*/ 0 h 900906"/>
                <a:gd name="connsiteX7" fmla="*/ 471351 w 2441576"/>
                <a:gd name="connsiteY7" fmla="*/ 0 h 900906"/>
                <a:gd name="connsiteX8" fmla="*/ 581332 w 2441576"/>
                <a:gd name="connsiteY8" fmla="*/ 0 h 900906"/>
                <a:gd name="connsiteX9" fmla="*/ 685028 w 2441576"/>
                <a:gd name="connsiteY9" fmla="*/ 0 h 900906"/>
                <a:gd name="connsiteX10" fmla="*/ 755093 w 2441576"/>
                <a:gd name="connsiteY10" fmla="*/ 0 h 900906"/>
                <a:gd name="connsiteX11" fmla="*/ 969874 w 2441576"/>
                <a:gd name="connsiteY11" fmla="*/ 0 h 900906"/>
                <a:gd name="connsiteX12" fmla="*/ 1039939 w 2441576"/>
                <a:gd name="connsiteY12" fmla="*/ 0 h 900906"/>
                <a:gd name="connsiteX13" fmla="*/ 1254721 w 2441576"/>
                <a:gd name="connsiteY13" fmla="*/ 0 h 900906"/>
                <a:gd name="connsiteX14" fmla="*/ 1324785 w 2441576"/>
                <a:gd name="connsiteY14" fmla="*/ 0 h 900906"/>
                <a:gd name="connsiteX15" fmla="*/ 1539566 w 2441576"/>
                <a:gd name="connsiteY15" fmla="*/ 0 h 900906"/>
                <a:gd name="connsiteX16" fmla="*/ 1609632 w 2441576"/>
                <a:gd name="connsiteY16" fmla="*/ 0 h 900906"/>
                <a:gd name="connsiteX17" fmla="*/ 1824412 w 2441576"/>
                <a:gd name="connsiteY17" fmla="*/ 0 h 900906"/>
                <a:gd name="connsiteX18" fmla="*/ 1941949 w 2441576"/>
                <a:gd name="connsiteY18" fmla="*/ 0 h 900906"/>
                <a:gd name="connsiteX19" fmla="*/ 2094866 w 2441576"/>
                <a:gd name="connsiteY19" fmla="*/ 0 h 900906"/>
                <a:gd name="connsiteX20" fmla="*/ 2176781 w 2441576"/>
                <a:gd name="connsiteY20" fmla="*/ 0 h 900906"/>
                <a:gd name="connsiteX21" fmla="*/ 2258696 w 2441576"/>
                <a:gd name="connsiteY21" fmla="*/ 0 h 900906"/>
                <a:gd name="connsiteX22" fmla="*/ 2321561 w 2441576"/>
                <a:gd name="connsiteY22" fmla="*/ 0 h 900906"/>
                <a:gd name="connsiteX23" fmla="*/ 2403476 w 2441576"/>
                <a:gd name="connsiteY23" fmla="*/ 0 h 900906"/>
                <a:gd name="connsiteX24" fmla="*/ 2441576 w 2441576"/>
                <a:gd name="connsiteY24" fmla="*/ 0 h 900906"/>
                <a:gd name="connsiteX25" fmla="*/ 2441576 w 2441576"/>
                <a:gd name="connsiteY25" fmla="*/ 83444 h 900906"/>
                <a:gd name="connsiteX26" fmla="*/ 2441576 w 2441576"/>
                <a:gd name="connsiteY26" fmla="*/ 152052 h 900906"/>
                <a:gd name="connsiteX27" fmla="*/ 2441576 w 2441576"/>
                <a:gd name="connsiteY27" fmla="*/ 235496 h 900906"/>
                <a:gd name="connsiteX28" fmla="*/ 2441576 w 2441576"/>
                <a:gd name="connsiteY28" fmla="*/ 304104 h 900906"/>
                <a:gd name="connsiteX29" fmla="*/ 2441576 w 2441576"/>
                <a:gd name="connsiteY29" fmla="*/ 387548 h 900906"/>
                <a:gd name="connsiteX30" fmla="*/ 2441576 w 2441576"/>
                <a:gd name="connsiteY30" fmla="*/ 456156 h 900906"/>
                <a:gd name="connsiteX31" fmla="*/ 2441576 w 2441576"/>
                <a:gd name="connsiteY31" fmla="*/ 539600 h 900906"/>
                <a:gd name="connsiteX32" fmla="*/ 2441576 w 2441576"/>
                <a:gd name="connsiteY32" fmla="*/ 608208 h 900906"/>
                <a:gd name="connsiteX33" fmla="*/ 2441576 w 2441576"/>
                <a:gd name="connsiteY33" fmla="*/ 691652 h 900906"/>
                <a:gd name="connsiteX34" fmla="*/ 2441576 w 2441576"/>
                <a:gd name="connsiteY34" fmla="*/ 748854 h 900906"/>
                <a:gd name="connsiteX35" fmla="*/ 2441576 w 2441576"/>
                <a:gd name="connsiteY35" fmla="*/ 760260 h 900906"/>
                <a:gd name="connsiteX36" fmla="*/ 2441576 w 2441576"/>
                <a:gd name="connsiteY36" fmla="*/ 832298 h 900906"/>
                <a:gd name="connsiteX37" fmla="*/ 2441576 w 2441576"/>
                <a:gd name="connsiteY37" fmla="*/ 900906 h 900906"/>
                <a:gd name="connsiteX38" fmla="*/ 2403476 w 2441576"/>
                <a:gd name="connsiteY38" fmla="*/ 900906 h 900906"/>
                <a:gd name="connsiteX39" fmla="*/ 2321561 w 2441576"/>
                <a:gd name="connsiteY39" fmla="*/ 900906 h 900906"/>
                <a:gd name="connsiteX40" fmla="*/ 2239646 w 2441576"/>
                <a:gd name="connsiteY40" fmla="*/ 900906 h 900906"/>
                <a:gd name="connsiteX41" fmla="*/ 2176781 w 2441576"/>
                <a:gd name="connsiteY41" fmla="*/ 900906 h 900906"/>
                <a:gd name="connsiteX42" fmla="*/ 2109259 w 2441576"/>
                <a:gd name="connsiteY42" fmla="*/ 900906 h 900906"/>
                <a:gd name="connsiteX43" fmla="*/ 1941949 w 2441576"/>
                <a:gd name="connsiteY43" fmla="*/ 900906 h 900906"/>
                <a:gd name="connsiteX44" fmla="*/ 1824412 w 2441576"/>
                <a:gd name="connsiteY44" fmla="*/ 900906 h 900906"/>
                <a:gd name="connsiteX45" fmla="*/ 1609632 w 2441576"/>
                <a:gd name="connsiteY45" fmla="*/ 900906 h 900906"/>
                <a:gd name="connsiteX46" fmla="*/ 1539566 w 2441576"/>
                <a:gd name="connsiteY46" fmla="*/ 900906 h 900906"/>
                <a:gd name="connsiteX47" fmla="*/ 1324785 w 2441576"/>
                <a:gd name="connsiteY47" fmla="*/ 900906 h 900906"/>
                <a:gd name="connsiteX48" fmla="*/ 1254721 w 2441576"/>
                <a:gd name="connsiteY48" fmla="*/ 900906 h 900906"/>
                <a:gd name="connsiteX49" fmla="*/ 1039939 w 2441576"/>
                <a:gd name="connsiteY49" fmla="*/ 900906 h 900906"/>
                <a:gd name="connsiteX50" fmla="*/ 969874 w 2441576"/>
                <a:gd name="connsiteY50" fmla="*/ 900906 h 900906"/>
                <a:gd name="connsiteX51" fmla="*/ 755093 w 2441576"/>
                <a:gd name="connsiteY51" fmla="*/ 900906 h 900906"/>
                <a:gd name="connsiteX52" fmla="*/ 685028 w 2441576"/>
                <a:gd name="connsiteY52" fmla="*/ 900906 h 900906"/>
                <a:gd name="connsiteX53" fmla="*/ 581332 w 2441576"/>
                <a:gd name="connsiteY53" fmla="*/ 900906 h 900906"/>
                <a:gd name="connsiteX54" fmla="*/ 471351 w 2441576"/>
                <a:gd name="connsiteY54" fmla="*/ 900906 h 900906"/>
                <a:gd name="connsiteX55" fmla="*/ 470246 w 2441576"/>
                <a:gd name="connsiteY55" fmla="*/ 900906 h 900906"/>
                <a:gd name="connsiteX56" fmla="*/ 377080 w 2441576"/>
                <a:gd name="connsiteY56" fmla="*/ 900906 h 900906"/>
                <a:gd name="connsiteX57" fmla="*/ 282811 w 2441576"/>
                <a:gd name="connsiteY57" fmla="*/ 900906 h 900906"/>
                <a:gd name="connsiteX58" fmla="*/ 188541 w 2441576"/>
                <a:gd name="connsiteY58" fmla="*/ 900906 h 900906"/>
                <a:gd name="connsiteX59" fmla="*/ 185400 w 2441576"/>
                <a:gd name="connsiteY59" fmla="*/ 900906 h 900906"/>
                <a:gd name="connsiteX60" fmla="*/ 94270 w 2441576"/>
                <a:gd name="connsiteY60" fmla="*/ 900906 h 900906"/>
                <a:gd name="connsiteX61" fmla="*/ 0 w 2441576"/>
                <a:gd name="connsiteY61" fmla="*/ 900906 h 900906"/>
                <a:gd name="connsiteX62" fmla="*/ 0 w 2441576"/>
                <a:gd name="connsiteY62" fmla="*/ 832298 h 900906"/>
                <a:gd name="connsiteX63" fmla="*/ 0 w 2441576"/>
                <a:gd name="connsiteY63" fmla="*/ 760260 h 900906"/>
                <a:gd name="connsiteX64" fmla="*/ 0 w 2441576"/>
                <a:gd name="connsiteY64" fmla="*/ 748854 h 900906"/>
                <a:gd name="connsiteX65" fmla="*/ 0 w 2441576"/>
                <a:gd name="connsiteY65" fmla="*/ 691652 h 900906"/>
                <a:gd name="connsiteX66" fmla="*/ 0 w 2441576"/>
                <a:gd name="connsiteY66" fmla="*/ 608208 h 900906"/>
                <a:gd name="connsiteX67" fmla="*/ 0 w 2441576"/>
                <a:gd name="connsiteY67" fmla="*/ 539600 h 900906"/>
                <a:gd name="connsiteX68" fmla="*/ 0 w 2441576"/>
                <a:gd name="connsiteY68" fmla="*/ 456156 h 900906"/>
                <a:gd name="connsiteX69" fmla="*/ 0 w 2441576"/>
                <a:gd name="connsiteY69" fmla="*/ 387548 h 900906"/>
                <a:gd name="connsiteX70" fmla="*/ 0 w 2441576"/>
                <a:gd name="connsiteY70" fmla="*/ 304104 h 900906"/>
                <a:gd name="connsiteX71" fmla="*/ 0 w 2441576"/>
                <a:gd name="connsiteY71" fmla="*/ 235496 h 900906"/>
                <a:gd name="connsiteX72" fmla="*/ 0 w 2441576"/>
                <a:gd name="connsiteY72" fmla="*/ 152052 h 900906"/>
                <a:gd name="connsiteX73" fmla="*/ 0 w 2441576"/>
                <a:gd name="connsiteY73" fmla="*/ 83444 h 900906"/>
                <a:gd name="connsiteX74" fmla="*/ 0 w 2441576"/>
                <a:gd name="connsiteY74" fmla="*/ 0 h 900906"/>
                <a:gd name="connsiteX0" fmla="*/ 0 w 2441576"/>
                <a:gd name="connsiteY0" fmla="*/ 0 h 900906"/>
                <a:gd name="connsiteX1" fmla="*/ 94270 w 2441576"/>
                <a:gd name="connsiteY1" fmla="*/ 0 h 900906"/>
                <a:gd name="connsiteX2" fmla="*/ 185400 w 2441576"/>
                <a:gd name="connsiteY2" fmla="*/ 0 h 900906"/>
                <a:gd name="connsiteX3" fmla="*/ 188541 w 2441576"/>
                <a:gd name="connsiteY3" fmla="*/ 0 h 900906"/>
                <a:gd name="connsiteX4" fmla="*/ 282811 w 2441576"/>
                <a:gd name="connsiteY4" fmla="*/ 0 h 900906"/>
                <a:gd name="connsiteX5" fmla="*/ 377080 w 2441576"/>
                <a:gd name="connsiteY5" fmla="*/ 0 h 900906"/>
                <a:gd name="connsiteX6" fmla="*/ 470246 w 2441576"/>
                <a:gd name="connsiteY6" fmla="*/ 0 h 900906"/>
                <a:gd name="connsiteX7" fmla="*/ 471351 w 2441576"/>
                <a:gd name="connsiteY7" fmla="*/ 0 h 900906"/>
                <a:gd name="connsiteX8" fmla="*/ 581332 w 2441576"/>
                <a:gd name="connsiteY8" fmla="*/ 0 h 900906"/>
                <a:gd name="connsiteX9" fmla="*/ 685028 w 2441576"/>
                <a:gd name="connsiteY9" fmla="*/ 0 h 900906"/>
                <a:gd name="connsiteX10" fmla="*/ 755093 w 2441576"/>
                <a:gd name="connsiteY10" fmla="*/ 0 h 900906"/>
                <a:gd name="connsiteX11" fmla="*/ 969874 w 2441576"/>
                <a:gd name="connsiteY11" fmla="*/ 0 h 900906"/>
                <a:gd name="connsiteX12" fmla="*/ 1039939 w 2441576"/>
                <a:gd name="connsiteY12" fmla="*/ 0 h 900906"/>
                <a:gd name="connsiteX13" fmla="*/ 1254721 w 2441576"/>
                <a:gd name="connsiteY13" fmla="*/ 0 h 900906"/>
                <a:gd name="connsiteX14" fmla="*/ 1324785 w 2441576"/>
                <a:gd name="connsiteY14" fmla="*/ 0 h 900906"/>
                <a:gd name="connsiteX15" fmla="*/ 1539566 w 2441576"/>
                <a:gd name="connsiteY15" fmla="*/ 0 h 900906"/>
                <a:gd name="connsiteX16" fmla="*/ 1609632 w 2441576"/>
                <a:gd name="connsiteY16" fmla="*/ 0 h 900906"/>
                <a:gd name="connsiteX17" fmla="*/ 1824412 w 2441576"/>
                <a:gd name="connsiteY17" fmla="*/ 0 h 900906"/>
                <a:gd name="connsiteX18" fmla="*/ 1941949 w 2441576"/>
                <a:gd name="connsiteY18" fmla="*/ 0 h 900906"/>
                <a:gd name="connsiteX19" fmla="*/ 2094866 w 2441576"/>
                <a:gd name="connsiteY19" fmla="*/ 0 h 900906"/>
                <a:gd name="connsiteX20" fmla="*/ 2176781 w 2441576"/>
                <a:gd name="connsiteY20" fmla="*/ 0 h 900906"/>
                <a:gd name="connsiteX21" fmla="*/ 2258696 w 2441576"/>
                <a:gd name="connsiteY21" fmla="*/ 0 h 900906"/>
                <a:gd name="connsiteX22" fmla="*/ 2321561 w 2441576"/>
                <a:gd name="connsiteY22" fmla="*/ 0 h 900906"/>
                <a:gd name="connsiteX23" fmla="*/ 2441576 w 2441576"/>
                <a:gd name="connsiteY23" fmla="*/ 0 h 900906"/>
                <a:gd name="connsiteX24" fmla="*/ 2441576 w 2441576"/>
                <a:gd name="connsiteY24" fmla="*/ 83444 h 900906"/>
                <a:gd name="connsiteX25" fmla="*/ 2441576 w 2441576"/>
                <a:gd name="connsiteY25" fmla="*/ 152052 h 900906"/>
                <a:gd name="connsiteX26" fmla="*/ 2441576 w 2441576"/>
                <a:gd name="connsiteY26" fmla="*/ 235496 h 900906"/>
                <a:gd name="connsiteX27" fmla="*/ 2441576 w 2441576"/>
                <a:gd name="connsiteY27" fmla="*/ 304104 h 900906"/>
                <a:gd name="connsiteX28" fmla="*/ 2441576 w 2441576"/>
                <a:gd name="connsiteY28" fmla="*/ 387548 h 900906"/>
                <a:gd name="connsiteX29" fmla="*/ 2441576 w 2441576"/>
                <a:gd name="connsiteY29" fmla="*/ 456156 h 900906"/>
                <a:gd name="connsiteX30" fmla="*/ 2441576 w 2441576"/>
                <a:gd name="connsiteY30" fmla="*/ 539600 h 900906"/>
                <a:gd name="connsiteX31" fmla="*/ 2441576 w 2441576"/>
                <a:gd name="connsiteY31" fmla="*/ 608208 h 900906"/>
                <a:gd name="connsiteX32" fmla="*/ 2441576 w 2441576"/>
                <a:gd name="connsiteY32" fmla="*/ 691652 h 900906"/>
                <a:gd name="connsiteX33" fmla="*/ 2441576 w 2441576"/>
                <a:gd name="connsiteY33" fmla="*/ 748854 h 900906"/>
                <a:gd name="connsiteX34" fmla="*/ 2441576 w 2441576"/>
                <a:gd name="connsiteY34" fmla="*/ 760260 h 900906"/>
                <a:gd name="connsiteX35" fmla="*/ 2441576 w 2441576"/>
                <a:gd name="connsiteY35" fmla="*/ 832298 h 900906"/>
                <a:gd name="connsiteX36" fmla="*/ 2441576 w 2441576"/>
                <a:gd name="connsiteY36" fmla="*/ 900906 h 900906"/>
                <a:gd name="connsiteX37" fmla="*/ 2403476 w 2441576"/>
                <a:gd name="connsiteY37" fmla="*/ 900906 h 900906"/>
                <a:gd name="connsiteX38" fmla="*/ 2321561 w 2441576"/>
                <a:gd name="connsiteY38" fmla="*/ 900906 h 900906"/>
                <a:gd name="connsiteX39" fmla="*/ 2239646 w 2441576"/>
                <a:gd name="connsiteY39" fmla="*/ 900906 h 900906"/>
                <a:gd name="connsiteX40" fmla="*/ 2176781 w 2441576"/>
                <a:gd name="connsiteY40" fmla="*/ 900906 h 900906"/>
                <a:gd name="connsiteX41" fmla="*/ 2109259 w 2441576"/>
                <a:gd name="connsiteY41" fmla="*/ 900906 h 900906"/>
                <a:gd name="connsiteX42" fmla="*/ 1941949 w 2441576"/>
                <a:gd name="connsiteY42" fmla="*/ 900906 h 900906"/>
                <a:gd name="connsiteX43" fmla="*/ 1824412 w 2441576"/>
                <a:gd name="connsiteY43" fmla="*/ 900906 h 900906"/>
                <a:gd name="connsiteX44" fmla="*/ 1609632 w 2441576"/>
                <a:gd name="connsiteY44" fmla="*/ 900906 h 900906"/>
                <a:gd name="connsiteX45" fmla="*/ 1539566 w 2441576"/>
                <a:gd name="connsiteY45" fmla="*/ 900906 h 900906"/>
                <a:gd name="connsiteX46" fmla="*/ 1324785 w 2441576"/>
                <a:gd name="connsiteY46" fmla="*/ 900906 h 900906"/>
                <a:gd name="connsiteX47" fmla="*/ 1254721 w 2441576"/>
                <a:gd name="connsiteY47" fmla="*/ 900906 h 900906"/>
                <a:gd name="connsiteX48" fmla="*/ 1039939 w 2441576"/>
                <a:gd name="connsiteY48" fmla="*/ 900906 h 900906"/>
                <a:gd name="connsiteX49" fmla="*/ 969874 w 2441576"/>
                <a:gd name="connsiteY49" fmla="*/ 900906 h 900906"/>
                <a:gd name="connsiteX50" fmla="*/ 755093 w 2441576"/>
                <a:gd name="connsiteY50" fmla="*/ 900906 h 900906"/>
                <a:gd name="connsiteX51" fmla="*/ 685028 w 2441576"/>
                <a:gd name="connsiteY51" fmla="*/ 900906 h 900906"/>
                <a:gd name="connsiteX52" fmla="*/ 581332 w 2441576"/>
                <a:gd name="connsiteY52" fmla="*/ 900906 h 900906"/>
                <a:gd name="connsiteX53" fmla="*/ 471351 w 2441576"/>
                <a:gd name="connsiteY53" fmla="*/ 900906 h 900906"/>
                <a:gd name="connsiteX54" fmla="*/ 470246 w 2441576"/>
                <a:gd name="connsiteY54" fmla="*/ 900906 h 900906"/>
                <a:gd name="connsiteX55" fmla="*/ 377080 w 2441576"/>
                <a:gd name="connsiteY55" fmla="*/ 900906 h 900906"/>
                <a:gd name="connsiteX56" fmla="*/ 282811 w 2441576"/>
                <a:gd name="connsiteY56" fmla="*/ 900906 h 900906"/>
                <a:gd name="connsiteX57" fmla="*/ 188541 w 2441576"/>
                <a:gd name="connsiteY57" fmla="*/ 900906 h 900906"/>
                <a:gd name="connsiteX58" fmla="*/ 185400 w 2441576"/>
                <a:gd name="connsiteY58" fmla="*/ 900906 h 900906"/>
                <a:gd name="connsiteX59" fmla="*/ 94270 w 2441576"/>
                <a:gd name="connsiteY59" fmla="*/ 900906 h 900906"/>
                <a:gd name="connsiteX60" fmla="*/ 0 w 2441576"/>
                <a:gd name="connsiteY60" fmla="*/ 900906 h 900906"/>
                <a:gd name="connsiteX61" fmla="*/ 0 w 2441576"/>
                <a:gd name="connsiteY61" fmla="*/ 832298 h 900906"/>
                <a:gd name="connsiteX62" fmla="*/ 0 w 2441576"/>
                <a:gd name="connsiteY62" fmla="*/ 760260 h 900906"/>
                <a:gd name="connsiteX63" fmla="*/ 0 w 2441576"/>
                <a:gd name="connsiteY63" fmla="*/ 748854 h 900906"/>
                <a:gd name="connsiteX64" fmla="*/ 0 w 2441576"/>
                <a:gd name="connsiteY64" fmla="*/ 691652 h 900906"/>
                <a:gd name="connsiteX65" fmla="*/ 0 w 2441576"/>
                <a:gd name="connsiteY65" fmla="*/ 608208 h 900906"/>
                <a:gd name="connsiteX66" fmla="*/ 0 w 2441576"/>
                <a:gd name="connsiteY66" fmla="*/ 539600 h 900906"/>
                <a:gd name="connsiteX67" fmla="*/ 0 w 2441576"/>
                <a:gd name="connsiteY67" fmla="*/ 456156 h 900906"/>
                <a:gd name="connsiteX68" fmla="*/ 0 w 2441576"/>
                <a:gd name="connsiteY68" fmla="*/ 387548 h 900906"/>
                <a:gd name="connsiteX69" fmla="*/ 0 w 2441576"/>
                <a:gd name="connsiteY69" fmla="*/ 304104 h 900906"/>
                <a:gd name="connsiteX70" fmla="*/ 0 w 2441576"/>
                <a:gd name="connsiteY70" fmla="*/ 235496 h 900906"/>
                <a:gd name="connsiteX71" fmla="*/ 0 w 2441576"/>
                <a:gd name="connsiteY71" fmla="*/ 152052 h 900906"/>
                <a:gd name="connsiteX72" fmla="*/ 0 w 2441576"/>
                <a:gd name="connsiteY72" fmla="*/ 83444 h 900906"/>
                <a:gd name="connsiteX73" fmla="*/ 0 w 2441576"/>
                <a:gd name="connsiteY73" fmla="*/ 0 h 900906"/>
                <a:gd name="connsiteX0" fmla="*/ 0 w 2441576"/>
                <a:gd name="connsiteY0" fmla="*/ 0 h 900906"/>
                <a:gd name="connsiteX1" fmla="*/ 94270 w 2441576"/>
                <a:gd name="connsiteY1" fmla="*/ 0 h 900906"/>
                <a:gd name="connsiteX2" fmla="*/ 185400 w 2441576"/>
                <a:gd name="connsiteY2" fmla="*/ 0 h 900906"/>
                <a:gd name="connsiteX3" fmla="*/ 188541 w 2441576"/>
                <a:gd name="connsiteY3" fmla="*/ 0 h 900906"/>
                <a:gd name="connsiteX4" fmla="*/ 282811 w 2441576"/>
                <a:gd name="connsiteY4" fmla="*/ 0 h 900906"/>
                <a:gd name="connsiteX5" fmla="*/ 377080 w 2441576"/>
                <a:gd name="connsiteY5" fmla="*/ 0 h 900906"/>
                <a:gd name="connsiteX6" fmla="*/ 470246 w 2441576"/>
                <a:gd name="connsiteY6" fmla="*/ 0 h 900906"/>
                <a:gd name="connsiteX7" fmla="*/ 471351 w 2441576"/>
                <a:gd name="connsiteY7" fmla="*/ 0 h 900906"/>
                <a:gd name="connsiteX8" fmla="*/ 581332 w 2441576"/>
                <a:gd name="connsiteY8" fmla="*/ 0 h 900906"/>
                <a:gd name="connsiteX9" fmla="*/ 685028 w 2441576"/>
                <a:gd name="connsiteY9" fmla="*/ 0 h 900906"/>
                <a:gd name="connsiteX10" fmla="*/ 755093 w 2441576"/>
                <a:gd name="connsiteY10" fmla="*/ 0 h 900906"/>
                <a:gd name="connsiteX11" fmla="*/ 969874 w 2441576"/>
                <a:gd name="connsiteY11" fmla="*/ 0 h 900906"/>
                <a:gd name="connsiteX12" fmla="*/ 1039939 w 2441576"/>
                <a:gd name="connsiteY12" fmla="*/ 0 h 900906"/>
                <a:gd name="connsiteX13" fmla="*/ 1254721 w 2441576"/>
                <a:gd name="connsiteY13" fmla="*/ 0 h 900906"/>
                <a:gd name="connsiteX14" fmla="*/ 1324785 w 2441576"/>
                <a:gd name="connsiteY14" fmla="*/ 0 h 900906"/>
                <a:gd name="connsiteX15" fmla="*/ 1539566 w 2441576"/>
                <a:gd name="connsiteY15" fmla="*/ 0 h 900906"/>
                <a:gd name="connsiteX16" fmla="*/ 1609632 w 2441576"/>
                <a:gd name="connsiteY16" fmla="*/ 0 h 900906"/>
                <a:gd name="connsiteX17" fmla="*/ 1824412 w 2441576"/>
                <a:gd name="connsiteY17" fmla="*/ 0 h 900906"/>
                <a:gd name="connsiteX18" fmla="*/ 1941949 w 2441576"/>
                <a:gd name="connsiteY18" fmla="*/ 0 h 900906"/>
                <a:gd name="connsiteX19" fmla="*/ 2094866 w 2441576"/>
                <a:gd name="connsiteY19" fmla="*/ 0 h 900906"/>
                <a:gd name="connsiteX20" fmla="*/ 2176781 w 2441576"/>
                <a:gd name="connsiteY20" fmla="*/ 0 h 900906"/>
                <a:gd name="connsiteX21" fmla="*/ 2258696 w 2441576"/>
                <a:gd name="connsiteY21" fmla="*/ 0 h 900906"/>
                <a:gd name="connsiteX22" fmla="*/ 2321561 w 2441576"/>
                <a:gd name="connsiteY22" fmla="*/ 0 h 900906"/>
                <a:gd name="connsiteX23" fmla="*/ 2441576 w 2441576"/>
                <a:gd name="connsiteY23" fmla="*/ 0 h 900906"/>
                <a:gd name="connsiteX24" fmla="*/ 2441576 w 2441576"/>
                <a:gd name="connsiteY24" fmla="*/ 83444 h 900906"/>
                <a:gd name="connsiteX25" fmla="*/ 2441576 w 2441576"/>
                <a:gd name="connsiteY25" fmla="*/ 152052 h 900906"/>
                <a:gd name="connsiteX26" fmla="*/ 2441576 w 2441576"/>
                <a:gd name="connsiteY26" fmla="*/ 235496 h 900906"/>
                <a:gd name="connsiteX27" fmla="*/ 2441576 w 2441576"/>
                <a:gd name="connsiteY27" fmla="*/ 304104 h 900906"/>
                <a:gd name="connsiteX28" fmla="*/ 2441576 w 2441576"/>
                <a:gd name="connsiteY28" fmla="*/ 387548 h 900906"/>
                <a:gd name="connsiteX29" fmla="*/ 2441576 w 2441576"/>
                <a:gd name="connsiteY29" fmla="*/ 456156 h 900906"/>
                <a:gd name="connsiteX30" fmla="*/ 2441576 w 2441576"/>
                <a:gd name="connsiteY30" fmla="*/ 539600 h 900906"/>
                <a:gd name="connsiteX31" fmla="*/ 2441576 w 2441576"/>
                <a:gd name="connsiteY31" fmla="*/ 608208 h 900906"/>
                <a:gd name="connsiteX32" fmla="*/ 2441576 w 2441576"/>
                <a:gd name="connsiteY32" fmla="*/ 691652 h 900906"/>
                <a:gd name="connsiteX33" fmla="*/ 2441576 w 2441576"/>
                <a:gd name="connsiteY33" fmla="*/ 748854 h 900906"/>
                <a:gd name="connsiteX34" fmla="*/ 2441576 w 2441576"/>
                <a:gd name="connsiteY34" fmla="*/ 760260 h 900906"/>
                <a:gd name="connsiteX35" fmla="*/ 2441576 w 2441576"/>
                <a:gd name="connsiteY35" fmla="*/ 832298 h 900906"/>
                <a:gd name="connsiteX36" fmla="*/ 2441576 w 2441576"/>
                <a:gd name="connsiteY36" fmla="*/ 900906 h 900906"/>
                <a:gd name="connsiteX37" fmla="*/ 2321561 w 2441576"/>
                <a:gd name="connsiteY37" fmla="*/ 900906 h 900906"/>
                <a:gd name="connsiteX38" fmla="*/ 2239646 w 2441576"/>
                <a:gd name="connsiteY38" fmla="*/ 900906 h 900906"/>
                <a:gd name="connsiteX39" fmla="*/ 2176781 w 2441576"/>
                <a:gd name="connsiteY39" fmla="*/ 900906 h 900906"/>
                <a:gd name="connsiteX40" fmla="*/ 2109259 w 2441576"/>
                <a:gd name="connsiteY40" fmla="*/ 900906 h 900906"/>
                <a:gd name="connsiteX41" fmla="*/ 1941949 w 2441576"/>
                <a:gd name="connsiteY41" fmla="*/ 900906 h 900906"/>
                <a:gd name="connsiteX42" fmla="*/ 1824412 w 2441576"/>
                <a:gd name="connsiteY42" fmla="*/ 900906 h 900906"/>
                <a:gd name="connsiteX43" fmla="*/ 1609632 w 2441576"/>
                <a:gd name="connsiteY43" fmla="*/ 900906 h 900906"/>
                <a:gd name="connsiteX44" fmla="*/ 1539566 w 2441576"/>
                <a:gd name="connsiteY44" fmla="*/ 900906 h 900906"/>
                <a:gd name="connsiteX45" fmla="*/ 1324785 w 2441576"/>
                <a:gd name="connsiteY45" fmla="*/ 900906 h 900906"/>
                <a:gd name="connsiteX46" fmla="*/ 1254721 w 2441576"/>
                <a:gd name="connsiteY46" fmla="*/ 900906 h 900906"/>
                <a:gd name="connsiteX47" fmla="*/ 1039939 w 2441576"/>
                <a:gd name="connsiteY47" fmla="*/ 900906 h 900906"/>
                <a:gd name="connsiteX48" fmla="*/ 969874 w 2441576"/>
                <a:gd name="connsiteY48" fmla="*/ 900906 h 900906"/>
                <a:gd name="connsiteX49" fmla="*/ 755093 w 2441576"/>
                <a:gd name="connsiteY49" fmla="*/ 900906 h 900906"/>
                <a:gd name="connsiteX50" fmla="*/ 685028 w 2441576"/>
                <a:gd name="connsiteY50" fmla="*/ 900906 h 900906"/>
                <a:gd name="connsiteX51" fmla="*/ 581332 w 2441576"/>
                <a:gd name="connsiteY51" fmla="*/ 900906 h 900906"/>
                <a:gd name="connsiteX52" fmla="*/ 471351 w 2441576"/>
                <a:gd name="connsiteY52" fmla="*/ 900906 h 900906"/>
                <a:gd name="connsiteX53" fmla="*/ 470246 w 2441576"/>
                <a:gd name="connsiteY53" fmla="*/ 900906 h 900906"/>
                <a:gd name="connsiteX54" fmla="*/ 377080 w 2441576"/>
                <a:gd name="connsiteY54" fmla="*/ 900906 h 900906"/>
                <a:gd name="connsiteX55" fmla="*/ 282811 w 2441576"/>
                <a:gd name="connsiteY55" fmla="*/ 900906 h 900906"/>
                <a:gd name="connsiteX56" fmla="*/ 188541 w 2441576"/>
                <a:gd name="connsiteY56" fmla="*/ 900906 h 900906"/>
                <a:gd name="connsiteX57" fmla="*/ 185400 w 2441576"/>
                <a:gd name="connsiteY57" fmla="*/ 900906 h 900906"/>
                <a:gd name="connsiteX58" fmla="*/ 94270 w 2441576"/>
                <a:gd name="connsiteY58" fmla="*/ 900906 h 900906"/>
                <a:gd name="connsiteX59" fmla="*/ 0 w 2441576"/>
                <a:gd name="connsiteY59" fmla="*/ 900906 h 900906"/>
                <a:gd name="connsiteX60" fmla="*/ 0 w 2441576"/>
                <a:gd name="connsiteY60" fmla="*/ 832298 h 900906"/>
                <a:gd name="connsiteX61" fmla="*/ 0 w 2441576"/>
                <a:gd name="connsiteY61" fmla="*/ 760260 h 900906"/>
                <a:gd name="connsiteX62" fmla="*/ 0 w 2441576"/>
                <a:gd name="connsiteY62" fmla="*/ 748854 h 900906"/>
                <a:gd name="connsiteX63" fmla="*/ 0 w 2441576"/>
                <a:gd name="connsiteY63" fmla="*/ 691652 h 900906"/>
                <a:gd name="connsiteX64" fmla="*/ 0 w 2441576"/>
                <a:gd name="connsiteY64" fmla="*/ 608208 h 900906"/>
                <a:gd name="connsiteX65" fmla="*/ 0 w 2441576"/>
                <a:gd name="connsiteY65" fmla="*/ 539600 h 900906"/>
                <a:gd name="connsiteX66" fmla="*/ 0 w 2441576"/>
                <a:gd name="connsiteY66" fmla="*/ 456156 h 900906"/>
                <a:gd name="connsiteX67" fmla="*/ 0 w 2441576"/>
                <a:gd name="connsiteY67" fmla="*/ 387548 h 900906"/>
                <a:gd name="connsiteX68" fmla="*/ 0 w 2441576"/>
                <a:gd name="connsiteY68" fmla="*/ 304104 h 900906"/>
                <a:gd name="connsiteX69" fmla="*/ 0 w 2441576"/>
                <a:gd name="connsiteY69" fmla="*/ 235496 h 900906"/>
                <a:gd name="connsiteX70" fmla="*/ 0 w 2441576"/>
                <a:gd name="connsiteY70" fmla="*/ 152052 h 900906"/>
                <a:gd name="connsiteX71" fmla="*/ 0 w 2441576"/>
                <a:gd name="connsiteY71" fmla="*/ 83444 h 900906"/>
                <a:gd name="connsiteX72" fmla="*/ 0 w 2441576"/>
                <a:gd name="connsiteY72" fmla="*/ 0 h 900906"/>
                <a:gd name="connsiteX0" fmla="*/ 0 w 2441576"/>
                <a:gd name="connsiteY0" fmla="*/ 0 h 900906"/>
                <a:gd name="connsiteX1" fmla="*/ 94270 w 2441576"/>
                <a:gd name="connsiteY1" fmla="*/ 0 h 900906"/>
                <a:gd name="connsiteX2" fmla="*/ 185400 w 2441576"/>
                <a:gd name="connsiteY2" fmla="*/ 0 h 900906"/>
                <a:gd name="connsiteX3" fmla="*/ 188541 w 2441576"/>
                <a:gd name="connsiteY3" fmla="*/ 0 h 900906"/>
                <a:gd name="connsiteX4" fmla="*/ 282811 w 2441576"/>
                <a:gd name="connsiteY4" fmla="*/ 0 h 900906"/>
                <a:gd name="connsiteX5" fmla="*/ 377080 w 2441576"/>
                <a:gd name="connsiteY5" fmla="*/ 0 h 900906"/>
                <a:gd name="connsiteX6" fmla="*/ 470246 w 2441576"/>
                <a:gd name="connsiteY6" fmla="*/ 0 h 900906"/>
                <a:gd name="connsiteX7" fmla="*/ 471351 w 2441576"/>
                <a:gd name="connsiteY7" fmla="*/ 0 h 900906"/>
                <a:gd name="connsiteX8" fmla="*/ 581332 w 2441576"/>
                <a:gd name="connsiteY8" fmla="*/ 0 h 900906"/>
                <a:gd name="connsiteX9" fmla="*/ 685028 w 2441576"/>
                <a:gd name="connsiteY9" fmla="*/ 0 h 900906"/>
                <a:gd name="connsiteX10" fmla="*/ 755093 w 2441576"/>
                <a:gd name="connsiteY10" fmla="*/ 0 h 900906"/>
                <a:gd name="connsiteX11" fmla="*/ 969874 w 2441576"/>
                <a:gd name="connsiteY11" fmla="*/ 0 h 900906"/>
                <a:gd name="connsiteX12" fmla="*/ 1039939 w 2441576"/>
                <a:gd name="connsiteY12" fmla="*/ 0 h 900906"/>
                <a:gd name="connsiteX13" fmla="*/ 1254721 w 2441576"/>
                <a:gd name="connsiteY13" fmla="*/ 0 h 900906"/>
                <a:gd name="connsiteX14" fmla="*/ 1324785 w 2441576"/>
                <a:gd name="connsiteY14" fmla="*/ 0 h 900906"/>
                <a:gd name="connsiteX15" fmla="*/ 1539566 w 2441576"/>
                <a:gd name="connsiteY15" fmla="*/ 0 h 900906"/>
                <a:gd name="connsiteX16" fmla="*/ 1609632 w 2441576"/>
                <a:gd name="connsiteY16" fmla="*/ 0 h 900906"/>
                <a:gd name="connsiteX17" fmla="*/ 1824412 w 2441576"/>
                <a:gd name="connsiteY17" fmla="*/ 0 h 900906"/>
                <a:gd name="connsiteX18" fmla="*/ 1941949 w 2441576"/>
                <a:gd name="connsiteY18" fmla="*/ 0 h 900906"/>
                <a:gd name="connsiteX19" fmla="*/ 2094866 w 2441576"/>
                <a:gd name="connsiteY19" fmla="*/ 0 h 900906"/>
                <a:gd name="connsiteX20" fmla="*/ 2176781 w 2441576"/>
                <a:gd name="connsiteY20" fmla="*/ 0 h 900906"/>
                <a:gd name="connsiteX21" fmla="*/ 2258696 w 2441576"/>
                <a:gd name="connsiteY21" fmla="*/ 0 h 900906"/>
                <a:gd name="connsiteX22" fmla="*/ 2321561 w 2441576"/>
                <a:gd name="connsiteY22" fmla="*/ 0 h 900906"/>
                <a:gd name="connsiteX23" fmla="*/ 2441576 w 2441576"/>
                <a:gd name="connsiteY23" fmla="*/ 0 h 900906"/>
                <a:gd name="connsiteX24" fmla="*/ 2441576 w 2441576"/>
                <a:gd name="connsiteY24" fmla="*/ 83444 h 900906"/>
                <a:gd name="connsiteX25" fmla="*/ 2441576 w 2441576"/>
                <a:gd name="connsiteY25" fmla="*/ 152052 h 900906"/>
                <a:gd name="connsiteX26" fmla="*/ 2441576 w 2441576"/>
                <a:gd name="connsiteY26" fmla="*/ 235496 h 900906"/>
                <a:gd name="connsiteX27" fmla="*/ 2441576 w 2441576"/>
                <a:gd name="connsiteY27" fmla="*/ 304104 h 900906"/>
                <a:gd name="connsiteX28" fmla="*/ 2441576 w 2441576"/>
                <a:gd name="connsiteY28" fmla="*/ 387548 h 900906"/>
                <a:gd name="connsiteX29" fmla="*/ 2441576 w 2441576"/>
                <a:gd name="connsiteY29" fmla="*/ 456156 h 900906"/>
                <a:gd name="connsiteX30" fmla="*/ 2441576 w 2441576"/>
                <a:gd name="connsiteY30" fmla="*/ 539600 h 900906"/>
                <a:gd name="connsiteX31" fmla="*/ 2441576 w 2441576"/>
                <a:gd name="connsiteY31" fmla="*/ 608208 h 900906"/>
                <a:gd name="connsiteX32" fmla="*/ 2441576 w 2441576"/>
                <a:gd name="connsiteY32" fmla="*/ 691652 h 900906"/>
                <a:gd name="connsiteX33" fmla="*/ 2441576 w 2441576"/>
                <a:gd name="connsiteY33" fmla="*/ 760260 h 900906"/>
                <a:gd name="connsiteX34" fmla="*/ 2441576 w 2441576"/>
                <a:gd name="connsiteY34" fmla="*/ 832298 h 900906"/>
                <a:gd name="connsiteX35" fmla="*/ 2441576 w 2441576"/>
                <a:gd name="connsiteY35" fmla="*/ 900906 h 900906"/>
                <a:gd name="connsiteX36" fmla="*/ 2321561 w 2441576"/>
                <a:gd name="connsiteY36" fmla="*/ 900906 h 900906"/>
                <a:gd name="connsiteX37" fmla="*/ 2239646 w 2441576"/>
                <a:gd name="connsiteY37" fmla="*/ 900906 h 900906"/>
                <a:gd name="connsiteX38" fmla="*/ 2176781 w 2441576"/>
                <a:gd name="connsiteY38" fmla="*/ 900906 h 900906"/>
                <a:gd name="connsiteX39" fmla="*/ 2109259 w 2441576"/>
                <a:gd name="connsiteY39" fmla="*/ 900906 h 900906"/>
                <a:gd name="connsiteX40" fmla="*/ 1941949 w 2441576"/>
                <a:gd name="connsiteY40" fmla="*/ 900906 h 900906"/>
                <a:gd name="connsiteX41" fmla="*/ 1824412 w 2441576"/>
                <a:gd name="connsiteY41" fmla="*/ 900906 h 900906"/>
                <a:gd name="connsiteX42" fmla="*/ 1609632 w 2441576"/>
                <a:gd name="connsiteY42" fmla="*/ 900906 h 900906"/>
                <a:gd name="connsiteX43" fmla="*/ 1539566 w 2441576"/>
                <a:gd name="connsiteY43" fmla="*/ 900906 h 900906"/>
                <a:gd name="connsiteX44" fmla="*/ 1324785 w 2441576"/>
                <a:gd name="connsiteY44" fmla="*/ 900906 h 900906"/>
                <a:gd name="connsiteX45" fmla="*/ 1254721 w 2441576"/>
                <a:gd name="connsiteY45" fmla="*/ 900906 h 900906"/>
                <a:gd name="connsiteX46" fmla="*/ 1039939 w 2441576"/>
                <a:gd name="connsiteY46" fmla="*/ 900906 h 900906"/>
                <a:gd name="connsiteX47" fmla="*/ 969874 w 2441576"/>
                <a:gd name="connsiteY47" fmla="*/ 900906 h 900906"/>
                <a:gd name="connsiteX48" fmla="*/ 755093 w 2441576"/>
                <a:gd name="connsiteY48" fmla="*/ 900906 h 900906"/>
                <a:gd name="connsiteX49" fmla="*/ 685028 w 2441576"/>
                <a:gd name="connsiteY49" fmla="*/ 900906 h 900906"/>
                <a:gd name="connsiteX50" fmla="*/ 581332 w 2441576"/>
                <a:gd name="connsiteY50" fmla="*/ 900906 h 900906"/>
                <a:gd name="connsiteX51" fmla="*/ 471351 w 2441576"/>
                <a:gd name="connsiteY51" fmla="*/ 900906 h 900906"/>
                <a:gd name="connsiteX52" fmla="*/ 470246 w 2441576"/>
                <a:gd name="connsiteY52" fmla="*/ 900906 h 900906"/>
                <a:gd name="connsiteX53" fmla="*/ 377080 w 2441576"/>
                <a:gd name="connsiteY53" fmla="*/ 900906 h 900906"/>
                <a:gd name="connsiteX54" fmla="*/ 282811 w 2441576"/>
                <a:gd name="connsiteY54" fmla="*/ 900906 h 900906"/>
                <a:gd name="connsiteX55" fmla="*/ 188541 w 2441576"/>
                <a:gd name="connsiteY55" fmla="*/ 900906 h 900906"/>
                <a:gd name="connsiteX56" fmla="*/ 185400 w 2441576"/>
                <a:gd name="connsiteY56" fmla="*/ 900906 h 900906"/>
                <a:gd name="connsiteX57" fmla="*/ 94270 w 2441576"/>
                <a:gd name="connsiteY57" fmla="*/ 900906 h 900906"/>
                <a:gd name="connsiteX58" fmla="*/ 0 w 2441576"/>
                <a:gd name="connsiteY58" fmla="*/ 900906 h 900906"/>
                <a:gd name="connsiteX59" fmla="*/ 0 w 2441576"/>
                <a:gd name="connsiteY59" fmla="*/ 832298 h 900906"/>
                <a:gd name="connsiteX60" fmla="*/ 0 w 2441576"/>
                <a:gd name="connsiteY60" fmla="*/ 760260 h 900906"/>
                <a:gd name="connsiteX61" fmla="*/ 0 w 2441576"/>
                <a:gd name="connsiteY61" fmla="*/ 748854 h 900906"/>
                <a:gd name="connsiteX62" fmla="*/ 0 w 2441576"/>
                <a:gd name="connsiteY62" fmla="*/ 691652 h 900906"/>
                <a:gd name="connsiteX63" fmla="*/ 0 w 2441576"/>
                <a:gd name="connsiteY63" fmla="*/ 608208 h 900906"/>
                <a:gd name="connsiteX64" fmla="*/ 0 w 2441576"/>
                <a:gd name="connsiteY64" fmla="*/ 539600 h 900906"/>
                <a:gd name="connsiteX65" fmla="*/ 0 w 2441576"/>
                <a:gd name="connsiteY65" fmla="*/ 456156 h 900906"/>
                <a:gd name="connsiteX66" fmla="*/ 0 w 2441576"/>
                <a:gd name="connsiteY66" fmla="*/ 387548 h 900906"/>
                <a:gd name="connsiteX67" fmla="*/ 0 w 2441576"/>
                <a:gd name="connsiteY67" fmla="*/ 304104 h 900906"/>
                <a:gd name="connsiteX68" fmla="*/ 0 w 2441576"/>
                <a:gd name="connsiteY68" fmla="*/ 235496 h 900906"/>
                <a:gd name="connsiteX69" fmla="*/ 0 w 2441576"/>
                <a:gd name="connsiteY69" fmla="*/ 152052 h 900906"/>
                <a:gd name="connsiteX70" fmla="*/ 0 w 2441576"/>
                <a:gd name="connsiteY70" fmla="*/ 83444 h 900906"/>
                <a:gd name="connsiteX71" fmla="*/ 0 w 2441576"/>
                <a:gd name="connsiteY71" fmla="*/ 0 h 900906"/>
                <a:gd name="connsiteX0" fmla="*/ 0 w 2441576"/>
                <a:gd name="connsiteY0" fmla="*/ 0 h 900906"/>
                <a:gd name="connsiteX1" fmla="*/ 94270 w 2441576"/>
                <a:gd name="connsiteY1" fmla="*/ 0 h 900906"/>
                <a:gd name="connsiteX2" fmla="*/ 185400 w 2441576"/>
                <a:gd name="connsiteY2" fmla="*/ 0 h 900906"/>
                <a:gd name="connsiteX3" fmla="*/ 188541 w 2441576"/>
                <a:gd name="connsiteY3" fmla="*/ 0 h 900906"/>
                <a:gd name="connsiteX4" fmla="*/ 282811 w 2441576"/>
                <a:gd name="connsiteY4" fmla="*/ 0 h 900906"/>
                <a:gd name="connsiteX5" fmla="*/ 377080 w 2441576"/>
                <a:gd name="connsiteY5" fmla="*/ 0 h 900906"/>
                <a:gd name="connsiteX6" fmla="*/ 470246 w 2441576"/>
                <a:gd name="connsiteY6" fmla="*/ 0 h 900906"/>
                <a:gd name="connsiteX7" fmla="*/ 471351 w 2441576"/>
                <a:gd name="connsiteY7" fmla="*/ 0 h 900906"/>
                <a:gd name="connsiteX8" fmla="*/ 581332 w 2441576"/>
                <a:gd name="connsiteY8" fmla="*/ 0 h 900906"/>
                <a:gd name="connsiteX9" fmla="*/ 685028 w 2441576"/>
                <a:gd name="connsiteY9" fmla="*/ 0 h 900906"/>
                <a:gd name="connsiteX10" fmla="*/ 755093 w 2441576"/>
                <a:gd name="connsiteY10" fmla="*/ 0 h 900906"/>
                <a:gd name="connsiteX11" fmla="*/ 969874 w 2441576"/>
                <a:gd name="connsiteY11" fmla="*/ 0 h 900906"/>
                <a:gd name="connsiteX12" fmla="*/ 1039939 w 2441576"/>
                <a:gd name="connsiteY12" fmla="*/ 0 h 900906"/>
                <a:gd name="connsiteX13" fmla="*/ 1254721 w 2441576"/>
                <a:gd name="connsiteY13" fmla="*/ 0 h 900906"/>
                <a:gd name="connsiteX14" fmla="*/ 1324785 w 2441576"/>
                <a:gd name="connsiteY14" fmla="*/ 0 h 900906"/>
                <a:gd name="connsiteX15" fmla="*/ 1539566 w 2441576"/>
                <a:gd name="connsiteY15" fmla="*/ 0 h 900906"/>
                <a:gd name="connsiteX16" fmla="*/ 1609632 w 2441576"/>
                <a:gd name="connsiteY16" fmla="*/ 0 h 900906"/>
                <a:gd name="connsiteX17" fmla="*/ 1824412 w 2441576"/>
                <a:gd name="connsiteY17" fmla="*/ 0 h 900906"/>
                <a:gd name="connsiteX18" fmla="*/ 1941949 w 2441576"/>
                <a:gd name="connsiteY18" fmla="*/ 0 h 900906"/>
                <a:gd name="connsiteX19" fmla="*/ 2094866 w 2441576"/>
                <a:gd name="connsiteY19" fmla="*/ 0 h 900906"/>
                <a:gd name="connsiteX20" fmla="*/ 2176781 w 2441576"/>
                <a:gd name="connsiteY20" fmla="*/ 0 h 900906"/>
                <a:gd name="connsiteX21" fmla="*/ 2258696 w 2441576"/>
                <a:gd name="connsiteY21" fmla="*/ 0 h 900906"/>
                <a:gd name="connsiteX22" fmla="*/ 2321561 w 2441576"/>
                <a:gd name="connsiteY22" fmla="*/ 0 h 900906"/>
                <a:gd name="connsiteX23" fmla="*/ 2441576 w 2441576"/>
                <a:gd name="connsiteY23" fmla="*/ 0 h 900906"/>
                <a:gd name="connsiteX24" fmla="*/ 2441576 w 2441576"/>
                <a:gd name="connsiteY24" fmla="*/ 83444 h 900906"/>
                <a:gd name="connsiteX25" fmla="*/ 2441576 w 2441576"/>
                <a:gd name="connsiteY25" fmla="*/ 152052 h 900906"/>
                <a:gd name="connsiteX26" fmla="*/ 2441576 w 2441576"/>
                <a:gd name="connsiteY26" fmla="*/ 235496 h 900906"/>
                <a:gd name="connsiteX27" fmla="*/ 2441576 w 2441576"/>
                <a:gd name="connsiteY27" fmla="*/ 304104 h 900906"/>
                <a:gd name="connsiteX28" fmla="*/ 2441576 w 2441576"/>
                <a:gd name="connsiteY28" fmla="*/ 387548 h 900906"/>
                <a:gd name="connsiteX29" fmla="*/ 2441576 w 2441576"/>
                <a:gd name="connsiteY29" fmla="*/ 456156 h 900906"/>
                <a:gd name="connsiteX30" fmla="*/ 2441576 w 2441576"/>
                <a:gd name="connsiteY30" fmla="*/ 539600 h 900906"/>
                <a:gd name="connsiteX31" fmla="*/ 2441576 w 2441576"/>
                <a:gd name="connsiteY31" fmla="*/ 608208 h 900906"/>
                <a:gd name="connsiteX32" fmla="*/ 2441576 w 2441576"/>
                <a:gd name="connsiteY32" fmla="*/ 691652 h 900906"/>
                <a:gd name="connsiteX33" fmla="*/ 2441576 w 2441576"/>
                <a:gd name="connsiteY33" fmla="*/ 760260 h 900906"/>
                <a:gd name="connsiteX34" fmla="*/ 2441576 w 2441576"/>
                <a:gd name="connsiteY34" fmla="*/ 832298 h 900906"/>
                <a:gd name="connsiteX35" fmla="*/ 2441576 w 2441576"/>
                <a:gd name="connsiteY35" fmla="*/ 900906 h 900906"/>
                <a:gd name="connsiteX36" fmla="*/ 2321561 w 2441576"/>
                <a:gd name="connsiteY36" fmla="*/ 900906 h 900906"/>
                <a:gd name="connsiteX37" fmla="*/ 2239646 w 2441576"/>
                <a:gd name="connsiteY37" fmla="*/ 900906 h 900906"/>
                <a:gd name="connsiteX38" fmla="*/ 2176781 w 2441576"/>
                <a:gd name="connsiteY38" fmla="*/ 900906 h 900906"/>
                <a:gd name="connsiteX39" fmla="*/ 2109259 w 2441576"/>
                <a:gd name="connsiteY39" fmla="*/ 900906 h 900906"/>
                <a:gd name="connsiteX40" fmla="*/ 1941949 w 2441576"/>
                <a:gd name="connsiteY40" fmla="*/ 900906 h 900906"/>
                <a:gd name="connsiteX41" fmla="*/ 1824412 w 2441576"/>
                <a:gd name="connsiteY41" fmla="*/ 900906 h 900906"/>
                <a:gd name="connsiteX42" fmla="*/ 1609632 w 2441576"/>
                <a:gd name="connsiteY42" fmla="*/ 900906 h 900906"/>
                <a:gd name="connsiteX43" fmla="*/ 1539566 w 2441576"/>
                <a:gd name="connsiteY43" fmla="*/ 900906 h 900906"/>
                <a:gd name="connsiteX44" fmla="*/ 1324785 w 2441576"/>
                <a:gd name="connsiteY44" fmla="*/ 900906 h 900906"/>
                <a:gd name="connsiteX45" fmla="*/ 1254721 w 2441576"/>
                <a:gd name="connsiteY45" fmla="*/ 900906 h 900906"/>
                <a:gd name="connsiteX46" fmla="*/ 1039939 w 2441576"/>
                <a:gd name="connsiteY46" fmla="*/ 900906 h 900906"/>
                <a:gd name="connsiteX47" fmla="*/ 969874 w 2441576"/>
                <a:gd name="connsiteY47" fmla="*/ 900906 h 900906"/>
                <a:gd name="connsiteX48" fmla="*/ 755093 w 2441576"/>
                <a:gd name="connsiteY48" fmla="*/ 900906 h 900906"/>
                <a:gd name="connsiteX49" fmla="*/ 685028 w 2441576"/>
                <a:gd name="connsiteY49" fmla="*/ 900906 h 900906"/>
                <a:gd name="connsiteX50" fmla="*/ 581332 w 2441576"/>
                <a:gd name="connsiteY50" fmla="*/ 900906 h 900906"/>
                <a:gd name="connsiteX51" fmla="*/ 471351 w 2441576"/>
                <a:gd name="connsiteY51" fmla="*/ 900906 h 900906"/>
                <a:gd name="connsiteX52" fmla="*/ 470246 w 2441576"/>
                <a:gd name="connsiteY52" fmla="*/ 900906 h 900906"/>
                <a:gd name="connsiteX53" fmla="*/ 377080 w 2441576"/>
                <a:gd name="connsiteY53" fmla="*/ 900906 h 900906"/>
                <a:gd name="connsiteX54" fmla="*/ 282811 w 2441576"/>
                <a:gd name="connsiteY54" fmla="*/ 900906 h 900906"/>
                <a:gd name="connsiteX55" fmla="*/ 188541 w 2441576"/>
                <a:gd name="connsiteY55" fmla="*/ 900906 h 900906"/>
                <a:gd name="connsiteX56" fmla="*/ 185400 w 2441576"/>
                <a:gd name="connsiteY56" fmla="*/ 900906 h 900906"/>
                <a:gd name="connsiteX57" fmla="*/ 94270 w 2441576"/>
                <a:gd name="connsiteY57" fmla="*/ 900906 h 900906"/>
                <a:gd name="connsiteX58" fmla="*/ 0 w 2441576"/>
                <a:gd name="connsiteY58" fmla="*/ 900906 h 900906"/>
                <a:gd name="connsiteX59" fmla="*/ 0 w 2441576"/>
                <a:gd name="connsiteY59" fmla="*/ 832298 h 900906"/>
                <a:gd name="connsiteX60" fmla="*/ 0 w 2441576"/>
                <a:gd name="connsiteY60" fmla="*/ 760260 h 900906"/>
                <a:gd name="connsiteX61" fmla="*/ 0 w 2441576"/>
                <a:gd name="connsiteY61" fmla="*/ 691652 h 900906"/>
                <a:gd name="connsiteX62" fmla="*/ 0 w 2441576"/>
                <a:gd name="connsiteY62" fmla="*/ 608208 h 900906"/>
                <a:gd name="connsiteX63" fmla="*/ 0 w 2441576"/>
                <a:gd name="connsiteY63" fmla="*/ 539600 h 900906"/>
                <a:gd name="connsiteX64" fmla="*/ 0 w 2441576"/>
                <a:gd name="connsiteY64" fmla="*/ 456156 h 900906"/>
                <a:gd name="connsiteX65" fmla="*/ 0 w 2441576"/>
                <a:gd name="connsiteY65" fmla="*/ 387548 h 900906"/>
                <a:gd name="connsiteX66" fmla="*/ 0 w 2441576"/>
                <a:gd name="connsiteY66" fmla="*/ 304104 h 900906"/>
                <a:gd name="connsiteX67" fmla="*/ 0 w 2441576"/>
                <a:gd name="connsiteY67" fmla="*/ 235496 h 900906"/>
                <a:gd name="connsiteX68" fmla="*/ 0 w 2441576"/>
                <a:gd name="connsiteY68" fmla="*/ 152052 h 900906"/>
                <a:gd name="connsiteX69" fmla="*/ 0 w 2441576"/>
                <a:gd name="connsiteY69" fmla="*/ 83444 h 900906"/>
                <a:gd name="connsiteX70" fmla="*/ 0 w 2441576"/>
                <a:gd name="connsiteY70" fmla="*/ 0 h 900906"/>
                <a:gd name="connsiteX0" fmla="*/ 0 w 2441576"/>
                <a:gd name="connsiteY0" fmla="*/ 247 h 901153"/>
                <a:gd name="connsiteX1" fmla="*/ 94270 w 2441576"/>
                <a:gd name="connsiteY1" fmla="*/ 247 h 901153"/>
                <a:gd name="connsiteX2" fmla="*/ 185400 w 2441576"/>
                <a:gd name="connsiteY2" fmla="*/ 247 h 901153"/>
                <a:gd name="connsiteX3" fmla="*/ 188541 w 2441576"/>
                <a:gd name="connsiteY3" fmla="*/ 247 h 901153"/>
                <a:gd name="connsiteX4" fmla="*/ 282811 w 2441576"/>
                <a:gd name="connsiteY4" fmla="*/ 247 h 901153"/>
                <a:gd name="connsiteX5" fmla="*/ 377080 w 2441576"/>
                <a:gd name="connsiteY5" fmla="*/ 247 h 901153"/>
                <a:gd name="connsiteX6" fmla="*/ 470246 w 2441576"/>
                <a:gd name="connsiteY6" fmla="*/ 247 h 901153"/>
                <a:gd name="connsiteX7" fmla="*/ 471351 w 2441576"/>
                <a:gd name="connsiteY7" fmla="*/ 247 h 901153"/>
                <a:gd name="connsiteX8" fmla="*/ 581332 w 2441576"/>
                <a:gd name="connsiteY8" fmla="*/ 247 h 901153"/>
                <a:gd name="connsiteX9" fmla="*/ 685028 w 2441576"/>
                <a:gd name="connsiteY9" fmla="*/ 247 h 901153"/>
                <a:gd name="connsiteX10" fmla="*/ 755093 w 2441576"/>
                <a:gd name="connsiteY10" fmla="*/ 247 h 901153"/>
                <a:gd name="connsiteX11" fmla="*/ 969874 w 2441576"/>
                <a:gd name="connsiteY11" fmla="*/ 247 h 901153"/>
                <a:gd name="connsiteX12" fmla="*/ 1039939 w 2441576"/>
                <a:gd name="connsiteY12" fmla="*/ 247 h 901153"/>
                <a:gd name="connsiteX13" fmla="*/ 1254721 w 2441576"/>
                <a:gd name="connsiteY13" fmla="*/ 247 h 901153"/>
                <a:gd name="connsiteX14" fmla="*/ 1324785 w 2441576"/>
                <a:gd name="connsiteY14" fmla="*/ 247 h 901153"/>
                <a:gd name="connsiteX15" fmla="*/ 1430031 w 2441576"/>
                <a:gd name="connsiteY15" fmla="*/ 0 h 901153"/>
                <a:gd name="connsiteX16" fmla="*/ 1539566 w 2441576"/>
                <a:gd name="connsiteY16" fmla="*/ 247 h 901153"/>
                <a:gd name="connsiteX17" fmla="*/ 1609632 w 2441576"/>
                <a:gd name="connsiteY17" fmla="*/ 247 h 901153"/>
                <a:gd name="connsiteX18" fmla="*/ 1824412 w 2441576"/>
                <a:gd name="connsiteY18" fmla="*/ 247 h 901153"/>
                <a:gd name="connsiteX19" fmla="*/ 1941949 w 2441576"/>
                <a:gd name="connsiteY19" fmla="*/ 247 h 901153"/>
                <a:gd name="connsiteX20" fmla="*/ 2094866 w 2441576"/>
                <a:gd name="connsiteY20" fmla="*/ 247 h 901153"/>
                <a:gd name="connsiteX21" fmla="*/ 2176781 w 2441576"/>
                <a:gd name="connsiteY21" fmla="*/ 247 h 901153"/>
                <a:gd name="connsiteX22" fmla="*/ 2258696 w 2441576"/>
                <a:gd name="connsiteY22" fmla="*/ 247 h 901153"/>
                <a:gd name="connsiteX23" fmla="*/ 2321561 w 2441576"/>
                <a:gd name="connsiteY23" fmla="*/ 247 h 901153"/>
                <a:gd name="connsiteX24" fmla="*/ 2441576 w 2441576"/>
                <a:gd name="connsiteY24" fmla="*/ 247 h 901153"/>
                <a:gd name="connsiteX25" fmla="*/ 2441576 w 2441576"/>
                <a:gd name="connsiteY25" fmla="*/ 83691 h 901153"/>
                <a:gd name="connsiteX26" fmla="*/ 2441576 w 2441576"/>
                <a:gd name="connsiteY26" fmla="*/ 152299 h 901153"/>
                <a:gd name="connsiteX27" fmla="*/ 2441576 w 2441576"/>
                <a:gd name="connsiteY27" fmla="*/ 235743 h 901153"/>
                <a:gd name="connsiteX28" fmla="*/ 2441576 w 2441576"/>
                <a:gd name="connsiteY28" fmla="*/ 304351 h 901153"/>
                <a:gd name="connsiteX29" fmla="*/ 2441576 w 2441576"/>
                <a:gd name="connsiteY29" fmla="*/ 387795 h 901153"/>
                <a:gd name="connsiteX30" fmla="*/ 2441576 w 2441576"/>
                <a:gd name="connsiteY30" fmla="*/ 456403 h 901153"/>
                <a:gd name="connsiteX31" fmla="*/ 2441576 w 2441576"/>
                <a:gd name="connsiteY31" fmla="*/ 539847 h 901153"/>
                <a:gd name="connsiteX32" fmla="*/ 2441576 w 2441576"/>
                <a:gd name="connsiteY32" fmla="*/ 608455 h 901153"/>
                <a:gd name="connsiteX33" fmla="*/ 2441576 w 2441576"/>
                <a:gd name="connsiteY33" fmla="*/ 691899 h 901153"/>
                <a:gd name="connsiteX34" fmla="*/ 2441576 w 2441576"/>
                <a:gd name="connsiteY34" fmla="*/ 760507 h 901153"/>
                <a:gd name="connsiteX35" fmla="*/ 2441576 w 2441576"/>
                <a:gd name="connsiteY35" fmla="*/ 832545 h 901153"/>
                <a:gd name="connsiteX36" fmla="*/ 2441576 w 2441576"/>
                <a:gd name="connsiteY36" fmla="*/ 901153 h 901153"/>
                <a:gd name="connsiteX37" fmla="*/ 2321561 w 2441576"/>
                <a:gd name="connsiteY37" fmla="*/ 901153 h 901153"/>
                <a:gd name="connsiteX38" fmla="*/ 2239646 w 2441576"/>
                <a:gd name="connsiteY38" fmla="*/ 901153 h 901153"/>
                <a:gd name="connsiteX39" fmla="*/ 2176781 w 2441576"/>
                <a:gd name="connsiteY39" fmla="*/ 901153 h 901153"/>
                <a:gd name="connsiteX40" fmla="*/ 2109259 w 2441576"/>
                <a:gd name="connsiteY40" fmla="*/ 901153 h 901153"/>
                <a:gd name="connsiteX41" fmla="*/ 1941949 w 2441576"/>
                <a:gd name="connsiteY41" fmla="*/ 901153 h 901153"/>
                <a:gd name="connsiteX42" fmla="*/ 1824412 w 2441576"/>
                <a:gd name="connsiteY42" fmla="*/ 901153 h 901153"/>
                <a:gd name="connsiteX43" fmla="*/ 1609632 w 2441576"/>
                <a:gd name="connsiteY43" fmla="*/ 901153 h 901153"/>
                <a:gd name="connsiteX44" fmla="*/ 1539566 w 2441576"/>
                <a:gd name="connsiteY44" fmla="*/ 901153 h 901153"/>
                <a:gd name="connsiteX45" fmla="*/ 1324785 w 2441576"/>
                <a:gd name="connsiteY45" fmla="*/ 901153 h 901153"/>
                <a:gd name="connsiteX46" fmla="*/ 1254721 w 2441576"/>
                <a:gd name="connsiteY46" fmla="*/ 901153 h 901153"/>
                <a:gd name="connsiteX47" fmla="*/ 1039939 w 2441576"/>
                <a:gd name="connsiteY47" fmla="*/ 901153 h 901153"/>
                <a:gd name="connsiteX48" fmla="*/ 969874 w 2441576"/>
                <a:gd name="connsiteY48" fmla="*/ 901153 h 901153"/>
                <a:gd name="connsiteX49" fmla="*/ 755093 w 2441576"/>
                <a:gd name="connsiteY49" fmla="*/ 901153 h 901153"/>
                <a:gd name="connsiteX50" fmla="*/ 685028 w 2441576"/>
                <a:gd name="connsiteY50" fmla="*/ 901153 h 901153"/>
                <a:gd name="connsiteX51" fmla="*/ 581332 w 2441576"/>
                <a:gd name="connsiteY51" fmla="*/ 901153 h 901153"/>
                <a:gd name="connsiteX52" fmla="*/ 471351 w 2441576"/>
                <a:gd name="connsiteY52" fmla="*/ 901153 h 901153"/>
                <a:gd name="connsiteX53" fmla="*/ 470246 w 2441576"/>
                <a:gd name="connsiteY53" fmla="*/ 901153 h 901153"/>
                <a:gd name="connsiteX54" fmla="*/ 377080 w 2441576"/>
                <a:gd name="connsiteY54" fmla="*/ 901153 h 901153"/>
                <a:gd name="connsiteX55" fmla="*/ 282811 w 2441576"/>
                <a:gd name="connsiteY55" fmla="*/ 901153 h 901153"/>
                <a:gd name="connsiteX56" fmla="*/ 188541 w 2441576"/>
                <a:gd name="connsiteY56" fmla="*/ 901153 h 901153"/>
                <a:gd name="connsiteX57" fmla="*/ 185400 w 2441576"/>
                <a:gd name="connsiteY57" fmla="*/ 901153 h 901153"/>
                <a:gd name="connsiteX58" fmla="*/ 94270 w 2441576"/>
                <a:gd name="connsiteY58" fmla="*/ 901153 h 901153"/>
                <a:gd name="connsiteX59" fmla="*/ 0 w 2441576"/>
                <a:gd name="connsiteY59" fmla="*/ 901153 h 901153"/>
                <a:gd name="connsiteX60" fmla="*/ 0 w 2441576"/>
                <a:gd name="connsiteY60" fmla="*/ 832545 h 901153"/>
                <a:gd name="connsiteX61" fmla="*/ 0 w 2441576"/>
                <a:gd name="connsiteY61" fmla="*/ 760507 h 901153"/>
                <a:gd name="connsiteX62" fmla="*/ 0 w 2441576"/>
                <a:gd name="connsiteY62" fmla="*/ 691899 h 901153"/>
                <a:gd name="connsiteX63" fmla="*/ 0 w 2441576"/>
                <a:gd name="connsiteY63" fmla="*/ 608455 h 901153"/>
                <a:gd name="connsiteX64" fmla="*/ 0 w 2441576"/>
                <a:gd name="connsiteY64" fmla="*/ 539847 h 901153"/>
                <a:gd name="connsiteX65" fmla="*/ 0 w 2441576"/>
                <a:gd name="connsiteY65" fmla="*/ 456403 h 901153"/>
                <a:gd name="connsiteX66" fmla="*/ 0 w 2441576"/>
                <a:gd name="connsiteY66" fmla="*/ 387795 h 901153"/>
                <a:gd name="connsiteX67" fmla="*/ 0 w 2441576"/>
                <a:gd name="connsiteY67" fmla="*/ 304351 h 901153"/>
                <a:gd name="connsiteX68" fmla="*/ 0 w 2441576"/>
                <a:gd name="connsiteY68" fmla="*/ 235743 h 901153"/>
                <a:gd name="connsiteX69" fmla="*/ 0 w 2441576"/>
                <a:gd name="connsiteY69" fmla="*/ 152299 h 901153"/>
                <a:gd name="connsiteX70" fmla="*/ 0 w 2441576"/>
                <a:gd name="connsiteY70" fmla="*/ 83691 h 901153"/>
                <a:gd name="connsiteX71" fmla="*/ 0 w 2441576"/>
                <a:gd name="connsiteY71" fmla="*/ 247 h 901153"/>
                <a:gd name="connsiteX0" fmla="*/ 0 w 2441576"/>
                <a:gd name="connsiteY0" fmla="*/ 247 h 901154"/>
                <a:gd name="connsiteX1" fmla="*/ 94270 w 2441576"/>
                <a:gd name="connsiteY1" fmla="*/ 247 h 901154"/>
                <a:gd name="connsiteX2" fmla="*/ 185400 w 2441576"/>
                <a:gd name="connsiteY2" fmla="*/ 247 h 901154"/>
                <a:gd name="connsiteX3" fmla="*/ 188541 w 2441576"/>
                <a:gd name="connsiteY3" fmla="*/ 247 h 901154"/>
                <a:gd name="connsiteX4" fmla="*/ 282811 w 2441576"/>
                <a:gd name="connsiteY4" fmla="*/ 247 h 901154"/>
                <a:gd name="connsiteX5" fmla="*/ 377080 w 2441576"/>
                <a:gd name="connsiteY5" fmla="*/ 247 h 901154"/>
                <a:gd name="connsiteX6" fmla="*/ 470246 w 2441576"/>
                <a:gd name="connsiteY6" fmla="*/ 247 h 901154"/>
                <a:gd name="connsiteX7" fmla="*/ 471351 w 2441576"/>
                <a:gd name="connsiteY7" fmla="*/ 247 h 901154"/>
                <a:gd name="connsiteX8" fmla="*/ 581332 w 2441576"/>
                <a:gd name="connsiteY8" fmla="*/ 247 h 901154"/>
                <a:gd name="connsiteX9" fmla="*/ 685028 w 2441576"/>
                <a:gd name="connsiteY9" fmla="*/ 247 h 901154"/>
                <a:gd name="connsiteX10" fmla="*/ 755093 w 2441576"/>
                <a:gd name="connsiteY10" fmla="*/ 247 h 901154"/>
                <a:gd name="connsiteX11" fmla="*/ 969874 w 2441576"/>
                <a:gd name="connsiteY11" fmla="*/ 247 h 901154"/>
                <a:gd name="connsiteX12" fmla="*/ 1039939 w 2441576"/>
                <a:gd name="connsiteY12" fmla="*/ 247 h 901154"/>
                <a:gd name="connsiteX13" fmla="*/ 1254721 w 2441576"/>
                <a:gd name="connsiteY13" fmla="*/ 247 h 901154"/>
                <a:gd name="connsiteX14" fmla="*/ 1324785 w 2441576"/>
                <a:gd name="connsiteY14" fmla="*/ 247 h 901154"/>
                <a:gd name="connsiteX15" fmla="*/ 1430031 w 2441576"/>
                <a:gd name="connsiteY15" fmla="*/ 0 h 901154"/>
                <a:gd name="connsiteX16" fmla="*/ 1539566 w 2441576"/>
                <a:gd name="connsiteY16" fmla="*/ 247 h 901154"/>
                <a:gd name="connsiteX17" fmla="*/ 1609632 w 2441576"/>
                <a:gd name="connsiteY17" fmla="*/ 247 h 901154"/>
                <a:gd name="connsiteX18" fmla="*/ 1824412 w 2441576"/>
                <a:gd name="connsiteY18" fmla="*/ 247 h 901154"/>
                <a:gd name="connsiteX19" fmla="*/ 1941949 w 2441576"/>
                <a:gd name="connsiteY19" fmla="*/ 247 h 901154"/>
                <a:gd name="connsiteX20" fmla="*/ 2094866 w 2441576"/>
                <a:gd name="connsiteY20" fmla="*/ 247 h 901154"/>
                <a:gd name="connsiteX21" fmla="*/ 2176781 w 2441576"/>
                <a:gd name="connsiteY21" fmla="*/ 247 h 901154"/>
                <a:gd name="connsiteX22" fmla="*/ 2258696 w 2441576"/>
                <a:gd name="connsiteY22" fmla="*/ 247 h 901154"/>
                <a:gd name="connsiteX23" fmla="*/ 2321561 w 2441576"/>
                <a:gd name="connsiteY23" fmla="*/ 247 h 901154"/>
                <a:gd name="connsiteX24" fmla="*/ 2441576 w 2441576"/>
                <a:gd name="connsiteY24" fmla="*/ 247 h 901154"/>
                <a:gd name="connsiteX25" fmla="*/ 2441576 w 2441576"/>
                <a:gd name="connsiteY25" fmla="*/ 83691 h 901154"/>
                <a:gd name="connsiteX26" fmla="*/ 2441576 w 2441576"/>
                <a:gd name="connsiteY26" fmla="*/ 152299 h 901154"/>
                <a:gd name="connsiteX27" fmla="*/ 2441576 w 2441576"/>
                <a:gd name="connsiteY27" fmla="*/ 235743 h 901154"/>
                <a:gd name="connsiteX28" fmla="*/ 2441576 w 2441576"/>
                <a:gd name="connsiteY28" fmla="*/ 304351 h 901154"/>
                <a:gd name="connsiteX29" fmla="*/ 2441576 w 2441576"/>
                <a:gd name="connsiteY29" fmla="*/ 387795 h 901154"/>
                <a:gd name="connsiteX30" fmla="*/ 2441576 w 2441576"/>
                <a:gd name="connsiteY30" fmla="*/ 456403 h 901154"/>
                <a:gd name="connsiteX31" fmla="*/ 2441576 w 2441576"/>
                <a:gd name="connsiteY31" fmla="*/ 539847 h 901154"/>
                <a:gd name="connsiteX32" fmla="*/ 2441576 w 2441576"/>
                <a:gd name="connsiteY32" fmla="*/ 608455 h 901154"/>
                <a:gd name="connsiteX33" fmla="*/ 2441576 w 2441576"/>
                <a:gd name="connsiteY33" fmla="*/ 691899 h 901154"/>
                <a:gd name="connsiteX34" fmla="*/ 2441576 w 2441576"/>
                <a:gd name="connsiteY34" fmla="*/ 760507 h 901154"/>
                <a:gd name="connsiteX35" fmla="*/ 2441576 w 2441576"/>
                <a:gd name="connsiteY35" fmla="*/ 832545 h 901154"/>
                <a:gd name="connsiteX36" fmla="*/ 2441576 w 2441576"/>
                <a:gd name="connsiteY36" fmla="*/ 901153 h 901154"/>
                <a:gd name="connsiteX37" fmla="*/ 2321561 w 2441576"/>
                <a:gd name="connsiteY37" fmla="*/ 901153 h 901154"/>
                <a:gd name="connsiteX38" fmla="*/ 2239646 w 2441576"/>
                <a:gd name="connsiteY38" fmla="*/ 901153 h 901154"/>
                <a:gd name="connsiteX39" fmla="*/ 2176781 w 2441576"/>
                <a:gd name="connsiteY39" fmla="*/ 901153 h 901154"/>
                <a:gd name="connsiteX40" fmla="*/ 2109259 w 2441576"/>
                <a:gd name="connsiteY40" fmla="*/ 901153 h 901154"/>
                <a:gd name="connsiteX41" fmla="*/ 1941949 w 2441576"/>
                <a:gd name="connsiteY41" fmla="*/ 901153 h 901154"/>
                <a:gd name="connsiteX42" fmla="*/ 1824412 w 2441576"/>
                <a:gd name="connsiteY42" fmla="*/ 901153 h 901154"/>
                <a:gd name="connsiteX43" fmla="*/ 1609632 w 2441576"/>
                <a:gd name="connsiteY43" fmla="*/ 901153 h 901154"/>
                <a:gd name="connsiteX44" fmla="*/ 1539566 w 2441576"/>
                <a:gd name="connsiteY44" fmla="*/ 901153 h 901154"/>
                <a:gd name="connsiteX45" fmla="*/ 1324785 w 2441576"/>
                <a:gd name="connsiteY45" fmla="*/ 901153 h 901154"/>
                <a:gd name="connsiteX46" fmla="*/ 1254721 w 2441576"/>
                <a:gd name="connsiteY46" fmla="*/ 901153 h 901154"/>
                <a:gd name="connsiteX47" fmla="*/ 1039939 w 2441576"/>
                <a:gd name="connsiteY47" fmla="*/ 901153 h 901154"/>
                <a:gd name="connsiteX48" fmla="*/ 969874 w 2441576"/>
                <a:gd name="connsiteY48" fmla="*/ 901153 h 901154"/>
                <a:gd name="connsiteX49" fmla="*/ 864820 w 2441576"/>
                <a:gd name="connsiteY49" fmla="*/ 901154 h 901154"/>
                <a:gd name="connsiteX50" fmla="*/ 755093 w 2441576"/>
                <a:gd name="connsiteY50" fmla="*/ 901153 h 901154"/>
                <a:gd name="connsiteX51" fmla="*/ 685028 w 2441576"/>
                <a:gd name="connsiteY51" fmla="*/ 901153 h 901154"/>
                <a:gd name="connsiteX52" fmla="*/ 581332 w 2441576"/>
                <a:gd name="connsiteY52" fmla="*/ 901153 h 901154"/>
                <a:gd name="connsiteX53" fmla="*/ 471351 w 2441576"/>
                <a:gd name="connsiteY53" fmla="*/ 901153 h 901154"/>
                <a:gd name="connsiteX54" fmla="*/ 470246 w 2441576"/>
                <a:gd name="connsiteY54" fmla="*/ 901153 h 901154"/>
                <a:gd name="connsiteX55" fmla="*/ 377080 w 2441576"/>
                <a:gd name="connsiteY55" fmla="*/ 901153 h 901154"/>
                <a:gd name="connsiteX56" fmla="*/ 282811 w 2441576"/>
                <a:gd name="connsiteY56" fmla="*/ 901153 h 901154"/>
                <a:gd name="connsiteX57" fmla="*/ 188541 w 2441576"/>
                <a:gd name="connsiteY57" fmla="*/ 901153 h 901154"/>
                <a:gd name="connsiteX58" fmla="*/ 185400 w 2441576"/>
                <a:gd name="connsiteY58" fmla="*/ 901153 h 901154"/>
                <a:gd name="connsiteX59" fmla="*/ 94270 w 2441576"/>
                <a:gd name="connsiteY59" fmla="*/ 901153 h 901154"/>
                <a:gd name="connsiteX60" fmla="*/ 0 w 2441576"/>
                <a:gd name="connsiteY60" fmla="*/ 901153 h 901154"/>
                <a:gd name="connsiteX61" fmla="*/ 0 w 2441576"/>
                <a:gd name="connsiteY61" fmla="*/ 832545 h 901154"/>
                <a:gd name="connsiteX62" fmla="*/ 0 w 2441576"/>
                <a:gd name="connsiteY62" fmla="*/ 760507 h 901154"/>
                <a:gd name="connsiteX63" fmla="*/ 0 w 2441576"/>
                <a:gd name="connsiteY63" fmla="*/ 691899 h 901154"/>
                <a:gd name="connsiteX64" fmla="*/ 0 w 2441576"/>
                <a:gd name="connsiteY64" fmla="*/ 608455 h 901154"/>
                <a:gd name="connsiteX65" fmla="*/ 0 w 2441576"/>
                <a:gd name="connsiteY65" fmla="*/ 539847 h 901154"/>
                <a:gd name="connsiteX66" fmla="*/ 0 w 2441576"/>
                <a:gd name="connsiteY66" fmla="*/ 456403 h 901154"/>
                <a:gd name="connsiteX67" fmla="*/ 0 w 2441576"/>
                <a:gd name="connsiteY67" fmla="*/ 387795 h 901154"/>
                <a:gd name="connsiteX68" fmla="*/ 0 w 2441576"/>
                <a:gd name="connsiteY68" fmla="*/ 304351 h 901154"/>
                <a:gd name="connsiteX69" fmla="*/ 0 w 2441576"/>
                <a:gd name="connsiteY69" fmla="*/ 235743 h 901154"/>
                <a:gd name="connsiteX70" fmla="*/ 0 w 2441576"/>
                <a:gd name="connsiteY70" fmla="*/ 152299 h 901154"/>
                <a:gd name="connsiteX71" fmla="*/ 0 w 2441576"/>
                <a:gd name="connsiteY71" fmla="*/ 83691 h 901154"/>
                <a:gd name="connsiteX72" fmla="*/ 0 w 2441576"/>
                <a:gd name="connsiteY72" fmla="*/ 247 h 901154"/>
                <a:gd name="connsiteX0" fmla="*/ 0 w 2441576"/>
                <a:gd name="connsiteY0" fmla="*/ 247 h 901154"/>
                <a:gd name="connsiteX1" fmla="*/ 94270 w 2441576"/>
                <a:gd name="connsiteY1" fmla="*/ 247 h 901154"/>
                <a:gd name="connsiteX2" fmla="*/ 185400 w 2441576"/>
                <a:gd name="connsiteY2" fmla="*/ 247 h 901154"/>
                <a:gd name="connsiteX3" fmla="*/ 188541 w 2441576"/>
                <a:gd name="connsiteY3" fmla="*/ 247 h 901154"/>
                <a:gd name="connsiteX4" fmla="*/ 282811 w 2441576"/>
                <a:gd name="connsiteY4" fmla="*/ 247 h 901154"/>
                <a:gd name="connsiteX5" fmla="*/ 377080 w 2441576"/>
                <a:gd name="connsiteY5" fmla="*/ 247 h 901154"/>
                <a:gd name="connsiteX6" fmla="*/ 470246 w 2441576"/>
                <a:gd name="connsiteY6" fmla="*/ 247 h 901154"/>
                <a:gd name="connsiteX7" fmla="*/ 471351 w 2441576"/>
                <a:gd name="connsiteY7" fmla="*/ 247 h 901154"/>
                <a:gd name="connsiteX8" fmla="*/ 581332 w 2441576"/>
                <a:gd name="connsiteY8" fmla="*/ 247 h 901154"/>
                <a:gd name="connsiteX9" fmla="*/ 685028 w 2441576"/>
                <a:gd name="connsiteY9" fmla="*/ 247 h 901154"/>
                <a:gd name="connsiteX10" fmla="*/ 755093 w 2441576"/>
                <a:gd name="connsiteY10" fmla="*/ 247 h 901154"/>
                <a:gd name="connsiteX11" fmla="*/ 969874 w 2441576"/>
                <a:gd name="connsiteY11" fmla="*/ 247 h 901154"/>
                <a:gd name="connsiteX12" fmla="*/ 1039939 w 2441576"/>
                <a:gd name="connsiteY12" fmla="*/ 247 h 901154"/>
                <a:gd name="connsiteX13" fmla="*/ 1254721 w 2441576"/>
                <a:gd name="connsiteY13" fmla="*/ 247 h 901154"/>
                <a:gd name="connsiteX14" fmla="*/ 1324785 w 2441576"/>
                <a:gd name="connsiteY14" fmla="*/ 247 h 901154"/>
                <a:gd name="connsiteX15" fmla="*/ 1430031 w 2441576"/>
                <a:gd name="connsiteY15" fmla="*/ 0 h 901154"/>
                <a:gd name="connsiteX16" fmla="*/ 1539566 w 2441576"/>
                <a:gd name="connsiteY16" fmla="*/ 247 h 901154"/>
                <a:gd name="connsiteX17" fmla="*/ 1609632 w 2441576"/>
                <a:gd name="connsiteY17" fmla="*/ 247 h 901154"/>
                <a:gd name="connsiteX18" fmla="*/ 1824412 w 2441576"/>
                <a:gd name="connsiteY18" fmla="*/ 247 h 901154"/>
                <a:gd name="connsiteX19" fmla="*/ 1941949 w 2441576"/>
                <a:gd name="connsiteY19" fmla="*/ 247 h 901154"/>
                <a:gd name="connsiteX20" fmla="*/ 2094866 w 2441576"/>
                <a:gd name="connsiteY20" fmla="*/ 247 h 901154"/>
                <a:gd name="connsiteX21" fmla="*/ 2176781 w 2441576"/>
                <a:gd name="connsiteY21" fmla="*/ 247 h 901154"/>
                <a:gd name="connsiteX22" fmla="*/ 2258696 w 2441576"/>
                <a:gd name="connsiteY22" fmla="*/ 247 h 901154"/>
                <a:gd name="connsiteX23" fmla="*/ 2321561 w 2441576"/>
                <a:gd name="connsiteY23" fmla="*/ 247 h 901154"/>
                <a:gd name="connsiteX24" fmla="*/ 2441576 w 2441576"/>
                <a:gd name="connsiteY24" fmla="*/ 247 h 901154"/>
                <a:gd name="connsiteX25" fmla="*/ 2441576 w 2441576"/>
                <a:gd name="connsiteY25" fmla="*/ 83691 h 901154"/>
                <a:gd name="connsiteX26" fmla="*/ 2441576 w 2441576"/>
                <a:gd name="connsiteY26" fmla="*/ 152299 h 901154"/>
                <a:gd name="connsiteX27" fmla="*/ 2441576 w 2441576"/>
                <a:gd name="connsiteY27" fmla="*/ 235743 h 901154"/>
                <a:gd name="connsiteX28" fmla="*/ 2441576 w 2441576"/>
                <a:gd name="connsiteY28" fmla="*/ 304351 h 901154"/>
                <a:gd name="connsiteX29" fmla="*/ 2441576 w 2441576"/>
                <a:gd name="connsiteY29" fmla="*/ 387795 h 901154"/>
                <a:gd name="connsiteX30" fmla="*/ 2441576 w 2441576"/>
                <a:gd name="connsiteY30" fmla="*/ 456403 h 901154"/>
                <a:gd name="connsiteX31" fmla="*/ 2441576 w 2441576"/>
                <a:gd name="connsiteY31" fmla="*/ 539847 h 901154"/>
                <a:gd name="connsiteX32" fmla="*/ 2441576 w 2441576"/>
                <a:gd name="connsiteY32" fmla="*/ 608455 h 901154"/>
                <a:gd name="connsiteX33" fmla="*/ 2441576 w 2441576"/>
                <a:gd name="connsiteY33" fmla="*/ 691899 h 901154"/>
                <a:gd name="connsiteX34" fmla="*/ 2441576 w 2441576"/>
                <a:gd name="connsiteY34" fmla="*/ 760507 h 901154"/>
                <a:gd name="connsiteX35" fmla="*/ 2441576 w 2441576"/>
                <a:gd name="connsiteY35" fmla="*/ 832545 h 901154"/>
                <a:gd name="connsiteX36" fmla="*/ 2441576 w 2441576"/>
                <a:gd name="connsiteY36" fmla="*/ 901153 h 901154"/>
                <a:gd name="connsiteX37" fmla="*/ 2321561 w 2441576"/>
                <a:gd name="connsiteY37" fmla="*/ 901153 h 901154"/>
                <a:gd name="connsiteX38" fmla="*/ 2239646 w 2441576"/>
                <a:gd name="connsiteY38" fmla="*/ 901153 h 901154"/>
                <a:gd name="connsiteX39" fmla="*/ 2176781 w 2441576"/>
                <a:gd name="connsiteY39" fmla="*/ 901153 h 901154"/>
                <a:gd name="connsiteX40" fmla="*/ 2109259 w 2441576"/>
                <a:gd name="connsiteY40" fmla="*/ 901153 h 901154"/>
                <a:gd name="connsiteX41" fmla="*/ 1941949 w 2441576"/>
                <a:gd name="connsiteY41" fmla="*/ 901153 h 901154"/>
                <a:gd name="connsiteX42" fmla="*/ 1824412 w 2441576"/>
                <a:gd name="connsiteY42" fmla="*/ 901153 h 901154"/>
                <a:gd name="connsiteX43" fmla="*/ 1609632 w 2441576"/>
                <a:gd name="connsiteY43" fmla="*/ 901153 h 901154"/>
                <a:gd name="connsiteX44" fmla="*/ 1539566 w 2441576"/>
                <a:gd name="connsiteY44" fmla="*/ 901153 h 901154"/>
                <a:gd name="connsiteX45" fmla="*/ 1324785 w 2441576"/>
                <a:gd name="connsiteY45" fmla="*/ 901153 h 901154"/>
                <a:gd name="connsiteX46" fmla="*/ 1254721 w 2441576"/>
                <a:gd name="connsiteY46" fmla="*/ 901153 h 901154"/>
                <a:gd name="connsiteX47" fmla="*/ 1146253 w 2441576"/>
                <a:gd name="connsiteY47" fmla="*/ 901153 h 901154"/>
                <a:gd name="connsiteX48" fmla="*/ 1039939 w 2441576"/>
                <a:gd name="connsiteY48" fmla="*/ 901153 h 901154"/>
                <a:gd name="connsiteX49" fmla="*/ 969874 w 2441576"/>
                <a:gd name="connsiteY49" fmla="*/ 901153 h 901154"/>
                <a:gd name="connsiteX50" fmla="*/ 864820 w 2441576"/>
                <a:gd name="connsiteY50" fmla="*/ 901154 h 901154"/>
                <a:gd name="connsiteX51" fmla="*/ 755093 w 2441576"/>
                <a:gd name="connsiteY51" fmla="*/ 901153 h 901154"/>
                <a:gd name="connsiteX52" fmla="*/ 685028 w 2441576"/>
                <a:gd name="connsiteY52" fmla="*/ 901153 h 901154"/>
                <a:gd name="connsiteX53" fmla="*/ 581332 w 2441576"/>
                <a:gd name="connsiteY53" fmla="*/ 901153 h 901154"/>
                <a:gd name="connsiteX54" fmla="*/ 471351 w 2441576"/>
                <a:gd name="connsiteY54" fmla="*/ 901153 h 901154"/>
                <a:gd name="connsiteX55" fmla="*/ 470246 w 2441576"/>
                <a:gd name="connsiteY55" fmla="*/ 901153 h 901154"/>
                <a:gd name="connsiteX56" fmla="*/ 377080 w 2441576"/>
                <a:gd name="connsiteY56" fmla="*/ 901153 h 901154"/>
                <a:gd name="connsiteX57" fmla="*/ 282811 w 2441576"/>
                <a:gd name="connsiteY57" fmla="*/ 901153 h 901154"/>
                <a:gd name="connsiteX58" fmla="*/ 188541 w 2441576"/>
                <a:gd name="connsiteY58" fmla="*/ 901153 h 901154"/>
                <a:gd name="connsiteX59" fmla="*/ 185400 w 2441576"/>
                <a:gd name="connsiteY59" fmla="*/ 901153 h 901154"/>
                <a:gd name="connsiteX60" fmla="*/ 94270 w 2441576"/>
                <a:gd name="connsiteY60" fmla="*/ 901153 h 901154"/>
                <a:gd name="connsiteX61" fmla="*/ 0 w 2441576"/>
                <a:gd name="connsiteY61" fmla="*/ 901153 h 901154"/>
                <a:gd name="connsiteX62" fmla="*/ 0 w 2441576"/>
                <a:gd name="connsiteY62" fmla="*/ 832545 h 901154"/>
                <a:gd name="connsiteX63" fmla="*/ 0 w 2441576"/>
                <a:gd name="connsiteY63" fmla="*/ 760507 h 901154"/>
                <a:gd name="connsiteX64" fmla="*/ 0 w 2441576"/>
                <a:gd name="connsiteY64" fmla="*/ 691899 h 901154"/>
                <a:gd name="connsiteX65" fmla="*/ 0 w 2441576"/>
                <a:gd name="connsiteY65" fmla="*/ 608455 h 901154"/>
                <a:gd name="connsiteX66" fmla="*/ 0 w 2441576"/>
                <a:gd name="connsiteY66" fmla="*/ 539847 h 901154"/>
                <a:gd name="connsiteX67" fmla="*/ 0 w 2441576"/>
                <a:gd name="connsiteY67" fmla="*/ 456403 h 901154"/>
                <a:gd name="connsiteX68" fmla="*/ 0 w 2441576"/>
                <a:gd name="connsiteY68" fmla="*/ 387795 h 901154"/>
                <a:gd name="connsiteX69" fmla="*/ 0 w 2441576"/>
                <a:gd name="connsiteY69" fmla="*/ 304351 h 901154"/>
                <a:gd name="connsiteX70" fmla="*/ 0 w 2441576"/>
                <a:gd name="connsiteY70" fmla="*/ 235743 h 901154"/>
                <a:gd name="connsiteX71" fmla="*/ 0 w 2441576"/>
                <a:gd name="connsiteY71" fmla="*/ 152299 h 901154"/>
                <a:gd name="connsiteX72" fmla="*/ 0 w 2441576"/>
                <a:gd name="connsiteY72" fmla="*/ 83691 h 901154"/>
                <a:gd name="connsiteX73" fmla="*/ 0 w 2441576"/>
                <a:gd name="connsiteY73" fmla="*/ 247 h 901154"/>
                <a:gd name="connsiteX0" fmla="*/ 0 w 2441576"/>
                <a:gd name="connsiteY0" fmla="*/ 247 h 901154"/>
                <a:gd name="connsiteX1" fmla="*/ 94270 w 2441576"/>
                <a:gd name="connsiteY1" fmla="*/ 247 h 901154"/>
                <a:gd name="connsiteX2" fmla="*/ 185400 w 2441576"/>
                <a:gd name="connsiteY2" fmla="*/ 247 h 901154"/>
                <a:gd name="connsiteX3" fmla="*/ 188541 w 2441576"/>
                <a:gd name="connsiteY3" fmla="*/ 247 h 901154"/>
                <a:gd name="connsiteX4" fmla="*/ 282811 w 2441576"/>
                <a:gd name="connsiteY4" fmla="*/ 247 h 901154"/>
                <a:gd name="connsiteX5" fmla="*/ 377080 w 2441576"/>
                <a:gd name="connsiteY5" fmla="*/ 247 h 901154"/>
                <a:gd name="connsiteX6" fmla="*/ 470246 w 2441576"/>
                <a:gd name="connsiteY6" fmla="*/ 247 h 901154"/>
                <a:gd name="connsiteX7" fmla="*/ 471351 w 2441576"/>
                <a:gd name="connsiteY7" fmla="*/ 247 h 901154"/>
                <a:gd name="connsiteX8" fmla="*/ 581332 w 2441576"/>
                <a:gd name="connsiteY8" fmla="*/ 247 h 901154"/>
                <a:gd name="connsiteX9" fmla="*/ 685028 w 2441576"/>
                <a:gd name="connsiteY9" fmla="*/ 247 h 901154"/>
                <a:gd name="connsiteX10" fmla="*/ 755093 w 2441576"/>
                <a:gd name="connsiteY10" fmla="*/ 247 h 901154"/>
                <a:gd name="connsiteX11" fmla="*/ 969874 w 2441576"/>
                <a:gd name="connsiteY11" fmla="*/ 247 h 901154"/>
                <a:gd name="connsiteX12" fmla="*/ 1039939 w 2441576"/>
                <a:gd name="connsiteY12" fmla="*/ 247 h 901154"/>
                <a:gd name="connsiteX13" fmla="*/ 1254721 w 2441576"/>
                <a:gd name="connsiteY13" fmla="*/ 247 h 901154"/>
                <a:gd name="connsiteX14" fmla="*/ 1324785 w 2441576"/>
                <a:gd name="connsiteY14" fmla="*/ 247 h 901154"/>
                <a:gd name="connsiteX15" fmla="*/ 1430031 w 2441576"/>
                <a:gd name="connsiteY15" fmla="*/ 0 h 901154"/>
                <a:gd name="connsiteX16" fmla="*/ 1539566 w 2441576"/>
                <a:gd name="connsiteY16" fmla="*/ 247 h 901154"/>
                <a:gd name="connsiteX17" fmla="*/ 1609632 w 2441576"/>
                <a:gd name="connsiteY17" fmla="*/ 247 h 901154"/>
                <a:gd name="connsiteX18" fmla="*/ 1824412 w 2441576"/>
                <a:gd name="connsiteY18" fmla="*/ 247 h 901154"/>
                <a:gd name="connsiteX19" fmla="*/ 1941949 w 2441576"/>
                <a:gd name="connsiteY19" fmla="*/ 247 h 901154"/>
                <a:gd name="connsiteX20" fmla="*/ 2094866 w 2441576"/>
                <a:gd name="connsiteY20" fmla="*/ 247 h 901154"/>
                <a:gd name="connsiteX21" fmla="*/ 2176781 w 2441576"/>
                <a:gd name="connsiteY21" fmla="*/ 247 h 901154"/>
                <a:gd name="connsiteX22" fmla="*/ 2258696 w 2441576"/>
                <a:gd name="connsiteY22" fmla="*/ 247 h 901154"/>
                <a:gd name="connsiteX23" fmla="*/ 2321561 w 2441576"/>
                <a:gd name="connsiteY23" fmla="*/ 247 h 901154"/>
                <a:gd name="connsiteX24" fmla="*/ 2441576 w 2441576"/>
                <a:gd name="connsiteY24" fmla="*/ 247 h 901154"/>
                <a:gd name="connsiteX25" fmla="*/ 2441576 w 2441576"/>
                <a:gd name="connsiteY25" fmla="*/ 83691 h 901154"/>
                <a:gd name="connsiteX26" fmla="*/ 2441576 w 2441576"/>
                <a:gd name="connsiteY26" fmla="*/ 152299 h 901154"/>
                <a:gd name="connsiteX27" fmla="*/ 2441576 w 2441576"/>
                <a:gd name="connsiteY27" fmla="*/ 235743 h 901154"/>
                <a:gd name="connsiteX28" fmla="*/ 2441576 w 2441576"/>
                <a:gd name="connsiteY28" fmla="*/ 304351 h 901154"/>
                <a:gd name="connsiteX29" fmla="*/ 2441576 w 2441576"/>
                <a:gd name="connsiteY29" fmla="*/ 387795 h 901154"/>
                <a:gd name="connsiteX30" fmla="*/ 2441576 w 2441576"/>
                <a:gd name="connsiteY30" fmla="*/ 456403 h 901154"/>
                <a:gd name="connsiteX31" fmla="*/ 2441576 w 2441576"/>
                <a:gd name="connsiteY31" fmla="*/ 539847 h 901154"/>
                <a:gd name="connsiteX32" fmla="*/ 2441576 w 2441576"/>
                <a:gd name="connsiteY32" fmla="*/ 608455 h 901154"/>
                <a:gd name="connsiteX33" fmla="*/ 2441576 w 2441576"/>
                <a:gd name="connsiteY33" fmla="*/ 691899 h 901154"/>
                <a:gd name="connsiteX34" fmla="*/ 2441576 w 2441576"/>
                <a:gd name="connsiteY34" fmla="*/ 760507 h 901154"/>
                <a:gd name="connsiteX35" fmla="*/ 2441576 w 2441576"/>
                <a:gd name="connsiteY35" fmla="*/ 832545 h 901154"/>
                <a:gd name="connsiteX36" fmla="*/ 2441576 w 2441576"/>
                <a:gd name="connsiteY36" fmla="*/ 901153 h 901154"/>
                <a:gd name="connsiteX37" fmla="*/ 2321561 w 2441576"/>
                <a:gd name="connsiteY37" fmla="*/ 901153 h 901154"/>
                <a:gd name="connsiteX38" fmla="*/ 2239646 w 2441576"/>
                <a:gd name="connsiteY38" fmla="*/ 901153 h 901154"/>
                <a:gd name="connsiteX39" fmla="*/ 2176781 w 2441576"/>
                <a:gd name="connsiteY39" fmla="*/ 901153 h 901154"/>
                <a:gd name="connsiteX40" fmla="*/ 2109259 w 2441576"/>
                <a:gd name="connsiteY40" fmla="*/ 901153 h 901154"/>
                <a:gd name="connsiteX41" fmla="*/ 1941949 w 2441576"/>
                <a:gd name="connsiteY41" fmla="*/ 901153 h 901154"/>
                <a:gd name="connsiteX42" fmla="*/ 1824412 w 2441576"/>
                <a:gd name="connsiteY42" fmla="*/ 901153 h 901154"/>
                <a:gd name="connsiteX43" fmla="*/ 1609632 w 2441576"/>
                <a:gd name="connsiteY43" fmla="*/ 901153 h 901154"/>
                <a:gd name="connsiteX44" fmla="*/ 1539566 w 2441576"/>
                <a:gd name="connsiteY44" fmla="*/ 901153 h 901154"/>
                <a:gd name="connsiteX45" fmla="*/ 1427685 w 2441576"/>
                <a:gd name="connsiteY45" fmla="*/ 901153 h 901154"/>
                <a:gd name="connsiteX46" fmla="*/ 1324785 w 2441576"/>
                <a:gd name="connsiteY46" fmla="*/ 901153 h 901154"/>
                <a:gd name="connsiteX47" fmla="*/ 1254721 w 2441576"/>
                <a:gd name="connsiteY47" fmla="*/ 901153 h 901154"/>
                <a:gd name="connsiteX48" fmla="*/ 1146253 w 2441576"/>
                <a:gd name="connsiteY48" fmla="*/ 901153 h 901154"/>
                <a:gd name="connsiteX49" fmla="*/ 1039939 w 2441576"/>
                <a:gd name="connsiteY49" fmla="*/ 901153 h 901154"/>
                <a:gd name="connsiteX50" fmla="*/ 969874 w 2441576"/>
                <a:gd name="connsiteY50" fmla="*/ 901153 h 901154"/>
                <a:gd name="connsiteX51" fmla="*/ 864820 w 2441576"/>
                <a:gd name="connsiteY51" fmla="*/ 901154 h 901154"/>
                <a:gd name="connsiteX52" fmla="*/ 755093 w 2441576"/>
                <a:gd name="connsiteY52" fmla="*/ 901153 h 901154"/>
                <a:gd name="connsiteX53" fmla="*/ 685028 w 2441576"/>
                <a:gd name="connsiteY53" fmla="*/ 901153 h 901154"/>
                <a:gd name="connsiteX54" fmla="*/ 581332 w 2441576"/>
                <a:gd name="connsiteY54" fmla="*/ 901153 h 901154"/>
                <a:gd name="connsiteX55" fmla="*/ 471351 w 2441576"/>
                <a:gd name="connsiteY55" fmla="*/ 901153 h 901154"/>
                <a:gd name="connsiteX56" fmla="*/ 470246 w 2441576"/>
                <a:gd name="connsiteY56" fmla="*/ 901153 h 901154"/>
                <a:gd name="connsiteX57" fmla="*/ 377080 w 2441576"/>
                <a:gd name="connsiteY57" fmla="*/ 901153 h 901154"/>
                <a:gd name="connsiteX58" fmla="*/ 282811 w 2441576"/>
                <a:gd name="connsiteY58" fmla="*/ 901153 h 901154"/>
                <a:gd name="connsiteX59" fmla="*/ 188541 w 2441576"/>
                <a:gd name="connsiteY59" fmla="*/ 901153 h 901154"/>
                <a:gd name="connsiteX60" fmla="*/ 185400 w 2441576"/>
                <a:gd name="connsiteY60" fmla="*/ 901153 h 901154"/>
                <a:gd name="connsiteX61" fmla="*/ 94270 w 2441576"/>
                <a:gd name="connsiteY61" fmla="*/ 901153 h 901154"/>
                <a:gd name="connsiteX62" fmla="*/ 0 w 2441576"/>
                <a:gd name="connsiteY62" fmla="*/ 901153 h 901154"/>
                <a:gd name="connsiteX63" fmla="*/ 0 w 2441576"/>
                <a:gd name="connsiteY63" fmla="*/ 832545 h 901154"/>
                <a:gd name="connsiteX64" fmla="*/ 0 w 2441576"/>
                <a:gd name="connsiteY64" fmla="*/ 760507 h 901154"/>
                <a:gd name="connsiteX65" fmla="*/ 0 w 2441576"/>
                <a:gd name="connsiteY65" fmla="*/ 691899 h 901154"/>
                <a:gd name="connsiteX66" fmla="*/ 0 w 2441576"/>
                <a:gd name="connsiteY66" fmla="*/ 608455 h 901154"/>
                <a:gd name="connsiteX67" fmla="*/ 0 w 2441576"/>
                <a:gd name="connsiteY67" fmla="*/ 539847 h 901154"/>
                <a:gd name="connsiteX68" fmla="*/ 0 w 2441576"/>
                <a:gd name="connsiteY68" fmla="*/ 456403 h 901154"/>
                <a:gd name="connsiteX69" fmla="*/ 0 w 2441576"/>
                <a:gd name="connsiteY69" fmla="*/ 387795 h 901154"/>
                <a:gd name="connsiteX70" fmla="*/ 0 w 2441576"/>
                <a:gd name="connsiteY70" fmla="*/ 304351 h 901154"/>
                <a:gd name="connsiteX71" fmla="*/ 0 w 2441576"/>
                <a:gd name="connsiteY71" fmla="*/ 235743 h 901154"/>
                <a:gd name="connsiteX72" fmla="*/ 0 w 2441576"/>
                <a:gd name="connsiteY72" fmla="*/ 152299 h 901154"/>
                <a:gd name="connsiteX73" fmla="*/ 0 w 2441576"/>
                <a:gd name="connsiteY73" fmla="*/ 83691 h 901154"/>
                <a:gd name="connsiteX74" fmla="*/ 0 w 2441576"/>
                <a:gd name="connsiteY74" fmla="*/ 247 h 901154"/>
                <a:gd name="connsiteX0" fmla="*/ 0 w 2441576"/>
                <a:gd name="connsiteY0" fmla="*/ 247 h 901154"/>
                <a:gd name="connsiteX1" fmla="*/ 94270 w 2441576"/>
                <a:gd name="connsiteY1" fmla="*/ 247 h 901154"/>
                <a:gd name="connsiteX2" fmla="*/ 185400 w 2441576"/>
                <a:gd name="connsiteY2" fmla="*/ 247 h 901154"/>
                <a:gd name="connsiteX3" fmla="*/ 188541 w 2441576"/>
                <a:gd name="connsiteY3" fmla="*/ 247 h 901154"/>
                <a:gd name="connsiteX4" fmla="*/ 282811 w 2441576"/>
                <a:gd name="connsiteY4" fmla="*/ 247 h 901154"/>
                <a:gd name="connsiteX5" fmla="*/ 377080 w 2441576"/>
                <a:gd name="connsiteY5" fmla="*/ 247 h 901154"/>
                <a:gd name="connsiteX6" fmla="*/ 470246 w 2441576"/>
                <a:gd name="connsiteY6" fmla="*/ 247 h 901154"/>
                <a:gd name="connsiteX7" fmla="*/ 471351 w 2441576"/>
                <a:gd name="connsiteY7" fmla="*/ 247 h 901154"/>
                <a:gd name="connsiteX8" fmla="*/ 581332 w 2441576"/>
                <a:gd name="connsiteY8" fmla="*/ 247 h 901154"/>
                <a:gd name="connsiteX9" fmla="*/ 685028 w 2441576"/>
                <a:gd name="connsiteY9" fmla="*/ 247 h 901154"/>
                <a:gd name="connsiteX10" fmla="*/ 755093 w 2441576"/>
                <a:gd name="connsiteY10" fmla="*/ 247 h 901154"/>
                <a:gd name="connsiteX11" fmla="*/ 969874 w 2441576"/>
                <a:gd name="connsiteY11" fmla="*/ 247 h 901154"/>
                <a:gd name="connsiteX12" fmla="*/ 1039939 w 2441576"/>
                <a:gd name="connsiteY12" fmla="*/ 247 h 901154"/>
                <a:gd name="connsiteX13" fmla="*/ 1254721 w 2441576"/>
                <a:gd name="connsiteY13" fmla="*/ 247 h 901154"/>
                <a:gd name="connsiteX14" fmla="*/ 1324785 w 2441576"/>
                <a:gd name="connsiteY14" fmla="*/ 247 h 901154"/>
                <a:gd name="connsiteX15" fmla="*/ 1430031 w 2441576"/>
                <a:gd name="connsiteY15" fmla="*/ 0 h 901154"/>
                <a:gd name="connsiteX16" fmla="*/ 1539566 w 2441576"/>
                <a:gd name="connsiteY16" fmla="*/ 247 h 901154"/>
                <a:gd name="connsiteX17" fmla="*/ 1609632 w 2441576"/>
                <a:gd name="connsiteY17" fmla="*/ 247 h 901154"/>
                <a:gd name="connsiteX18" fmla="*/ 1824412 w 2441576"/>
                <a:gd name="connsiteY18" fmla="*/ 247 h 901154"/>
                <a:gd name="connsiteX19" fmla="*/ 1941949 w 2441576"/>
                <a:gd name="connsiteY19" fmla="*/ 247 h 901154"/>
                <a:gd name="connsiteX20" fmla="*/ 2094866 w 2441576"/>
                <a:gd name="connsiteY20" fmla="*/ 247 h 901154"/>
                <a:gd name="connsiteX21" fmla="*/ 2176781 w 2441576"/>
                <a:gd name="connsiteY21" fmla="*/ 247 h 901154"/>
                <a:gd name="connsiteX22" fmla="*/ 2258696 w 2441576"/>
                <a:gd name="connsiteY22" fmla="*/ 247 h 901154"/>
                <a:gd name="connsiteX23" fmla="*/ 2321561 w 2441576"/>
                <a:gd name="connsiteY23" fmla="*/ 247 h 901154"/>
                <a:gd name="connsiteX24" fmla="*/ 2441576 w 2441576"/>
                <a:gd name="connsiteY24" fmla="*/ 247 h 901154"/>
                <a:gd name="connsiteX25" fmla="*/ 2441576 w 2441576"/>
                <a:gd name="connsiteY25" fmla="*/ 83691 h 901154"/>
                <a:gd name="connsiteX26" fmla="*/ 2441576 w 2441576"/>
                <a:gd name="connsiteY26" fmla="*/ 152299 h 901154"/>
                <a:gd name="connsiteX27" fmla="*/ 2441576 w 2441576"/>
                <a:gd name="connsiteY27" fmla="*/ 235743 h 901154"/>
                <a:gd name="connsiteX28" fmla="*/ 2441576 w 2441576"/>
                <a:gd name="connsiteY28" fmla="*/ 304351 h 901154"/>
                <a:gd name="connsiteX29" fmla="*/ 2441576 w 2441576"/>
                <a:gd name="connsiteY29" fmla="*/ 387795 h 901154"/>
                <a:gd name="connsiteX30" fmla="*/ 2441576 w 2441576"/>
                <a:gd name="connsiteY30" fmla="*/ 456403 h 901154"/>
                <a:gd name="connsiteX31" fmla="*/ 2441576 w 2441576"/>
                <a:gd name="connsiteY31" fmla="*/ 539847 h 901154"/>
                <a:gd name="connsiteX32" fmla="*/ 2441576 w 2441576"/>
                <a:gd name="connsiteY32" fmla="*/ 608455 h 901154"/>
                <a:gd name="connsiteX33" fmla="*/ 2441576 w 2441576"/>
                <a:gd name="connsiteY33" fmla="*/ 691899 h 901154"/>
                <a:gd name="connsiteX34" fmla="*/ 2441576 w 2441576"/>
                <a:gd name="connsiteY34" fmla="*/ 760507 h 901154"/>
                <a:gd name="connsiteX35" fmla="*/ 2441576 w 2441576"/>
                <a:gd name="connsiteY35" fmla="*/ 832545 h 901154"/>
                <a:gd name="connsiteX36" fmla="*/ 2441576 w 2441576"/>
                <a:gd name="connsiteY36" fmla="*/ 901153 h 901154"/>
                <a:gd name="connsiteX37" fmla="*/ 2321561 w 2441576"/>
                <a:gd name="connsiteY37" fmla="*/ 901153 h 901154"/>
                <a:gd name="connsiteX38" fmla="*/ 2239646 w 2441576"/>
                <a:gd name="connsiteY38" fmla="*/ 901153 h 901154"/>
                <a:gd name="connsiteX39" fmla="*/ 2176781 w 2441576"/>
                <a:gd name="connsiteY39" fmla="*/ 901153 h 901154"/>
                <a:gd name="connsiteX40" fmla="*/ 2109259 w 2441576"/>
                <a:gd name="connsiteY40" fmla="*/ 901153 h 901154"/>
                <a:gd name="connsiteX41" fmla="*/ 1941949 w 2441576"/>
                <a:gd name="connsiteY41" fmla="*/ 901153 h 901154"/>
                <a:gd name="connsiteX42" fmla="*/ 1824412 w 2441576"/>
                <a:gd name="connsiteY42" fmla="*/ 901153 h 901154"/>
                <a:gd name="connsiteX43" fmla="*/ 1720844 w 2441576"/>
                <a:gd name="connsiteY43" fmla="*/ 901153 h 901154"/>
                <a:gd name="connsiteX44" fmla="*/ 1609632 w 2441576"/>
                <a:gd name="connsiteY44" fmla="*/ 901153 h 901154"/>
                <a:gd name="connsiteX45" fmla="*/ 1539566 w 2441576"/>
                <a:gd name="connsiteY45" fmla="*/ 901153 h 901154"/>
                <a:gd name="connsiteX46" fmla="*/ 1427685 w 2441576"/>
                <a:gd name="connsiteY46" fmla="*/ 901153 h 901154"/>
                <a:gd name="connsiteX47" fmla="*/ 1324785 w 2441576"/>
                <a:gd name="connsiteY47" fmla="*/ 901153 h 901154"/>
                <a:gd name="connsiteX48" fmla="*/ 1254721 w 2441576"/>
                <a:gd name="connsiteY48" fmla="*/ 901153 h 901154"/>
                <a:gd name="connsiteX49" fmla="*/ 1146253 w 2441576"/>
                <a:gd name="connsiteY49" fmla="*/ 901153 h 901154"/>
                <a:gd name="connsiteX50" fmla="*/ 1039939 w 2441576"/>
                <a:gd name="connsiteY50" fmla="*/ 901153 h 901154"/>
                <a:gd name="connsiteX51" fmla="*/ 969874 w 2441576"/>
                <a:gd name="connsiteY51" fmla="*/ 901153 h 901154"/>
                <a:gd name="connsiteX52" fmla="*/ 864820 w 2441576"/>
                <a:gd name="connsiteY52" fmla="*/ 901154 h 901154"/>
                <a:gd name="connsiteX53" fmla="*/ 755093 w 2441576"/>
                <a:gd name="connsiteY53" fmla="*/ 901153 h 901154"/>
                <a:gd name="connsiteX54" fmla="*/ 685028 w 2441576"/>
                <a:gd name="connsiteY54" fmla="*/ 901153 h 901154"/>
                <a:gd name="connsiteX55" fmla="*/ 581332 w 2441576"/>
                <a:gd name="connsiteY55" fmla="*/ 901153 h 901154"/>
                <a:gd name="connsiteX56" fmla="*/ 471351 w 2441576"/>
                <a:gd name="connsiteY56" fmla="*/ 901153 h 901154"/>
                <a:gd name="connsiteX57" fmla="*/ 470246 w 2441576"/>
                <a:gd name="connsiteY57" fmla="*/ 901153 h 901154"/>
                <a:gd name="connsiteX58" fmla="*/ 377080 w 2441576"/>
                <a:gd name="connsiteY58" fmla="*/ 901153 h 901154"/>
                <a:gd name="connsiteX59" fmla="*/ 282811 w 2441576"/>
                <a:gd name="connsiteY59" fmla="*/ 901153 h 901154"/>
                <a:gd name="connsiteX60" fmla="*/ 188541 w 2441576"/>
                <a:gd name="connsiteY60" fmla="*/ 901153 h 901154"/>
                <a:gd name="connsiteX61" fmla="*/ 185400 w 2441576"/>
                <a:gd name="connsiteY61" fmla="*/ 901153 h 901154"/>
                <a:gd name="connsiteX62" fmla="*/ 94270 w 2441576"/>
                <a:gd name="connsiteY62" fmla="*/ 901153 h 901154"/>
                <a:gd name="connsiteX63" fmla="*/ 0 w 2441576"/>
                <a:gd name="connsiteY63" fmla="*/ 901153 h 901154"/>
                <a:gd name="connsiteX64" fmla="*/ 0 w 2441576"/>
                <a:gd name="connsiteY64" fmla="*/ 832545 h 901154"/>
                <a:gd name="connsiteX65" fmla="*/ 0 w 2441576"/>
                <a:gd name="connsiteY65" fmla="*/ 760507 h 901154"/>
                <a:gd name="connsiteX66" fmla="*/ 0 w 2441576"/>
                <a:gd name="connsiteY66" fmla="*/ 691899 h 901154"/>
                <a:gd name="connsiteX67" fmla="*/ 0 w 2441576"/>
                <a:gd name="connsiteY67" fmla="*/ 608455 h 901154"/>
                <a:gd name="connsiteX68" fmla="*/ 0 w 2441576"/>
                <a:gd name="connsiteY68" fmla="*/ 539847 h 901154"/>
                <a:gd name="connsiteX69" fmla="*/ 0 w 2441576"/>
                <a:gd name="connsiteY69" fmla="*/ 456403 h 901154"/>
                <a:gd name="connsiteX70" fmla="*/ 0 w 2441576"/>
                <a:gd name="connsiteY70" fmla="*/ 387795 h 901154"/>
                <a:gd name="connsiteX71" fmla="*/ 0 w 2441576"/>
                <a:gd name="connsiteY71" fmla="*/ 304351 h 901154"/>
                <a:gd name="connsiteX72" fmla="*/ 0 w 2441576"/>
                <a:gd name="connsiteY72" fmla="*/ 235743 h 901154"/>
                <a:gd name="connsiteX73" fmla="*/ 0 w 2441576"/>
                <a:gd name="connsiteY73" fmla="*/ 152299 h 901154"/>
                <a:gd name="connsiteX74" fmla="*/ 0 w 2441576"/>
                <a:gd name="connsiteY74" fmla="*/ 83691 h 901154"/>
                <a:gd name="connsiteX75" fmla="*/ 0 w 2441576"/>
                <a:gd name="connsiteY75" fmla="*/ 247 h 901154"/>
                <a:gd name="connsiteX0" fmla="*/ 0 w 2441576"/>
                <a:gd name="connsiteY0" fmla="*/ 247 h 901154"/>
                <a:gd name="connsiteX1" fmla="*/ 94270 w 2441576"/>
                <a:gd name="connsiteY1" fmla="*/ 247 h 901154"/>
                <a:gd name="connsiteX2" fmla="*/ 185400 w 2441576"/>
                <a:gd name="connsiteY2" fmla="*/ 247 h 901154"/>
                <a:gd name="connsiteX3" fmla="*/ 188541 w 2441576"/>
                <a:gd name="connsiteY3" fmla="*/ 247 h 901154"/>
                <a:gd name="connsiteX4" fmla="*/ 282811 w 2441576"/>
                <a:gd name="connsiteY4" fmla="*/ 247 h 901154"/>
                <a:gd name="connsiteX5" fmla="*/ 377080 w 2441576"/>
                <a:gd name="connsiteY5" fmla="*/ 247 h 901154"/>
                <a:gd name="connsiteX6" fmla="*/ 470246 w 2441576"/>
                <a:gd name="connsiteY6" fmla="*/ 247 h 901154"/>
                <a:gd name="connsiteX7" fmla="*/ 471351 w 2441576"/>
                <a:gd name="connsiteY7" fmla="*/ 247 h 901154"/>
                <a:gd name="connsiteX8" fmla="*/ 581332 w 2441576"/>
                <a:gd name="connsiteY8" fmla="*/ 247 h 901154"/>
                <a:gd name="connsiteX9" fmla="*/ 685028 w 2441576"/>
                <a:gd name="connsiteY9" fmla="*/ 247 h 901154"/>
                <a:gd name="connsiteX10" fmla="*/ 755093 w 2441576"/>
                <a:gd name="connsiteY10" fmla="*/ 247 h 901154"/>
                <a:gd name="connsiteX11" fmla="*/ 969874 w 2441576"/>
                <a:gd name="connsiteY11" fmla="*/ 247 h 901154"/>
                <a:gd name="connsiteX12" fmla="*/ 1039939 w 2441576"/>
                <a:gd name="connsiteY12" fmla="*/ 247 h 901154"/>
                <a:gd name="connsiteX13" fmla="*/ 1254721 w 2441576"/>
                <a:gd name="connsiteY13" fmla="*/ 247 h 901154"/>
                <a:gd name="connsiteX14" fmla="*/ 1324785 w 2441576"/>
                <a:gd name="connsiteY14" fmla="*/ 247 h 901154"/>
                <a:gd name="connsiteX15" fmla="*/ 1430031 w 2441576"/>
                <a:gd name="connsiteY15" fmla="*/ 0 h 901154"/>
                <a:gd name="connsiteX16" fmla="*/ 1539566 w 2441576"/>
                <a:gd name="connsiteY16" fmla="*/ 247 h 901154"/>
                <a:gd name="connsiteX17" fmla="*/ 1609632 w 2441576"/>
                <a:gd name="connsiteY17" fmla="*/ 247 h 901154"/>
                <a:gd name="connsiteX18" fmla="*/ 1824412 w 2441576"/>
                <a:gd name="connsiteY18" fmla="*/ 247 h 901154"/>
                <a:gd name="connsiteX19" fmla="*/ 1941949 w 2441576"/>
                <a:gd name="connsiteY19" fmla="*/ 247 h 901154"/>
                <a:gd name="connsiteX20" fmla="*/ 2094866 w 2441576"/>
                <a:gd name="connsiteY20" fmla="*/ 247 h 901154"/>
                <a:gd name="connsiteX21" fmla="*/ 2176781 w 2441576"/>
                <a:gd name="connsiteY21" fmla="*/ 247 h 901154"/>
                <a:gd name="connsiteX22" fmla="*/ 2258696 w 2441576"/>
                <a:gd name="connsiteY22" fmla="*/ 247 h 901154"/>
                <a:gd name="connsiteX23" fmla="*/ 2321561 w 2441576"/>
                <a:gd name="connsiteY23" fmla="*/ 247 h 901154"/>
                <a:gd name="connsiteX24" fmla="*/ 2441576 w 2441576"/>
                <a:gd name="connsiteY24" fmla="*/ 247 h 901154"/>
                <a:gd name="connsiteX25" fmla="*/ 2441576 w 2441576"/>
                <a:gd name="connsiteY25" fmla="*/ 83691 h 901154"/>
                <a:gd name="connsiteX26" fmla="*/ 2441576 w 2441576"/>
                <a:gd name="connsiteY26" fmla="*/ 152299 h 901154"/>
                <a:gd name="connsiteX27" fmla="*/ 2441576 w 2441576"/>
                <a:gd name="connsiteY27" fmla="*/ 235743 h 901154"/>
                <a:gd name="connsiteX28" fmla="*/ 2441576 w 2441576"/>
                <a:gd name="connsiteY28" fmla="*/ 304351 h 901154"/>
                <a:gd name="connsiteX29" fmla="*/ 2441576 w 2441576"/>
                <a:gd name="connsiteY29" fmla="*/ 387795 h 901154"/>
                <a:gd name="connsiteX30" fmla="*/ 2441576 w 2441576"/>
                <a:gd name="connsiteY30" fmla="*/ 456403 h 901154"/>
                <a:gd name="connsiteX31" fmla="*/ 2441576 w 2441576"/>
                <a:gd name="connsiteY31" fmla="*/ 539847 h 901154"/>
                <a:gd name="connsiteX32" fmla="*/ 2441576 w 2441576"/>
                <a:gd name="connsiteY32" fmla="*/ 608455 h 901154"/>
                <a:gd name="connsiteX33" fmla="*/ 2441576 w 2441576"/>
                <a:gd name="connsiteY33" fmla="*/ 691899 h 901154"/>
                <a:gd name="connsiteX34" fmla="*/ 2441576 w 2441576"/>
                <a:gd name="connsiteY34" fmla="*/ 760507 h 901154"/>
                <a:gd name="connsiteX35" fmla="*/ 2441576 w 2441576"/>
                <a:gd name="connsiteY35" fmla="*/ 832545 h 901154"/>
                <a:gd name="connsiteX36" fmla="*/ 2441576 w 2441576"/>
                <a:gd name="connsiteY36" fmla="*/ 901153 h 901154"/>
                <a:gd name="connsiteX37" fmla="*/ 2321561 w 2441576"/>
                <a:gd name="connsiteY37" fmla="*/ 901153 h 901154"/>
                <a:gd name="connsiteX38" fmla="*/ 2239646 w 2441576"/>
                <a:gd name="connsiteY38" fmla="*/ 901153 h 901154"/>
                <a:gd name="connsiteX39" fmla="*/ 2176781 w 2441576"/>
                <a:gd name="connsiteY39" fmla="*/ 901153 h 901154"/>
                <a:gd name="connsiteX40" fmla="*/ 2109259 w 2441576"/>
                <a:gd name="connsiteY40" fmla="*/ 901153 h 901154"/>
                <a:gd name="connsiteX41" fmla="*/ 2025730 w 2441576"/>
                <a:gd name="connsiteY41" fmla="*/ 901153 h 901154"/>
                <a:gd name="connsiteX42" fmla="*/ 1941949 w 2441576"/>
                <a:gd name="connsiteY42" fmla="*/ 901153 h 901154"/>
                <a:gd name="connsiteX43" fmla="*/ 1824412 w 2441576"/>
                <a:gd name="connsiteY43" fmla="*/ 901153 h 901154"/>
                <a:gd name="connsiteX44" fmla="*/ 1720844 w 2441576"/>
                <a:gd name="connsiteY44" fmla="*/ 901153 h 901154"/>
                <a:gd name="connsiteX45" fmla="*/ 1609632 w 2441576"/>
                <a:gd name="connsiteY45" fmla="*/ 901153 h 901154"/>
                <a:gd name="connsiteX46" fmla="*/ 1539566 w 2441576"/>
                <a:gd name="connsiteY46" fmla="*/ 901153 h 901154"/>
                <a:gd name="connsiteX47" fmla="*/ 1427685 w 2441576"/>
                <a:gd name="connsiteY47" fmla="*/ 901153 h 901154"/>
                <a:gd name="connsiteX48" fmla="*/ 1324785 w 2441576"/>
                <a:gd name="connsiteY48" fmla="*/ 901153 h 901154"/>
                <a:gd name="connsiteX49" fmla="*/ 1254721 w 2441576"/>
                <a:gd name="connsiteY49" fmla="*/ 901153 h 901154"/>
                <a:gd name="connsiteX50" fmla="*/ 1146253 w 2441576"/>
                <a:gd name="connsiteY50" fmla="*/ 901153 h 901154"/>
                <a:gd name="connsiteX51" fmla="*/ 1039939 w 2441576"/>
                <a:gd name="connsiteY51" fmla="*/ 901153 h 901154"/>
                <a:gd name="connsiteX52" fmla="*/ 969874 w 2441576"/>
                <a:gd name="connsiteY52" fmla="*/ 901153 h 901154"/>
                <a:gd name="connsiteX53" fmla="*/ 864820 w 2441576"/>
                <a:gd name="connsiteY53" fmla="*/ 901154 h 901154"/>
                <a:gd name="connsiteX54" fmla="*/ 755093 w 2441576"/>
                <a:gd name="connsiteY54" fmla="*/ 901153 h 901154"/>
                <a:gd name="connsiteX55" fmla="*/ 685028 w 2441576"/>
                <a:gd name="connsiteY55" fmla="*/ 901153 h 901154"/>
                <a:gd name="connsiteX56" fmla="*/ 581332 w 2441576"/>
                <a:gd name="connsiteY56" fmla="*/ 901153 h 901154"/>
                <a:gd name="connsiteX57" fmla="*/ 471351 w 2441576"/>
                <a:gd name="connsiteY57" fmla="*/ 901153 h 901154"/>
                <a:gd name="connsiteX58" fmla="*/ 470246 w 2441576"/>
                <a:gd name="connsiteY58" fmla="*/ 901153 h 901154"/>
                <a:gd name="connsiteX59" fmla="*/ 377080 w 2441576"/>
                <a:gd name="connsiteY59" fmla="*/ 901153 h 901154"/>
                <a:gd name="connsiteX60" fmla="*/ 282811 w 2441576"/>
                <a:gd name="connsiteY60" fmla="*/ 901153 h 901154"/>
                <a:gd name="connsiteX61" fmla="*/ 188541 w 2441576"/>
                <a:gd name="connsiteY61" fmla="*/ 901153 h 901154"/>
                <a:gd name="connsiteX62" fmla="*/ 185400 w 2441576"/>
                <a:gd name="connsiteY62" fmla="*/ 901153 h 901154"/>
                <a:gd name="connsiteX63" fmla="*/ 94270 w 2441576"/>
                <a:gd name="connsiteY63" fmla="*/ 901153 h 901154"/>
                <a:gd name="connsiteX64" fmla="*/ 0 w 2441576"/>
                <a:gd name="connsiteY64" fmla="*/ 901153 h 901154"/>
                <a:gd name="connsiteX65" fmla="*/ 0 w 2441576"/>
                <a:gd name="connsiteY65" fmla="*/ 832545 h 901154"/>
                <a:gd name="connsiteX66" fmla="*/ 0 w 2441576"/>
                <a:gd name="connsiteY66" fmla="*/ 760507 h 901154"/>
                <a:gd name="connsiteX67" fmla="*/ 0 w 2441576"/>
                <a:gd name="connsiteY67" fmla="*/ 691899 h 901154"/>
                <a:gd name="connsiteX68" fmla="*/ 0 w 2441576"/>
                <a:gd name="connsiteY68" fmla="*/ 608455 h 901154"/>
                <a:gd name="connsiteX69" fmla="*/ 0 w 2441576"/>
                <a:gd name="connsiteY69" fmla="*/ 539847 h 901154"/>
                <a:gd name="connsiteX70" fmla="*/ 0 w 2441576"/>
                <a:gd name="connsiteY70" fmla="*/ 456403 h 901154"/>
                <a:gd name="connsiteX71" fmla="*/ 0 w 2441576"/>
                <a:gd name="connsiteY71" fmla="*/ 387795 h 901154"/>
                <a:gd name="connsiteX72" fmla="*/ 0 w 2441576"/>
                <a:gd name="connsiteY72" fmla="*/ 304351 h 901154"/>
                <a:gd name="connsiteX73" fmla="*/ 0 w 2441576"/>
                <a:gd name="connsiteY73" fmla="*/ 235743 h 901154"/>
                <a:gd name="connsiteX74" fmla="*/ 0 w 2441576"/>
                <a:gd name="connsiteY74" fmla="*/ 152299 h 901154"/>
                <a:gd name="connsiteX75" fmla="*/ 0 w 2441576"/>
                <a:gd name="connsiteY75" fmla="*/ 83691 h 901154"/>
                <a:gd name="connsiteX76" fmla="*/ 0 w 2441576"/>
                <a:gd name="connsiteY76" fmla="*/ 247 h 901154"/>
                <a:gd name="connsiteX0" fmla="*/ 0 w 2441576"/>
                <a:gd name="connsiteY0" fmla="*/ 247 h 901154"/>
                <a:gd name="connsiteX1" fmla="*/ 94270 w 2441576"/>
                <a:gd name="connsiteY1" fmla="*/ 247 h 901154"/>
                <a:gd name="connsiteX2" fmla="*/ 185400 w 2441576"/>
                <a:gd name="connsiteY2" fmla="*/ 247 h 901154"/>
                <a:gd name="connsiteX3" fmla="*/ 188541 w 2441576"/>
                <a:gd name="connsiteY3" fmla="*/ 247 h 901154"/>
                <a:gd name="connsiteX4" fmla="*/ 282811 w 2441576"/>
                <a:gd name="connsiteY4" fmla="*/ 247 h 901154"/>
                <a:gd name="connsiteX5" fmla="*/ 377080 w 2441576"/>
                <a:gd name="connsiteY5" fmla="*/ 247 h 901154"/>
                <a:gd name="connsiteX6" fmla="*/ 470246 w 2441576"/>
                <a:gd name="connsiteY6" fmla="*/ 247 h 901154"/>
                <a:gd name="connsiteX7" fmla="*/ 471351 w 2441576"/>
                <a:gd name="connsiteY7" fmla="*/ 247 h 901154"/>
                <a:gd name="connsiteX8" fmla="*/ 581332 w 2441576"/>
                <a:gd name="connsiteY8" fmla="*/ 247 h 901154"/>
                <a:gd name="connsiteX9" fmla="*/ 685028 w 2441576"/>
                <a:gd name="connsiteY9" fmla="*/ 247 h 901154"/>
                <a:gd name="connsiteX10" fmla="*/ 755093 w 2441576"/>
                <a:gd name="connsiteY10" fmla="*/ 247 h 901154"/>
                <a:gd name="connsiteX11" fmla="*/ 969874 w 2441576"/>
                <a:gd name="connsiteY11" fmla="*/ 247 h 901154"/>
                <a:gd name="connsiteX12" fmla="*/ 1039939 w 2441576"/>
                <a:gd name="connsiteY12" fmla="*/ 247 h 901154"/>
                <a:gd name="connsiteX13" fmla="*/ 1254721 w 2441576"/>
                <a:gd name="connsiteY13" fmla="*/ 247 h 901154"/>
                <a:gd name="connsiteX14" fmla="*/ 1324785 w 2441576"/>
                <a:gd name="connsiteY14" fmla="*/ 247 h 901154"/>
                <a:gd name="connsiteX15" fmla="*/ 1430031 w 2441576"/>
                <a:gd name="connsiteY15" fmla="*/ 0 h 901154"/>
                <a:gd name="connsiteX16" fmla="*/ 1539566 w 2441576"/>
                <a:gd name="connsiteY16" fmla="*/ 247 h 901154"/>
                <a:gd name="connsiteX17" fmla="*/ 1609632 w 2441576"/>
                <a:gd name="connsiteY17" fmla="*/ 247 h 901154"/>
                <a:gd name="connsiteX18" fmla="*/ 1707946 w 2441576"/>
                <a:gd name="connsiteY18" fmla="*/ 1 h 901154"/>
                <a:gd name="connsiteX19" fmla="*/ 1824412 w 2441576"/>
                <a:gd name="connsiteY19" fmla="*/ 247 h 901154"/>
                <a:gd name="connsiteX20" fmla="*/ 1941949 w 2441576"/>
                <a:gd name="connsiteY20" fmla="*/ 247 h 901154"/>
                <a:gd name="connsiteX21" fmla="*/ 2094866 w 2441576"/>
                <a:gd name="connsiteY21" fmla="*/ 247 h 901154"/>
                <a:gd name="connsiteX22" fmla="*/ 2176781 w 2441576"/>
                <a:gd name="connsiteY22" fmla="*/ 247 h 901154"/>
                <a:gd name="connsiteX23" fmla="*/ 2258696 w 2441576"/>
                <a:gd name="connsiteY23" fmla="*/ 247 h 901154"/>
                <a:gd name="connsiteX24" fmla="*/ 2321561 w 2441576"/>
                <a:gd name="connsiteY24" fmla="*/ 247 h 901154"/>
                <a:gd name="connsiteX25" fmla="*/ 2441576 w 2441576"/>
                <a:gd name="connsiteY25" fmla="*/ 247 h 901154"/>
                <a:gd name="connsiteX26" fmla="*/ 2441576 w 2441576"/>
                <a:gd name="connsiteY26" fmla="*/ 83691 h 901154"/>
                <a:gd name="connsiteX27" fmla="*/ 2441576 w 2441576"/>
                <a:gd name="connsiteY27" fmla="*/ 152299 h 901154"/>
                <a:gd name="connsiteX28" fmla="*/ 2441576 w 2441576"/>
                <a:gd name="connsiteY28" fmla="*/ 235743 h 901154"/>
                <a:gd name="connsiteX29" fmla="*/ 2441576 w 2441576"/>
                <a:gd name="connsiteY29" fmla="*/ 304351 h 901154"/>
                <a:gd name="connsiteX30" fmla="*/ 2441576 w 2441576"/>
                <a:gd name="connsiteY30" fmla="*/ 387795 h 901154"/>
                <a:gd name="connsiteX31" fmla="*/ 2441576 w 2441576"/>
                <a:gd name="connsiteY31" fmla="*/ 456403 h 901154"/>
                <a:gd name="connsiteX32" fmla="*/ 2441576 w 2441576"/>
                <a:gd name="connsiteY32" fmla="*/ 539847 h 901154"/>
                <a:gd name="connsiteX33" fmla="*/ 2441576 w 2441576"/>
                <a:gd name="connsiteY33" fmla="*/ 608455 h 901154"/>
                <a:gd name="connsiteX34" fmla="*/ 2441576 w 2441576"/>
                <a:gd name="connsiteY34" fmla="*/ 691899 h 901154"/>
                <a:gd name="connsiteX35" fmla="*/ 2441576 w 2441576"/>
                <a:gd name="connsiteY35" fmla="*/ 760507 h 901154"/>
                <a:gd name="connsiteX36" fmla="*/ 2441576 w 2441576"/>
                <a:gd name="connsiteY36" fmla="*/ 832545 h 901154"/>
                <a:gd name="connsiteX37" fmla="*/ 2441576 w 2441576"/>
                <a:gd name="connsiteY37" fmla="*/ 901153 h 901154"/>
                <a:gd name="connsiteX38" fmla="*/ 2321561 w 2441576"/>
                <a:gd name="connsiteY38" fmla="*/ 901153 h 901154"/>
                <a:gd name="connsiteX39" fmla="*/ 2239646 w 2441576"/>
                <a:gd name="connsiteY39" fmla="*/ 901153 h 901154"/>
                <a:gd name="connsiteX40" fmla="*/ 2176781 w 2441576"/>
                <a:gd name="connsiteY40" fmla="*/ 901153 h 901154"/>
                <a:gd name="connsiteX41" fmla="*/ 2109259 w 2441576"/>
                <a:gd name="connsiteY41" fmla="*/ 901153 h 901154"/>
                <a:gd name="connsiteX42" fmla="*/ 2025730 w 2441576"/>
                <a:gd name="connsiteY42" fmla="*/ 901153 h 901154"/>
                <a:gd name="connsiteX43" fmla="*/ 1941949 w 2441576"/>
                <a:gd name="connsiteY43" fmla="*/ 901153 h 901154"/>
                <a:gd name="connsiteX44" fmla="*/ 1824412 w 2441576"/>
                <a:gd name="connsiteY44" fmla="*/ 901153 h 901154"/>
                <a:gd name="connsiteX45" fmla="*/ 1720844 w 2441576"/>
                <a:gd name="connsiteY45" fmla="*/ 901153 h 901154"/>
                <a:gd name="connsiteX46" fmla="*/ 1609632 w 2441576"/>
                <a:gd name="connsiteY46" fmla="*/ 901153 h 901154"/>
                <a:gd name="connsiteX47" fmla="*/ 1539566 w 2441576"/>
                <a:gd name="connsiteY47" fmla="*/ 901153 h 901154"/>
                <a:gd name="connsiteX48" fmla="*/ 1427685 w 2441576"/>
                <a:gd name="connsiteY48" fmla="*/ 901153 h 901154"/>
                <a:gd name="connsiteX49" fmla="*/ 1324785 w 2441576"/>
                <a:gd name="connsiteY49" fmla="*/ 901153 h 901154"/>
                <a:gd name="connsiteX50" fmla="*/ 1254721 w 2441576"/>
                <a:gd name="connsiteY50" fmla="*/ 901153 h 901154"/>
                <a:gd name="connsiteX51" fmla="*/ 1146253 w 2441576"/>
                <a:gd name="connsiteY51" fmla="*/ 901153 h 901154"/>
                <a:gd name="connsiteX52" fmla="*/ 1039939 w 2441576"/>
                <a:gd name="connsiteY52" fmla="*/ 901153 h 901154"/>
                <a:gd name="connsiteX53" fmla="*/ 969874 w 2441576"/>
                <a:gd name="connsiteY53" fmla="*/ 901153 h 901154"/>
                <a:gd name="connsiteX54" fmla="*/ 864820 w 2441576"/>
                <a:gd name="connsiteY54" fmla="*/ 901154 h 901154"/>
                <a:gd name="connsiteX55" fmla="*/ 755093 w 2441576"/>
                <a:gd name="connsiteY55" fmla="*/ 901153 h 901154"/>
                <a:gd name="connsiteX56" fmla="*/ 685028 w 2441576"/>
                <a:gd name="connsiteY56" fmla="*/ 901153 h 901154"/>
                <a:gd name="connsiteX57" fmla="*/ 581332 w 2441576"/>
                <a:gd name="connsiteY57" fmla="*/ 901153 h 901154"/>
                <a:gd name="connsiteX58" fmla="*/ 471351 w 2441576"/>
                <a:gd name="connsiteY58" fmla="*/ 901153 h 901154"/>
                <a:gd name="connsiteX59" fmla="*/ 470246 w 2441576"/>
                <a:gd name="connsiteY59" fmla="*/ 901153 h 901154"/>
                <a:gd name="connsiteX60" fmla="*/ 377080 w 2441576"/>
                <a:gd name="connsiteY60" fmla="*/ 901153 h 901154"/>
                <a:gd name="connsiteX61" fmla="*/ 282811 w 2441576"/>
                <a:gd name="connsiteY61" fmla="*/ 901153 h 901154"/>
                <a:gd name="connsiteX62" fmla="*/ 188541 w 2441576"/>
                <a:gd name="connsiteY62" fmla="*/ 901153 h 901154"/>
                <a:gd name="connsiteX63" fmla="*/ 185400 w 2441576"/>
                <a:gd name="connsiteY63" fmla="*/ 901153 h 901154"/>
                <a:gd name="connsiteX64" fmla="*/ 94270 w 2441576"/>
                <a:gd name="connsiteY64" fmla="*/ 901153 h 901154"/>
                <a:gd name="connsiteX65" fmla="*/ 0 w 2441576"/>
                <a:gd name="connsiteY65" fmla="*/ 901153 h 901154"/>
                <a:gd name="connsiteX66" fmla="*/ 0 w 2441576"/>
                <a:gd name="connsiteY66" fmla="*/ 832545 h 901154"/>
                <a:gd name="connsiteX67" fmla="*/ 0 w 2441576"/>
                <a:gd name="connsiteY67" fmla="*/ 760507 h 901154"/>
                <a:gd name="connsiteX68" fmla="*/ 0 w 2441576"/>
                <a:gd name="connsiteY68" fmla="*/ 691899 h 901154"/>
                <a:gd name="connsiteX69" fmla="*/ 0 w 2441576"/>
                <a:gd name="connsiteY69" fmla="*/ 608455 h 901154"/>
                <a:gd name="connsiteX70" fmla="*/ 0 w 2441576"/>
                <a:gd name="connsiteY70" fmla="*/ 539847 h 901154"/>
                <a:gd name="connsiteX71" fmla="*/ 0 w 2441576"/>
                <a:gd name="connsiteY71" fmla="*/ 456403 h 901154"/>
                <a:gd name="connsiteX72" fmla="*/ 0 w 2441576"/>
                <a:gd name="connsiteY72" fmla="*/ 387795 h 901154"/>
                <a:gd name="connsiteX73" fmla="*/ 0 w 2441576"/>
                <a:gd name="connsiteY73" fmla="*/ 304351 h 901154"/>
                <a:gd name="connsiteX74" fmla="*/ 0 w 2441576"/>
                <a:gd name="connsiteY74" fmla="*/ 235743 h 901154"/>
                <a:gd name="connsiteX75" fmla="*/ 0 w 2441576"/>
                <a:gd name="connsiteY75" fmla="*/ 152299 h 901154"/>
                <a:gd name="connsiteX76" fmla="*/ 0 w 2441576"/>
                <a:gd name="connsiteY76" fmla="*/ 83691 h 901154"/>
                <a:gd name="connsiteX77" fmla="*/ 0 w 2441576"/>
                <a:gd name="connsiteY77" fmla="*/ 247 h 901154"/>
                <a:gd name="connsiteX0" fmla="*/ 0 w 2441576"/>
                <a:gd name="connsiteY0" fmla="*/ 247 h 901154"/>
                <a:gd name="connsiteX1" fmla="*/ 94270 w 2441576"/>
                <a:gd name="connsiteY1" fmla="*/ 247 h 901154"/>
                <a:gd name="connsiteX2" fmla="*/ 185400 w 2441576"/>
                <a:gd name="connsiteY2" fmla="*/ 247 h 901154"/>
                <a:gd name="connsiteX3" fmla="*/ 188541 w 2441576"/>
                <a:gd name="connsiteY3" fmla="*/ 247 h 901154"/>
                <a:gd name="connsiteX4" fmla="*/ 282811 w 2441576"/>
                <a:gd name="connsiteY4" fmla="*/ 247 h 901154"/>
                <a:gd name="connsiteX5" fmla="*/ 377080 w 2441576"/>
                <a:gd name="connsiteY5" fmla="*/ 247 h 901154"/>
                <a:gd name="connsiteX6" fmla="*/ 470246 w 2441576"/>
                <a:gd name="connsiteY6" fmla="*/ 247 h 901154"/>
                <a:gd name="connsiteX7" fmla="*/ 471351 w 2441576"/>
                <a:gd name="connsiteY7" fmla="*/ 247 h 901154"/>
                <a:gd name="connsiteX8" fmla="*/ 581332 w 2441576"/>
                <a:gd name="connsiteY8" fmla="*/ 247 h 901154"/>
                <a:gd name="connsiteX9" fmla="*/ 685028 w 2441576"/>
                <a:gd name="connsiteY9" fmla="*/ 247 h 901154"/>
                <a:gd name="connsiteX10" fmla="*/ 755093 w 2441576"/>
                <a:gd name="connsiteY10" fmla="*/ 247 h 901154"/>
                <a:gd name="connsiteX11" fmla="*/ 969874 w 2441576"/>
                <a:gd name="connsiteY11" fmla="*/ 247 h 901154"/>
                <a:gd name="connsiteX12" fmla="*/ 1039939 w 2441576"/>
                <a:gd name="connsiteY12" fmla="*/ 247 h 901154"/>
                <a:gd name="connsiteX13" fmla="*/ 1146839 w 2441576"/>
                <a:gd name="connsiteY13" fmla="*/ 1 h 901154"/>
                <a:gd name="connsiteX14" fmla="*/ 1254721 w 2441576"/>
                <a:gd name="connsiteY14" fmla="*/ 247 h 901154"/>
                <a:gd name="connsiteX15" fmla="*/ 1324785 w 2441576"/>
                <a:gd name="connsiteY15" fmla="*/ 247 h 901154"/>
                <a:gd name="connsiteX16" fmla="*/ 1430031 w 2441576"/>
                <a:gd name="connsiteY16" fmla="*/ 0 h 901154"/>
                <a:gd name="connsiteX17" fmla="*/ 1539566 w 2441576"/>
                <a:gd name="connsiteY17" fmla="*/ 247 h 901154"/>
                <a:gd name="connsiteX18" fmla="*/ 1609632 w 2441576"/>
                <a:gd name="connsiteY18" fmla="*/ 247 h 901154"/>
                <a:gd name="connsiteX19" fmla="*/ 1707946 w 2441576"/>
                <a:gd name="connsiteY19" fmla="*/ 1 h 901154"/>
                <a:gd name="connsiteX20" fmla="*/ 1824412 w 2441576"/>
                <a:gd name="connsiteY20" fmla="*/ 247 h 901154"/>
                <a:gd name="connsiteX21" fmla="*/ 1941949 w 2441576"/>
                <a:gd name="connsiteY21" fmla="*/ 247 h 901154"/>
                <a:gd name="connsiteX22" fmla="*/ 2094866 w 2441576"/>
                <a:gd name="connsiteY22" fmla="*/ 247 h 901154"/>
                <a:gd name="connsiteX23" fmla="*/ 2176781 w 2441576"/>
                <a:gd name="connsiteY23" fmla="*/ 247 h 901154"/>
                <a:gd name="connsiteX24" fmla="*/ 2258696 w 2441576"/>
                <a:gd name="connsiteY24" fmla="*/ 247 h 901154"/>
                <a:gd name="connsiteX25" fmla="*/ 2321561 w 2441576"/>
                <a:gd name="connsiteY25" fmla="*/ 247 h 901154"/>
                <a:gd name="connsiteX26" fmla="*/ 2441576 w 2441576"/>
                <a:gd name="connsiteY26" fmla="*/ 247 h 901154"/>
                <a:gd name="connsiteX27" fmla="*/ 2441576 w 2441576"/>
                <a:gd name="connsiteY27" fmla="*/ 83691 h 901154"/>
                <a:gd name="connsiteX28" fmla="*/ 2441576 w 2441576"/>
                <a:gd name="connsiteY28" fmla="*/ 152299 h 901154"/>
                <a:gd name="connsiteX29" fmla="*/ 2441576 w 2441576"/>
                <a:gd name="connsiteY29" fmla="*/ 235743 h 901154"/>
                <a:gd name="connsiteX30" fmla="*/ 2441576 w 2441576"/>
                <a:gd name="connsiteY30" fmla="*/ 304351 h 901154"/>
                <a:gd name="connsiteX31" fmla="*/ 2441576 w 2441576"/>
                <a:gd name="connsiteY31" fmla="*/ 387795 h 901154"/>
                <a:gd name="connsiteX32" fmla="*/ 2441576 w 2441576"/>
                <a:gd name="connsiteY32" fmla="*/ 456403 h 901154"/>
                <a:gd name="connsiteX33" fmla="*/ 2441576 w 2441576"/>
                <a:gd name="connsiteY33" fmla="*/ 539847 h 901154"/>
                <a:gd name="connsiteX34" fmla="*/ 2441576 w 2441576"/>
                <a:gd name="connsiteY34" fmla="*/ 608455 h 901154"/>
                <a:gd name="connsiteX35" fmla="*/ 2441576 w 2441576"/>
                <a:gd name="connsiteY35" fmla="*/ 691899 h 901154"/>
                <a:gd name="connsiteX36" fmla="*/ 2441576 w 2441576"/>
                <a:gd name="connsiteY36" fmla="*/ 760507 h 901154"/>
                <a:gd name="connsiteX37" fmla="*/ 2441576 w 2441576"/>
                <a:gd name="connsiteY37" fmla="*/ 832545 h 901154"/>
                <a:gd name="connsiteX38" fmla="*/ 2441576 w 2441576"/>
                <a:gd name="connsiteY38" fmla="*/ 901153 h 901154"/>
                <a:gd name="connsiteX39" fmla="*/ 2321561 w 2441576"/>
                <a:gd name="connsiteY39" fmla="*/ 901153 h 901154"/>
                <a:gd name="connsiteX40" fmla="*/ 2239646 w 2441576"/>
                <a:gd name="connsiteY40" fmla="*/ 901153 h 901154"/>
                <a:gd name="connsiteX41" fmla="*/ 2176781 w 2441576"/>
                <a:gd name="connsiteY41" fmla="*/ 901153 h 901154"/>
                <a:gd name="connsiteX42" fmla="*/ 2109259 w 2441576"/>
                <a:gd name="connsiteY42" fmla="*/ 901153 h 901154"/>
                <a:gd name="connsiteX43" fmla="*/ 2025730 w 2441576"/>
                <a:gd name="connsiteY43" fmla="*/ 901153 h 901154"/>
                <a:gd name="connsiteX44" fmla="*/ 1941949 w 2441576"/>
                <a:gd name="connsiteY44" fmla="*/ 901153 h 901154"/>
                <a:gd name="connsiteX45" fmla="*/ 1824412 w 2441576"/>
                <a:gd name="connsiteY45" fmla="*/ 901153 h 901154"/>
                <a:gd name="connsiteX46" fmla="*/ 1720844 w 2441576"/>
                <a:gd name="connsiteY46" fmla="*/ 901153 h 901154"/>
                <a:gd name="connsiteX47" fmla="*/ 1609632 w 2441576"/>
                <a:gd name="connsiteY47" fmla="*/ 901153 h 901154"/>
                <a:gd name="connsiteX48" fmla="*/ 1539566 w 2441576"/>
                <a:gd name="connsiteY48" fmla="*/ 901153 h 901154"/>
                <a:gd name="connsiteX49" fmla="*/ 1427685 w 2441576"/>
                <a:gd name="connsiteY49" fmla="*/ 901153 h 901154"/>
                <a:gd name="connsiteX50" fmla="*/ 1324785 w 2441576"/>
                <a:gd name="connsiteY50" fmla="*/ 901153 h 901154"/>
                <a:gd name="connsiteX51" fmla="*/ 1254721 w 2441576"/>
                <a:gd name="connsiteY51" fmla="*/ 901153 h 901154"/>
                <a:gd name="connsiteX52" fmla="*/ 1146253 w 2441576"/>
                <a:gd name="connsiteY52" fmla="*/ 901153 h 901154"/>
                <a:gd name="connsiteX53" fmla="*/ 1039939 w 2441576"/>
                <a:gd name="connsiteY53" fmla="*/ 901153 h 901154"/>
                <a:gd name="connsiteX54" fmla="*/ 969874 w 2441576"/>
                <a:gd name="connsiteY54" fmla="*/ 901153 h 901154"/>
                <a:gd name="connsiteX55" fmla="*/ 864820 w 2441576"/>
                <a:gd name="connsiteY55" fmla="*/ 901154 h 901154"/>
                <a:gd name="connsiteX56" fmla="*/ 755093 w 2441576"/>
                <a:gd name="connsiteY56" fmla="*/ 901153 h 901154"/>
                <a:gd name="connsiteX57" fmla="*/ 685028 w 2441576"/>
                <a:gd name="connsiteY57" fmla="*/ 901153 h 901154"/>
                <a:gd name="connsiteX58" fmla="*/ 581332 w 2441576"/>
                <a:gd name="connsiteY58" fmla="*/ 901153 h 901154"/>
                <a:gd name="connsiteX59" fmla="*/ 471351 w 2441576"/>
                <a:gd name="connsiteY59" fmla="*/ 901153 h 901154"/>
                <a:gd name="connsiteX60" fmla="*/ 470246 w 2441576"/>
                <a:gd name="connsiteY60" fmla="*/ 901153 h 901154"/>
                <a:gd name="connsiteX61" fmla="*/ 377080 w 2441576"/>
                <a:gd name="connsiteY61" fmla="*/ 901153 h 901154"/>
                <a:gd name="connsiteX62" fmla="*/ 282811 w 2441576"/>
                <a:gd name="connsiteY62" fmla="*/ 901153 h 901154"/>
                <a:gd name="connsiteX63" fmla="*/ 188541 w 2441576"/>
                <a:gd name="connsiteY63" fmla="*/ 901153 h 901154"/>
                <a:gd name="connsiteX64" fmla="*/ 185400 w 2441576"/>
                <a:gd name="connsiteY64" fmla="*/ 901153 h 901154"/>
                <a:gd name="connsiteX65" fmla="*/ 94270 w 2441576"/>
                <a:gd name="connsiteY65" fmla="*/ 901153 h 901154"/>
                <a:gd name="connsiteX66" fmla="*/ 0 w 2441576"/>
                <a:gd name="connsiteY66" fmla="*/ 901153 h 901154"/>
                <a:gd name="connsiteX67" fmla="*/ 0 w 2441576"/>
                <a:gd name="connsiteY67" fmla="*/ 832545 h 901154"/>
                <a:gd name="connsiteX68" fmla="*/ 0 w 2441576"/>
                <a:gd name="connsiteY68" fmla="*/ 760507 h 901154"/>
                <a:gd name="connsiteX69" fmla="*/ 0 w 2441576"/>
                <a:gd name="connsiteY69" fmla="*/ 691899 h 901154"/>
                <a:gd name="connsiteX70" fmla="*/ 0 w 2441576"/>
                <a:gd name="connsiteY70" fmla="*/ 608455 h 901154"/>
                <a:gd name="connsiteX71" fmla="*/ 0 w 2441576"/>
                <a:gd name="connsiteY71" fmla="*/ 539847 h 901154"/>
                <a:gd name="connsiteX72" fmla="*/ 0 w 2441576"/>
                <a:gd name="connsiteY72" fmla="*/ 456403 h 901154"/>
                <a:gd name="connsiteX73" fmla="*/ 0 w 2441576"/>
                <a:gd name="connsiteY73" fmla="*/ 387795 h 901154"/>
                <a:gd name="connsiteX74" fmla="*/ 0 w 2441576"/>
                <a:gd name="connsiteY74" fmla="*/ 304351 h 901154"/>
                <a:gd name="connsiteX75" fmla="*/ 0 w 2441576"/>
                <a:gd name="connsiteY75" fmla="*/ 235743 h 901154"/>
                <a:gd name="connsiteX76" fmla="*/ 0 w 2441576"/>
                <a:gd name="connsiteY76" fmla="*/ 152299 h 901154"/>
                <a:gd name="connsiteX77" fmla="*/ 0 w 2441576"/>
                <a:gd name="connsiteY77" fmla="*/ 83691 h 901154"/>
                <a:gd name="connsiteX78" fmla="*/ 0 w 2441576"/>
                <a:gd name="connsiteY78" fmla="*/ 247 h 901154"/>
                <a:gd name="connsiteX0" fmla="*/ 0 w 2441576"/>
                <a:gd name="connsiteY0" fmla="*/ 247 h 901154"/>
                <a:gd name="connsiteX1" fmla="*/ 94270 w 2441576"/>
                <a:gd name="connsiteY1" fmla="*/ 247 h 901154"/>
                <a:gd name="connsiteX2" fmla="*/ 185400 w 2441576"/>
                <a:gd name="connsiteY2" fmla="*/ 247 h 901154"/>
                <a:gd name="connsiteX3" fmla="*/ 188541 w 2441576"/>
                <a:gd name="connsiteY3" fmla="*/ 247 h 901154"/>
                <a:gd name="connsiteX4" fmla="*/ 282811 w 2441576"/>
                <a:gd name="connsiteY4" fmla="*/ 247 h 901154"/>
                <a:gd name="connsiteX5" fmla="*/ 377080 w 2441576"/>
                <a:gd name="connsiteY5" fmla="*/ 247 h 901154"/>
                <a:gd name="connsiteX6" fmla="*/ 470246 w 2441576"/>
                <a:gd name="connsiteY6" fmla="*/ 247 h 901154"/>
                <a:gd name="connsiteX7" fmla="*/ 471351 w 2441576"/>
                <a:gd name="connsiteY7" fmla="*/ 247 h 901154"/>
                <a:gd name="connsiteX8" fmla="*/ 581332 w 2441576"/>
                <a:gd name="connsiteY8" fmla="*/ 247 h 901154"/>
                <a:gd name="connsiteX9" fmla="*/ 685028 w 2441576"/>
                <a:gd name="connsiteY9" fmla="*/ 247 h 901154"/>
                <a:gd name="connsiteX10" fmla="*/ 755093 w 2441576"/>
                <a:gd name="connsiteY10" fmla="*/ 247 h 901154"/>
                <a:gd name="connsiteX11" fmla="*/ 860129 w 2441576"/>
                <a:gd name="connsiteY11" fmla="*/ 1 h 901154"/>
                <a:gd name="connsiteX12" fmla="*/ 969874 w 2441576"/>
                <a:gd name="connsiteY12" fmla="*/ 247 h 901154"/>
                <a:gd name="connsiteX13" fmla="*/ 1039939 w 2441576"/>
                <a:gd name="connsiteY13" fmla="*/ 247 h 901154"/>
                <a:gd name="connsiteX14" fmla="*/ 1146839 w 2441576"/>
                <a:gd name="connsiteY14" fmla="*/ 1 h 901154"/>
                <a:gd name="connsiteX15" fmla="*/ 1254721 w 2441576"/>
                <a:gd name="connsiteY15" fmla="*/ 247 h 901154"/>
                <a:gd name="connsiteX16" fmla="*/ 1324785 w 2441576"/>
                <a:gd name="connsiteY16" fmla="*/ 247 h 901154"/>
                <a:gd name="connsiteX17" fmla="*/ 1430031 w 2441576"/>
                <a:gd name="connsiteY17" fmla="*/ 0 h 901154"/>
                <a:gd name="connsiteX18" fmla="*/ 1539566 w 2441576"/>
                <a:gd name="connsiteY18" fmla="*/ 247 h 901154"/>
                <a:gd name="connsiteX19" fmla="*/ 1609632 w 2441576"/>
                <a:gd name="connsiteY19" fmla="*/ 247 h 901154"/>
                <a:gd name="connsiteX20" fmla="*/ 1707946 w 2441576"/>
                <a:gd name="connsiteY20" fmla="*/ 1 h 901154"/>
                <a:gd name="connsiteX21" fmla="*/ 1824412 w 2441576"/>
                <a:gd name="connsiteY21" fmla="*/ 247 h 901154"/>
                <a:gd name="connsiteX22" fmla="*/ 1941949 w 2441576"/>
                <a:gd name="connsiteY22" fmla="*/ 247 h 901154"/>
                <a:gd name="connsiteX23" fmla="*/ 2094866 w 2441576"/>
                <a:gd name="connsiteY23" fmla="*/ 247 h 901154"/>
                <a:gd name="connsiteX24" fmla="*/ 2176781 w 2441576"/>
                <a:gd name="connsiteY24" fmla="*/ 247 h 901154"/>
                <a:gd name="connsiteX25" fmla="*/ 2258696 w 2441576"/>
                <a:gd name="connsiteY25" fmla="*/ 247 h 901154"/>
                <a:gd name="connsiteX26" fmla="*/ 2321561 w 2441576"/>
                <a:gd name="connsiteY26" fmla="*/ 247 h 901154"/>
                <a:gd name="connsiteX27" fmla="*/ 2441576 w 2441576"/>
                <a:gd name="connsiteY27" fmla="*/ 247 h 901154"/>
                <a:gd name="connsiteX28" fmla="*/ 2441576 w 2441576"/>
                <a:gd name="connsiteY28" fmla="*/ 83691 h 901154"/>
                <a:gd name="connsiteX29" fmla="*/ 2441576 w 2441576"/>
                <a:gd name="connsiteY29" fmla="*/ 152299 h 901154"/>
                <a:gd name="connsiteX30" fmla="*/ 2441576 w 2441576"/>
                <a:gd name="connsiteY30" fmla="*/ 235743 h 901154"/>
                <a:gd name="connsiteX31" fmla="*/ 2441576 w 2441576"/>
                <a:gd name="connsiteY31" fmla="*/ 304351 h 901154"/>
                <a:gd name="connsiteX32" fmla="*/ 2441576 w 2441576"/>
                <a:gd name="connsiteY32" fmla="*/ 387795 h 901154"/>
                <a:gd name="connsiteX33" fmla="*/ 2441576 w 2441576"/>
                <a:gd name="connsiteY33" fmla="*/ 456403 h 901154"/>
                <a:gd name="connsiteX34" fmla="*/ 2441576 w 2441576"/>
                <a:gd name="connsiteY34" fmla="*/ 539847 h 901154"/>
                <a:gd name="connsiteX35" fmla="*/ 2441576 w 2441576"/>
                <a:gd name="connsiteY35" fmla="*/ 608455 h 901154"/>
                <a:gd name="connsiteX36" fmla="*/ 2441576 w 2441576"/>
                <a:gd name="connsiteY36" fmla="*/ 691899 h 901154"/>
                <a:gd name="connsiteX37" fmla="*/ 2441576 w 2441576"/>
                <a:gd name="connsiteY37" fmla="*/ 760507 h 901154"/>
                <a:gd name="connsiteX38" fmla="*/ 2441576 w 2441576"/>
                <a:gd name="connsiteY38" fmla="*/ 832545 h 901154"/>
                <a:gd name="connsiteX39" fmla="*/ 2441576 w 2441576"/>
                <a:gd name="connsiteY39" fmla="*/ 901153 h 901154"/>
                <a:gd name="connsiteX40" fmla="*/ 2321561 w 2441576"/>
                <a:gd name="connsiteY40" fmla="*/ 901153 h 901154"/>
                <a:gd name="connsiteX41" fmla="*/ 2239646 w 2441576"/>
                <a:gd name="connsiteY41" fmla="*/ 901153 h 901154"/>
                <a:gd name="connsiteX42" fmla="*/ 2176781 w 2441576"/>
                <a:gd name="connsiteY42" fmla="*/ 901153 h 901154"/>
                <a:gd name="connsiteX43" fmla="*/ 2109259 w 2441576"/>
                <a:gd name="connsiteY43" fmla="*/ 901153 h 901154"/>
                <a:gd name="connsiteX44" fmla="*/ 2025730 w 2441576"/>
                <a:gd name="connsiteY44" fmla="*/ 901153 h 901154"/>
                <a:gd name="connsiteX45" fmla="*/ 1941949 w 2441576"/>
                <a:gd name="connsiteY45" fmla="*/ 901153 h 901154"/>
                <a:gd name="connsiteX46" fmla="*/ 1824412 w 2441576"/>
                <a:gd name="connsiteY46" fmla="*/ 901153 h 901154"/>
                <a:gd name="connsiteX47" fmla="*/ 1720844 w 2441576"/>
                <a:gd name="connsiteY47" fmla="*/ 901153 h 901154"/>
                <a:gd name="connsiteX48" fmla="*/ 1609632 w 2441576"/>
                <a:gd name="connsiteY48" fmla="*/ 901153 h 901154"/>
                <a:gd name="connsiteX49" fmla="*/ 1539566 w 2441576"/>
                <a:gd name="connsiteY49" fmla="*/ 901153 h 901154"/>
                <a:gd name="connsiteX50" fmla="*/ 1427685 w 2441576"/>
                <a:gd name="connsiteY50" fmla="*/ 901153 h 901154"/>
                <a:gd name="connsiteX51" fmla="*/ 1324785 w 2441576"/>
                <a:gd name="connsiteY51" fmla="*/ 901153 h 901154"/>
                <a:gd name="connsiteX52" fmla="*/ 1254721 w 2441576"/>
                <a:gd name="connsiteY52" fmla="*/ 901153 h 901154"/>
                <a:gd name="connsiteX53" fmla="*/ 1146253 w 2441576"/>
                <a:gd name="connsiteY53" fmla="*/ 901153 h 901154"/>
                <a:gd name="connsiteX54" fmla="*/ 1039939 w 2441576"/>
                <a:gd name="connsiteY54" fmla="*/ 901153 h 901154"/>
                <a:gd name="connsiteX55" fmla="*/ 969874 w 2441576"/>
                <a:gd name="connsiteY55" fmla="*/ 901153 h 901154"/>
                <a:gd name="connsiteX56" fmla="*/ 864820 w 2441576"/>
                <a:gd name="connsiteY56" fmla="*/ 901154 h 901154"/>
                <a:gd name="connsiteX57" fmla="*/ 755093 w 2441576"/>
                <a:gd name="connsiteY57" fmla="*/ 901153 h 901154"/>
                <a:gd name="connsiteX58" fmla="*/ 685028 w 2441576"/>
                <a:gd name="connsiteY58" fmla="*/ 901153 h 901154"/>
                <a:gd name="connsiteX59" fmla="*/ 581332 w 2441576"/>
                <a:gd name="connsiteY59" fmla="*/ 901153 h 901154"/>
                <a:gd name="connsiteX60" fmla="*/ 471351 w 2441576"/>
                <a:gd name="connsiteY60" fmla="*/ 901153 h 901154"/>
                <a:gd name="connsiteX61" fmla="*/ 470246 w 2441576"/>
                <a:gd name="connsiteY61" fmla="*/ 901153 h 901154"/>
                <a:gd name="connsiteX62" fmla="*/ 377080 w 2441576"/>
                <a:gd name="connsiteY62" fmla="*/ 901153 h 901154"/>
                <a:gd name="connsiteX63" fmla="*/ 282811 w 2441576"/>
                <a:gd name="connsiteY63" fmla="*/ 901153 h 901154"/>
                <a:gd name="connsiteX64" fmla="*/ 188541 w 2441576"/>
                <a:gd name="connsiteY64" fmla="*/ 901153 h 901154"/>
                <a:gd name="connsiteX65" fmla="*/ 185400 w 2441576"/>
                <a:gd name="connsiteY65" fmla="*/ 901153 h 901154"/>
                <a:gd name="connsiteX66" fmla="*/ 94270 w 2441576"/>
                <a:gd name="connsiteY66" fmla="*/ 901153 h 901154"/>
                <a:gd name="connsiteX67" fmla="*/ 0 w 2441576"/>
                <a:gd name="connsiteY67" fmla="*/ 901153 h 901154"/>
                <a:gd name="connsiteX68" fmla="*/ 0 w 2441576"/>
                <a:gd name="connsiteY68" fmla="*/ 832545 h 901154"/>
                <a:gd name="connsiteX69" fmla="*/ 0 w 2441576"/>
                <a:gd name="connsiteY69" fmla="*/ 760507 h 901154"/>
                <a:gd name="connsiteX70" fmla="*/ 0 w 2441576"/>
                <a:gd name="connsiteY70" fmla="*/ 691899 h 901154"/>
                <a:gd name="connsiteX71" fmla="*/ 0 w 2441576"/>
                <a:gd name="connsiteY71" fmla="*/ 608455 h 901154"/>
                <a:gd name="connsiteX72" fmla="*/ 0 w 2441576"/>
                <a:gd name="connsiteY72" fmla="*/ 539847 h 901154"/>
                <a:gd name="connsiteX73" fmla="*/ 0 w 2441576"/>
                <a:gd name="connsiteY73" fmla="*/ 456403 h 901154"/>
                <a:gd name="connsiteX74" fmla="*/ 0 w 2441576"/>
                <a:gd name="connsiteY74" fmla="*/ 387795 h 901154"/>
                <a:gd name="connsiteX75" fmla="*/ 0 w 2441576"/>
                <a:gd name="connsiteY75" fmla="*/ 304351 h 901154"/>
                <a:gd name="connsiteX76" fmla="*/ 0 w 2441576"/>
                <a:gd name="connsiteY76" fmla="*/ 235743 h 901154"/>
                <a:gd name="connsiteX77" fmla="*/ 0 w 2441576"/>
                <a:gd name="connsiteY77" fmla="*/ 152299 h 901154"/>
                <a:gd name="connsiteX78" fmla="*/ 0 w 2441576"/>
                <a:gd name="connsiteY78" fmla="*/ 83691 h 901154"/>
                <a:gd name="connsiteX79" fmla="*/ 0 w 2441576"/>
                <a:gd name="connsiteY79" fmla="*/ 247 h 901154"/>
                <a:gd name="connsiteX0" fmla="*/ 0 w 2441576"/>
                <a:gd name="connsiteY0" fmla="*/ 247 h 901154"/>
                <a:gd name="connsiteX1" fmla="*/ 94270 w 2441576"/>
                <a:gd name="connsiteY1" fmla="*/ 247 h 901154"/>
                <a:gd name="connsiteX2" fmla="*/ 185400 w 2441576"/>
                <a:gd name="connsiteY2" fmla="*/ 247 h 901154"/>
                <a:gd name="connsiteX3" fmla="*/ 188541 w 2441576"/>
                <a:gd name="connsiteY3" fmla="*/ 247 h 901154"/>
                <a:gd name="connsiteX4" fmla="*/ 282811 w 2441576"/>
                <a:gd name="connsiteY4" fmla="*/ 247 h 901154"/>
                <a:gd name="connsiteX5" fmla="*/ 377080 w 2441576"/>
                <a:gd name="connsiteY5" fmla="*/ 247 h 901154"/>
                <a:gd name="connsiteX6" fmla="*/ 470246 w 2441576"/>
                <a:gd name="connsiteY6" fmla="*/ 247 h 901154"/>
                <a:gd name="connsiteX7" fmla="*/ 581332 w 2441576"/>
                <a:gd name="connsiteY7" fmla="*/ 247 h 901154"/>
                <a:gd name="connsiteX8" fmla="*/ 685028 w 2441576"/>
                <a:gd name="connsiteY8" fmla="*/ 247 h 901154"/>
                <a:gd name="connsiteX9" fmla="*/ 755093 w 2441576"/>
                <a:gd name="connsiteY9" fmla="*/ 247 h 901154"/>
                <a:gd name="connsiteX10" fmla="*/ 860129 w 2441576"/>
                <a:gd name="connsiteY10" fmla="*/ 1 h 901154"/>
                <a:gd name="connsiteX11" fmla="*/ 969874 w 2441576"/>
                <a:gd name="connsiteY11" fmla="*/ 247 h 901154"/>
                <a:gd name="connsiteX12" fmla="*/ 1039939 w 2441576"/>
                <a:gd name="connsiteY12" fmla="*/ 247 h 901154"/>
                <a:gd name="connsiteX13" fmla="*/ 1146839 w 2441576"/>
                <a:gd name="connsiteY13" fmla="*/ 1 h 901154"/>
                <a:gd name="connsiteX14" fmla="*/ 1254721 w 2441576"/>
                <a:gd name="connsiteY14" fmla="*/ 247 h 901154"/>
                <a:gd name="connsiteX15" fmla="*/ 1324785 w 2441576"/>
                <a:gd name="connsiteY15" fmla="*/ 247 h 901154"/>
                <a:gd name="connsiteX16" fmla="*/ 1430031 w 2441576"/>
                <a:gd name="connsiteY16" fmla="*/ 0 h 901154"/>
                <a:gd name="connsiteX17" fmla="*/ 1539566 w 2441576"/>
                <a:gd name="connsiteY17" fmla="*/ 247 h 901154"/>
                <a:gd name="connsiteX18" fmla="*/ 1609632 w 2441576"/>
                <a:gd name="connsiteY18" fmla="*/ 247 h 901154"/>
                <a:gd name="connsiteX19" fmla="*/ 1707946 w 2441576"/>
                <a:gd name="connsiteY19" fmla="*/ 1 h 901154"/>
                <a:gd name="connsiteX20" fmla="*/ 1824412 w 2441576"/>
                <a:gd name="connsiteY20" fmla="*/ 247 h 901154"/>
                <a:gd name="connsiteX21" fmla="*/ 1941949 w 2441576"/>
                <a:gd name="connsiteY21" fmla="*/ 247 h 901154"/>
                <a:gd name="connsiteX22" fmla="*/ 2094866 w 2441576"/>
                <a:gd name="connsiteY22" fmla="*/ 247 h 901154"/>
                <a:gd name="connsiteX23" fmla="*/ 2176781 w 2441576"/>
                <a:gd name="connsiteY23" fmla="*/ 247 h 901154"/>
                <a:gd name="connsiteX24" fmla="*/ 2258696 w 2441576"/>
                <a:gd name="connsiteY24" fmla="*/ 247 h 901154"/>
                <a:gd name="connsiteX25" fmla="*/ 2321561 w 2441576"/>
                <a:gd name="connsiteY25" fmla="*/ 247 h 901154"/>
                <a:gd name="connsiteX26" fmla="*/ 2441576 w 2441576"/>
                <a:gd name="connsiteY26" fmla="*/ 247 h 901154"/>
                <a:gd name="connsiteX27" fmla="*/ 2441576 w 2441576"/>
                <a:gd name="connsiteY27" fmla="*/ 83691 h 901154"/>
                <a:gd name="connsiteX28" fmla="*/ 2441576 w 2441576"/>
                <a:gd name="connsiteY28" fmla="*/ 152299 h 901154"/>
                <a:gd name="connsiteX29" fmla="*/ 2441576 w 2441576"/>
                <a:gd name="connsiteY29" fmla="*/ 235743 h 901154"/>
                <a:gd name="connsiteX30" fmla="*/ 2441576 w 2441576"/>
                <a:gd name="connsiteY30" fmla="*/ 304351 h 901154"/>
                <a:gd name="connsiteX31" fmla="*/ 2441576 w 2441576"/>
                <a:gd name="connsiteY31" fmla="*/ 387795 h 901154"/>
                <a:gd name="connsiteX32" fmla="*/ 2441576 w 2441576"/>
                <a:gd name="connsiteY32" fmla="*/ 456403 h 901154"/>
                <a:gd name="connsiteX33" fmla="*/ 2441576 w 2441576"/>
                <a:gd name="connsiteY33" fmla="*/ 539847 h 901154"/>
                <a:gd name="connsiteX34" fmla="*/ 2441576 w 2441576"/>
                <a:gd name="connsiteY34" fmla="*/ 608455 h 901154"/>
                <a:gd name="connsiteX35" fmla="*/ 2441576 w 2441576"/>
                <a:gd name="connsiteY35" fmla="*/ 691899 h 901154"/>
                <a:gd name="connsiteX36" fmla="*/ 2441576 w 2441576"/>
                <a:gd name="connsiteY36" fmla="*/ 760507 h 901154"/>
                <a:gd name="connsiteX37" fmla="*/ 2441576 w 2441576"/>
                <a:gd name="connsiteY37" fmla="*/ 832545 h 901154"/>
                <a:gd name="connsiteX38" fmla="*/ 2441576 w 2441576"/>
                <a:gd name="connsiteY38" fmla="*/ 901153 h 901154"/>
                <a:gd name="connsiteX39" fmla="*/ 2321561 w 2441576"/>
                <a:gd name="connsiteY39" fmla="*/ 901153 h 901154"/>
                <a:gd name="connsiteX40" fmla="*/ 2239646 w 2441576"/>
                <a:gd name="connsiteY40" fmla="*/ 901153 h 901154"/>
                <a:gd name="connsiteX41" fmla="*/ 2176781 w 2441576"/>
                <a:gd name="connsiteY41" fmla="*/ 901153 h 901154"/>
                <a:gd name="connsiteX42" fmla="*/ 2109259 w 2441576"/>
                <a:gd name="connsiteY42" fmla="*/ 901153 h 901154"/>
                <a:gd name="connsiteX43" fmla="*/ 2025730 w 2441576"/>
                <a:gd name="connsiteY43" fmla="*/ 901153 h 901154"/>
                <a:gd name="connsiteX44" fmla="*/ 1941949 w 2441576"/>
                <a:gd name="connsiteY44" fmla="*/ 901153 h 901154"/>
                <a:gd name="connsiteX45" fmla="*/ 1824412 w 2441576"/>
                <a:gd name="connsiteY45" fmla="*/ 901153 h 901154"/>
                <a:gd name="connsiteX46" fmla="*/ 1720844 w 2441576"/>
                <a:gd name="connsiteY46" fmla="*/ 901153 h 901154"/>
                <a:gd name="connsiteX47" fmla="*/ 1609632 w 2441576"/>
                <a:gd name="connsiteY47" fmla="*/ 901153 h 901154"/>
                <a:gd name="connsiteX48" fmla="*/ 1539566 w 2441576"/>
                <a:gd name="connsiteY48" fmla="*/ 901153 h 901154"/>
                <a:gd name="connsiteX49" fmla="*/ 1427685 w 2441576"/>
                <a:gd name="connsiteY49" fmla="*/ 901153 h 901154"/>
                <a:gd name="connsiteX50" fmla="*/ 1324785 w 2441576"/>
                <a:gd name="connsiteY50" fmla="*/ 901153 h 901154"/>
                <a:gd name="connsiteX51" fmla="*/ 1254721 w 2441576"/>
                <a:gd name="connsiteY51" fmla="*/ 901153 h 901154"/>
                <a:gd name="connsiteX52" fmla="*/ 1146253 w 2441576"/>
                <a:gd name="connsiteY52" fmla="*/ 901153 h 901154"/>
                <a:gd name="connsiteX53" fmla="*/ 1039939 w 2441576"/>
                <a:gd name="connsiteY53" fmla="*/ 901153 h 901154"/>
                <a:gd name="connsiteX54" fmla="*/ 969874 w 2441576"/>
                <a:gd name="connsiteY54" fmla="*/ 901153 h 901154"/>
                <a:gd name="connsiteX55" fmla="*/ 864820 w 2441576"/>
                <a:gd name="connsiteY55" fmla="*/ 901154 h 901154"/>
                <a:gd name="connsiteX56" fmla="*/ 755093 w 2441576"/>
                <a:gd name="connsiteY56" fmla="*/ 901153 h 901154"/>
                <a:gd name="connsiteX57" fmla="*/ 685028 w 2441576"/>
                <a:gd name="connsiteY57" fmla="*/ 901153 h 901154"/>
                <a:gd name="connsiteX58" fmla="*/ 581332 w 2441576"/>
                <a:gd name="connsiteY58" fmla="*/ 901153 h 901154"/>
                <a:gd name="connsiteX59" fmla="*/ 471351 w 2441576"/>
                <a:gd name="connsiteY59" fmla="*/ 901153 h 901154"/>
                <a:gd name="connsiteX60" fmla="*/ 470246 w 2441576"/>
                <a:gd name="connsiteY60" fmla="*/ 901153 h 901154"/>
                <a:gd name="connsiteX61" fmla="*/ 377080 w 2441576"/>
                <a:gd name="connsiteY61" fmla="*/ 901153 h 901154"/>
                <a:gd name="connsiteX62" fmla="*/ 282811 w 2441576"/>
                <a:gd name="connsiteY62" fmla="*/ 901153 h 901154"/>
                <a:gd name="connsiteX63" fmla="*/ 188541 w 2441576"/>
                <a:gd name="connsiteY63" fmla="*/ 901153 h 901154"/>
                <a:gd name="connsiteX64" fmla="*/ 185400 w 2441576"/>
                <a:gd name="connsiteY64" fmla="*/ 901153 h 901154"/>
                <a:gd name="connsiteX65" fmla="*/ 94270 w 2441576"/>
                <a:gd name="connsiteY65" fmla="*/ 901153 h 901154"/>
                <a:gd name="connsiteX66" fmla="*/ 0 w 2441576"/>
                <a:gd name="connsiteY66" fmla="*/ 901153 h 901154"/>
                <a:gd name="connsiteX67" fmla="*/ 0 w 2441576"/>
                <a:gd name="connsiteY67" fmla="*/ 832545 h 901154"/>
                <a:gd name="connsiteX68" fmla="*/ 0 w 2441576"/>
                <a:gd name="connsiteY68" fmla="*/ 760507 h 901154"/>
                <a:gd name="connsiteX69" fmla="*/ 0 w 2441576"/>
                <a:gd name="connsiteY69" fmla="*/ 691899 h 901154"/>
                <a:gd name="connsiteX70" fmla="*/ 0 w 2441576"/>
                <a:gd name="connsiteY70" fmla="*/ 608455 h 901154"/>
                <a:gd name="connsiteX71" fmla="*/ 0 w 2441576"/>
                <a:gd name="connsiteY71" fmla="*/ 539847 h 901154"/>
                <a:gd name="connsiteX72" fmla="*/ 0 w 2441576"/>
                <a:gd name="connsiteY72" fmla="*/ 456403 h 901154"/>
                <a:gd name="connsiteX73" fmla="*/ 0 w 2441576"/>
                <a:gd name="connsiteY73" fmla="*/ 387795 h 901154"/>
                <a:gd name="connsiteX74" fmla="*/ 0 w 2441576"/>
                <a:gd name="connsiteY74" fmla="*/ 304351 h 901154"/>
                <a:gd name="connsiteX75" fmla="*/ 0 w 2441576"/>
                <a:gd name="connsiteY75" fmla="*/ 235743 h 901154"/>
                <a:gd name="connsiteX76" fmla="*/ 0 w 2441576"/>
                <a:gd name="connsiteY76" fmla="*/ 152299 h 901154"/>
                <a:gd name="connsiteX77" fmla="*/ 0 w 2441576"/>
                <a:gd name="connsiteY77" fmla="*/ 83691 h 901154"/>
                <a:gd name="connsiteX78" fmla="*/ 0 w 2441576"/>
                <a:gd name="connsiteY78" fmla="*/ 247 h 901154"/>
                <a:gd name="connsiteX0" fmla="*/ 0 w 2441576"/>
                <a:gd name="connsiteY0" fmla="*/ 247 h 901154"/>
                <a:gd name="connsiteX1" fmla="*/ 94270 w 2441576"/>
                <a:gd name="connsiteY1" fmla="*/ 247 h 901154"/>
                <a:gd name="connsiteX2" fmla="*/ 185400 w 2441576"/>
                <a:gd name="connsiteY2" fmla="*/ 247 h 901154"/>
                <a:gd name="connsiteX3" fmla="*/ 282811 w 2441576"/>
                <a:gd name="connsiteY3" fmla="*/ 247 h 901154"/>
                <a:gd name="connsiteX4" fmla="*/ 377080 w 2441576"/>
                <a:gd name="connsiteY4" fmla="*/ 247 h 901154"/>
                <a:gd name="connsiteX5" fmla="*/ 470246 w 2441576"/>
                <a:gd name="connsiteY5" fmla="*/ 247 h 901154"/>
                <a:gd name="connsiteX6" fmla="*/ 581332 w 2441576"/>
                <a:gd name="connsiteY6" fmla="*/ 247 h 901154"/>
                <a:gd name="connsiteX7" fmla="*/ 685028 w 2441576"/>
                <a:gd name="connsiteY7" fmla="*/ 247 h 901154"/>
                <a:gd name="connsiteX8" fmla="*/ 755093 w 2441576"/>
                <a:gd name="connsiteY8" fmla="*/ 247 h 901154"/>
                <a:gd name="connsiteX9" fmla="*/ 860129 w 2441576"/>
                <a:gd name="connsiteY9" fmla="*/ 1 h 901154"/>
                <a:gd name="connsiteX10" fmla="*/ 969874 w 2441576"/>
                <a:gd name="connsiteY10" fmla="*/ 247 h 901154"/>
                <a:gd name="connsiteX11" fmla="*/ 1039939 w 2441576"/>
                <a:gd name="connsiteY11" fmla="*/ 247 h 901154"/>
                <a:gd name="connsiteX12" fmla="*/ 1146839 w 2441576"/>
                <a:gd name="connsiteY12" fmla="*/ 1 h 901154"/>
                <a:gd name="connsiteX13" fmla="*/ 1254721 w 2441576"/>
                <a:gd name="connsiteY13" fmla="*/ 247 h 901154"/>
                <a:gd name="connsiteX14" fmla="*/ 1324785 w 2441576"/>
                <a:gd name="connsiteY14" fmla="*/ 247 h 901154"/>
                <a:gd name="connsiteX15" fmla="*/ 1430031 w 2441576"/>
                <a:gd name="connsiteY15" fmla="*/ 0 h 901154"/>
                <a:gd name="connsiteX16" fmla="*/ 1539566 w 2441576"/>
                <a:gd name="connsiteY16" fmla="*/ 247 h 901154"/>
                <a:gd name="connsiteX17" fmla="*/ 1609632 w 2441576"/>
                <a:gd name="connsiteY17" fmla="*/ 247 h 901154"/>
                <a:gd name="connsiteX18" fmla="*/ 1707946 w 2441576"/>
                <a:gd name="connsiteY18" fmla="*/ 1 h 901154"/>
                <a:gd name="connsiteX19" fmla="*/ 1824412 w 2441576"/>
                <a:gd name="connsiteY19" fmla="*/ 247 h 901154"/>
                <a:gd name="connsiteX20" fmla="*/ 1941949 w 2441576"/>
                <a:gd name="connsiteY20" fmla="*/ 247 h 901154"/>
                <a:gd name="connsiteX21" fmla="*/ 2094866 w 2441576"/>
                <a:gd name="connsiteY21" fmla="*/ 247 h 901154"/>
                <a:gd name="connsiteX22" fmla="*/ 2176781 w 2441576"/>
                <a:gd name="connsiteY22" fmla="*/ 247 h 901154"/>
                <a:gd name="connsiteX23" fmla="*/ 2258696 w 2441576"/>
                <a:gd name="connsiteY23" fmla="*/ 247 h 901154"/>
                <a:gd name="connsiteX24" fmla="*/ 2321561 w 2441576"/>
                <a:gd name="connsiteY24" fmla="*/ 247 h 901154"/>
                <a:gd name="connsiteX25" fmla="*/ 2441576 w 2441576"/>
                <a:gd name="connsiteY25" fmla="*/ 247 h 901154"/>
                <a:gd name="connsiteX26" fmla="*/ 2441576 w 2441576"/>
                <a:gd name="connsiteY26" fmla="*/ 83691 h 901154"/>
                <a:gd name="connsiteX27" fmla="*/ 2441576 w 2441576"/>
                <a:gd name="connsiteY27" fmla="*/ 152299 h 901154"/>
                <a:gd name="connsiteX28" fmla="*/ 2441576 w 2441576"/>
                <a:gd name="connsiteY28" fmla="*/ 235743 h 901154"/>
                <a:gd name="connsiteX29" fmla="*/ 2441576 w 2441576"/>
                <a:gd name="connsiteY29" fmla="*/ 304351 h 901154"/>
                <a:gd name="connsiteX30" fmla="*/ 2441576 w 2441576"/>
                <a:gd name="connsiteY30" fmla="*/ 387795 h 901154"/>
                <a:gd name="connsiteX31" fmla="*/ 2441576 w 2441576"/>
                <a:gd name="connsiteY31" fmla="*/ 456403 h 901154"/>
                <a:gd name="connsiteX32" fmla="*/ 2441576 w 2441576"/>
                <a:gd name="connsiteY32" fmla="*/ 539847 h 901154"/>
                <a:gd name="connsiteX33" fmla="*/ 2441576 w 2441576"/>
                <a:gd name="connsiteY33" fmla="*/ 608455 h 901154"/>
                <a:gd name="connsiteX34" fmla="*/ 2441576 w 2441576"/>
                <a:gd name="connsiteY34" fmla="*/ 691899 h 901154"/>
                <a:gd name="connsiteX35" fmla="*/ 2441576 w 2441576"/>
                <a:gd name="connsiteY35" fmla="*/ 760507 h 901154"/>
                <a:gd name="connsiteX36" fmla="*/ 2441576 w 2441576"/>
                <a:gd name="connsiteY36" fmla="*/ 832545 h 901154"/>
                <a:gd name="connsiteX37" fmla="*/ 2441576 w 2441576"/>
                <a:gd name="connsiteY37" fmla="*/ 901153 h 901154"/>
                <a:gd name="connsiteX38" fmla="*/ 2321561 w 2441576"/>
                <a:gd name="connsiteY38" fmla="*/ 901153 h 901154"/>
                <a:gd name="connsiteX39" fmla="*/ 2239646 w 2441576"/>
                <a:gd name="connsiteY39" fmla="*/ 901153 h 901154"/>
                <a:gd name="connsiteX40" fmla="*/ 2176781 w 2441576"/>
                <a:gd name="connsiteY40" fmla="*/ 901153 h 901154"/>
                <a:gd name="connsiteX41" fmla="*/ 2109259 w 2441576"/>
                <a:gd name="connsiteY41" fmla="*/ 901153 h 901154"/>
                <a:gd name="connsiteX42" fmla="*/ 2025730 w 2441576"/>
                <a:gd name="connsiteY42" fmla="*/ 901153 h 901154"/>
                <a:gd name="connsiteX43" fmla="*/ 1941949 w 2441576"/>
                <a:gd name="connsiteY43" fmla="*/ 901153 h 901154"/>
                <a:gd name="connsiteX44" fmla="*/ 1824412 w 2441576"/>
                <a:gd name="connsiteY44" fmla="*/ 901153 h 901154"/>
                <a:gd name="connsiteX45" fmla="*/ 1720844 w 2441576"/>
                <a:gd name="connsiteY45" fmla="*/ 901153 h 901154"/>
                <a:gd name="connsiteX46" fmla="*/ 1609632 w 2441576"/>
                <a:gd name="connsiteY46" fmla="*/ 901153 h 901154"/>
                <a:gd name="connsiteX47" fmla="*/ 1539566 w 2441576"/>
                <a:gd name="connsiteY47" fmla="*/ 901153 h 901154"/>
                <a:gd name="connsiteX48" fmla="*/ 1427685 w 2441576"/>
                <a:gd name="connsiteY48" fmla="*/ 901153 h 901154"/>
                <a:gd name="connsiteX49" fmla="*/ 1324785 w 2441576"/>
                <a:gd name="connsiteY49" fmla="*/ 901153 h 901154"/>
                <a:gd name="connsiteX50" fmla="*/ 1254721 w 2441576"/>
                <a:gd name="connsiteY50" fmla="*/ 901153 h 901154"/>
                <a:gd name="connsiteX51" fmla="*/ 1146253 w 2441576"/>
                <a:gd name="connsiteY51" fmla="*/ 901153 h 901154"/>
                <a:gd name="connsiteX52" fmla="*/ 1039939 w 2441576"/>
                <a:gd name="connsiteY52" fmla="*/ 901153 h 901154"/>
                <a:gd name="connsiteX53" fmla="*/ 969874 w 2441576"/>
                <a:gd name="connsiteY53" fmla="*/ 901153 h 901154"/>
                <a:gd name="connsiteX54" fmla="*/ 864820 w 2441576"/>
                <a:gd name="connsiteY54" fmla="*/ 901154 h 901154"/>
                <a:gd name="connsiteX55" fmla="*/ 755093 w 2441576"/>
                <a:gd name="connsiteY55" fmla="*/ 901153 h 901154"/>
                <a:gd name="connsiteX56" fmla="*/ 685028 w 2441576"/>
                <a:gd name="connsiteY56" fmla="*/ 901153 h 901154"/>
                <a:gd name="connsiteX57" fmla="*/ 581332 w 2441576"/>
                <a:gd name="connsiteY57" fmla="*/ 901153 h 901154"/>
                <a:gd name="connsiteX58" fmla="*/ 471351 w 2441576"/>
                <a:gd name="connsiteY58" fmla="*/ 901153 h 901154"/>
                <a:gd name="connsiteX59" fmla="*/ 470246 w 2441576"/>
                <a:gd name="connsiteY59" fmla="*/ 901153 h 901154"/>
                <a:gd name="connsiteX60" fmla="*/ 377080 w 2441576"/>
                <a:gd name="connsiteY60" fmla="*/ 901153 h 901154"/>
                <a:gd name="connsiteX61" fmla="*/ 282811 w 2441576"/>
                <a:gd name="connsiteY61" fmla="*/ 901153 h 901154"/>
                <a:gd name="connsiteX62" fmla="*/ 188541 w 2441576"/>
                <a:gd name="connsiteY62" fmla="*/ 901153 h 901154"/>
                <a:gd name="connsiteX63" fmla="*/ 185400 w 2441576"/>
                <a:gd name="connsiteY63" fmla="*/ 901153 h 901154"/>
                <a:gd name="connsiteX64" fmla="*/ 94270 w 2441576"/>
                <a:gd name="connsiteY64" fmla="*/ 901153 h 901154"/>
                <a:gd name="connsiteX65" fmla="*/ 0 w 2441576"/>
                <a:gd name="connsiteY65" fmla="*/ 901153 h 901154"/>
                <a:gd name="connsiteX66" fmla="*/ 0 w 2441576"/>
                <a:gd name="connsiteY66" fmla="*/ 832545 h 901154"/>
                <a:gd name="connsiteX67" fmla="*/ 0 w 2441576"/>
                <a:gd name="connsiteY67" fmla="*/ 760507 h 901154"/>
                <a:gd name="connsiteX68" fmla="*/ 0 w 2441576"/>
                <a:gd name="connsiteY68" fmla="*/ 691899 h 901154"/>
                <a:gd name="connsiteX69" fmla="*/ 0 w 2441576"/>
                <a:gd name="connsiteY69" fmla="*/ 608455 h 901154"/>
                <a:gd name="connsiteX70" fmla="*/ 0 w 2441576"/>
                <a:gd name="connsiteY70" fmla="*/ 539847 h 901154"/>
                <a:gd name="connsiteX71" fmla="*/ 0 w 2441576"/>
                <a:gd name="connsiteY71" fmla="*/ 456403 h 901154"/>
                <a:gd name="connsiteX72" fmla="*/ 0 w 2441576"/>
                <a:gd name="connsiteY72" fmla="*/ 387795 h 901154"/>
                <a:gd name="connsiteX73" fmla="*/ 0 w 2441576"/>
                <a:gd name="connsiteY73" fmla="*/ 304351 h 901154"/>
                <a:gd name="connsiteX74" fmla="*/ 0 w 2441576"/>
                <a:gd name="connsiteY74" fmla="*/ 235743 h 901154"/>
                <a:gd name="connsiteX75" fmla="*/ 0 w 2441576"/>
                <a:gd name="connsiteY75" fmla="*/ 152299 h 901154"/>
                <a:gd name="connsiteX76" fmla="*/ 0 w 2441576"/>
                <a:gd name="connsiteY76" fmla="*/ 83691 h 901154"/>
                <a:gd name="connsiteX77" fmla="*/ 0 w 2441576"/>
                <a:gd name="connsiteY77" fmla="*/ 247 h 901154"/>
                <a:gd name="connsiteX0" fmla="*/ 0 w 2441576"/>
                <a:gd name="connsiteY0" fmla="*/ 247 h 901154"/>
                <a:gd name="connsiteX1" fmla="*/ 94270 w 2441576"/>
                <a:gd name="connsiteY1" fmla="*/ 247 h 901154"/>
                <a:gd name="connsiteX2" fmla="*/ 185400 w 2441576"/>
                <a:gd name="connsiteY2" fmla="*/ 247 h 901154"/>
                <a:gd name="connsiteX3" fmla="*/ 282811 w 2441576"/>
                <a:gd name="connsiteY3" fmla="*/ 247 h 901154"/>
                <a:gd name="connsiteX4" fmla="*/ 377080 w 2441576"/>
                <a:gd name="connsiteY4" fmla="*/ 247 h 901154"/>
                <a:gd name="connsiteX5" fmla="*/ 470246 w 2441576"/>
                <a:gd name="connsiteY5" fmla="*/ 247 h 901154"/>
                <a:gd name="connsiteX6" fmla="*/ 581332 w 2441576"/>
                <a:gd name="connsiteY6" fmla="*/ 247 h 901154"/>
                <a:gd name="connsiteX7" fmla="*/ 685028 w 2441576"/>
                <a:gd name="connsiteY7" fmla="*/ 247 h 901154"/>
                <a:gd name="connsiteX8" fmla="*/ 755093 w 2441576"/>
                <a:gd name="connsiteY8" fmla="*/ 247 h 901154"/>
                <a:gd name="connsiteX9" fmla="*/ 860129 w 2441576"/>
                <a:gd name="connsiteY9" fmla="*/ 1 h 901154"/>
                <a:gd name="connsiteX10" fmla="*/ 969874 w 2441576"/>
                <a:gd name="connsiteY10" fmla="*/ 247 h 901154"/>
                <a:gd name="connsiteX11" fmla="*/ 1039939 w 2441576"/>
                <a:gd name="connsiteY11" fmla="*/ 247 h 901154"/>
                <a:gd name="connsiteX12" fmla="*/ 1146839 w 2441576"/>
                <a:gd name="connsiteY12" fmla="*/ 1 h 901154"/>
                <a:gd name="connsiteX13" fmla="*/ 1254721 w 2441576"/>
                <a:gd name="connsiteY13" fmla="*/ 247 h 901154"/>
                <a:gd name="connsiteX14" fmla="*/ 1324785 w 2441576"/>
                <a:gd name="connsiteY14" fmla="*/ 247 h 901154"/>
                <a:gd name="connsiteX15" fmla="*/ 1430031 w 2441576"/>
                <a:gd name="connsiteY15" fmla="*/ 0 h 901154"/>
                <a:gd name="connsiteX16" fmla="*/ 1539566 w 2441576"/>
                <a:gd name="connsiteY16" fmla="*/ 247 h 901154"/>
                <a:gd name="connsiteX17" fmla="*/ 1609632 w 2441576"/>
                <a:gd name="connsiteY17" fmla="*/ 247 h 901154"/>
                <a:gd name="connsiteX18" fmla="*/ 1707946 w 2441576"/>
                <a:gd name="connsiteY18" fmla="*/ 1 h 901154"/>
                <a:gd name="connsiteX19" fmla="*/ 1824412 w 2441576"/>
                <a:gd name="connsiteY19" fmla="*/ 247 h 901154"/>
                <a:gd name="connsiteX20" fmla="*/ 1941949 w 2441576"/>
                <a:gd name="connsiteY20" fmla="*/ 247 h 901154"/>
                <a:gd name="connsiteX21" fmla="*/ 2094866 w 2441576"/>
                <a:gd name="connsiteY21" fmla="*/ 247 h 901154"/>
                <a:gd name="connsiteX22" fmla="*/ 2176781 w 2441576"/>
                <a:gd name="connsiteY22" fmla="*/ 247 h 901154"/>
                <a:gd name="connsiteX23" fmla="*/ 2258696 w 2441576"/>
                <a:gd name="connsiteY23" fmla="*/ 247 h 901154"/>
                <a:gd name="connsiteX24" fmla="*/ 2321561 w 2441576"/>
                <a:gd name="connsiteY24" fmla="*/ 247 h 901154"/>
                <a:gd name="connsiteX25" fmla="*/ 2441576 w 2441576"/>
                <a:gd name="connsiteY25" fmla="*/ 247 h 901154"/>
                <a:gd name="connsiteX26" fmla="*/ 2441576 w 2441576"/>
                <a:gd name="connsiteY26" fmla="*/ 83691 h 901154"/>
                <a:gd name="connsiteX27" fmla="*/ 2441576 w 2441576"/>
                <a:gd name="connsiteY27" fmla="*/ 152299 h 901154"/>
                <a:gd name="connsiteX28" fmla="*/ 2441576 w 2441576"/>
                <a:gd name="connsiteY28" fmla="*/ 235743 h 901154"/>
                <a:gd name="connsiteX29" fmla="*/ 2441576 w 2441576"/>
                <a:gd name="connsiteY29" fmla="*/ 304351 h 901154"/>
                <a:gd name="connsiteX30" fmla="*/ 2441576 w 2441576"/>
                <a:gd name="connsiteY30" fmla="*/ 387795 h 901154"/>
                <a:gd name="connsiteX31" fmla="*/ 2441576 w 2441576"/>
                <a:gd name="connsiteY31" fmla="*/ 456403 h 901154"/>
                <a:gd name="connsiteX32" fmla="*/ 2441576 w 2441576"/>
                <a:gd name="connsiteY32" fmla="*/ 539847 h 901154"/>
                <a:gd name="connsiteX33" fmla="*/ 2441576 w 2441576"/>
                <a:gd name="connsiteY33" fmla="*/ 608455 h 901154"/>
                <a:gd name="connsiteX34" fmla="*/ 2441576 w 2441576"/>
                <a:gd name="connsiteY34" fmla="*/ 691899 h 901154"/>
                <a:gd name="connsiteX35" fmla="*/ 2441576 w 2441576"/>
                <a:gd name="connsiteY35" fmla="*/ 760507 h 901154"/>
                <a:gd name="connsiteX36" fmla="*/ 2441576 w 2441576"/>
                <a:gd name="connsiteY36" fmla="*/ 832545 h 901154"/>
                <a:gd name="connsiteX37" fmla="*/ 2441576 w 2441576"/>
                <a:gd name="connsiteY37" fmla="*/ 901153 h 901154"/>
                <a:gd name="connsiteX38" fmla="*/ 2321561 w 2441576"/>
                <a:gd name="connsiteY38" fmla="*/ 901153 h 901154"/>
                <a:gd name="connsiteX39" fmla="*/ 2239646 w 2441576"/>
                <a:gd name="connsiteY39" fmla="*/ 901153 h 901154"/>
                <a:gd name="connsiteX40" fmla="*/ 2176781 w 2441576"/>
                <a:gd name="connsiteY40" fmla="*/ 901153 h 901154"/>
                <a:gd name="connsiteX41" fmla="*/ 2109259 w 2441576"/>
                <a:gd name="connsiteY41" fmla="*/ 901153 h 901154"/>
                <a:gd name="connsiteX42" fmla="*/ 2025730 w 2441576"/>
                <a:gd name="connsiteY42" fmla="*/ 901153 h 901154"/>
                <a:gd name="connsiteX43" fmla="*/ 1941949 w 2441576"/>
                <a:gd name="connsiteY43" fmla="*/ 901153 h 901154"/>
                <a:gd name="connsiteX44" fmla="*/ 1824412 w 2441576"/>
                <a:gd name="connsiteY44" fmla="*/ 901153 h 901154"/>
                <a:gd name="connsiteX45" fmla="*/ 1720844 w 2441576"/>
                <a:gd name="connsiteY45" fmla="*/ 901153 h 901154"/>
                <a:gd name="connsiteX46" fmla="*/ 1609632 w 2441576"/>
                <a:gd name="connsiteY46" fmla="*/ 901153 h 901154"/>
                <a:gd name="connsiteX47" fmla="*/ 1539566 w 2441576"/>
                <a:gd name="connsiteY47" fmla="*/ 901153 h 901154"/>
                <a:gd name="connsiteX48" fmla="*/ 1427685 w 2441576"/>
                <a:gd name="connsiteY48" fmla="*/ 901153 h 901154"/>
                <a:gd name="connsiteX49" fmla="*/ 1324785 w 2441576"/>
                <a:gd name="connsiteY49" fmla="*/ 901153 h 901154"/>
                <a:gd name="connsiteX50" fmla="*/ 1254721 w 2441576"/>
                <a:gd name="connsiteY50" fmla="*/ 901153 h 901154"/>
                <a:gd name="connsiteX51" fmla="*/ 1146253 w 2441576"/>
                <a:gd name="connsiteY51" fmla="*/ 901153 h 901154"/>
                <a:gd name="connsiteX52" fmla="*/ 1039939 w 2441576"/>
                <a:gd name="connsiteY52" fmla="*/ 901153 h 901154"/>
                <a:gd name="connsiteX53" fmla="*/ 969874 w 2441576"/>
                <a:gd name="connsiteY53" fmla="*/ 901153 h 901154"/>
                <a:gd name="connsiteX54" fmla="*/ 864820 w 2441576"/>
                <a:gd name="connsiteY54" fmla="*/ 901154 h 901154"/>
                <a:gd name="connsiteX55" fmla="*/ 755093 w 2441576"/>
                <a:gd name="connsiteY55" fmla="*/ 901153 h 901154"/>
                <a:gd name="connsiteX56" fmla="*/ 685028 w 2441576"/>
                <a:gd name="connsiteY56" fmla="*/ 901153 h 901154"/>
                <a:gd name="connsiteX57" fmla="*/ 581332 w 2441576"/>
                <a:gd name="connsiteY57" fmla="*/ 901153 h 901154"/>
                <a:gd name="connsiteX58" fmla="*/ 471351 w 2441576"/>
                <a:gd name="connsiteY58" fmla="*/ 901153 h 901154"/>
                <a:gd name="connsiteX59" fmla="*/ 470246 w 2441576"/>
                <a:gd name="connsiteY59" fmla="*/ 901153 h 901154"/>
                <a:gd name="connsiteX60" fmla="*/ 377080 w 2441576"/>
                <a:gd name="connsiteY60" fmla="*/ 901153 h 901154"/>
                <a:gd name="connsiteX61" fmla="*/ 282811 w 2441576"/>
                <a:gd name="connsiteY61" fmla="*/ 901153 h 901154"/>
                <a:gd name="connsiteX62" fmla="*/ 185400 w 2441576"/>
                <a:gd name="connsiteY62" fmla="*/ 901153 h 901154"/>
                <a:gd name="connsiteX63" fmla="*/ 94270 w 2441576"/>
                <a:gd name="connsiteY63" fmla="*/ 901153 h 901154"/>
                <a:gd name="connsiteX64" fmla="*/ 0 w 2441576"/>
                <a:gd name="connsiteY64" fmla="*/ 901153 h 901154"/>
                <a:gd name="connsiteX65" fmla="*/ 0 w 2441576"/>
                <a:gd name="connsiteY65" fmla="*/ 832545 h 901154"/>
                <a:gd name="connsiteX66" fmla="*/ 0 w 2441576"/>
                <a:gd name="connsiteY66" fmla="*/ 760507 h 901154"/>
                <a:gd name="connsiteX67" fmla="*/ 0 w 2441576"/>
                <a:gd name="connsiteY67" fmla="*/ 691899 h 901154"/>
                <a:gd name="connsiteX68" fmla="*/ 0 w 2441576"/>
                <a:gd name="connsiteY68" fmla="*/ 608455 h 901154"/>
                <a:gd name="connsiteX69" fmla="*/ 0 w 2441576"/>
                <a:gd name="connsiteY69" fmla="*/ 539847 h 901154"/>
                <a:gd name="connsiteX70" fmla="*/ 0 w 2441576"/>
                <a:gd name="connsiteY70" fmla="*/ 456403 h 901154"/>
                <a:gd name="connsiteX71" fmla="*/ 0 w 2441576"/>
                <a:gd name="connsiteY71" fmla="*/ 387795 h 901154"/>
                <a:gd name="connsiteX72" fmla="*/ 0 w 2441576"/>
                <a:gd name="connsiteY72" fmla="*/ 304351 h 901154"/>
                <a:gd name="connsiteX73" fmla="*/ 0 w 2441576"/>
                <a:gd name="connsiteY73" fmla="*/ 235743 h 901154"/>
                <a:gd name="connsiteX74" fmla="*/ 0 w 2441576"/>
                <a:gd name="connsiteY74" fmla="*/ 152299 h 901154"/>
                <a:gd name="connsiteX75" fmla="*/ 0 w 2441576"/>
                <a:gd name="connsiteY75" fmla="*/ 83691 h 901154"/>
                <a:gd name="connsiteX76" fmla="*/ 0 w 2441576"/>
                <a:gd name="connsiteY76" fmla="*/ 247 h 901154"/>
                <a:gd name="connsiteX0" fmla="*/ 0 w 2441576"/>
                <a:gd name="connsiteY0" fmla="*/ 247 h 1193517"/>
                <a:gd name="connsiteX1" fmla="*/ 94270 w 2441576"/>
                <a:gd name="connsiteY1" fmla="*/ 247 h 1193517"/>
                <a:gd name="connsiteX2" fmla="*/ 185400 w 2441576"/>
                <a:gd name="connsiteY2" fmla="*/ 247 h 1193517"/>
                <a:gd name="connsiteX3" fmla="*/ 282811 w 2441576"/>
                <a:gd name="connsiteY3" fmla="*/ 247 h 1193517"/>
                <a:gd name="connsiteX4" fmla="*/ 377080 w 2441576"/>
                <a:gd name="connsiteY4" fmla="*/ 247 h 1193517"/>
                <a:gd name="connsiteX5" fmla="*/ 470246 w 2441576"/>
                <a:gd name="connsiteY5" fmla="*/ 247 h 1193517"/>
                <a:gd name="connsiteX6" fmla="*/ 581332 w 2441576"/>
                <a:gd name="connsiteY6" fmla="*/ 247 h 1193517"/>
                <a:gd name="connsiteX7" fmla="*/ 685028 w 2441576"/>
                <a:gd name="connsiteY7" fmla="*/ 247 h 1193517"/>
                <a:gd name="connsiteX8" fmla="*/ 755093 w 2441576"/>
                <a:gd name="connsiteY8" fmla="*/ 247 h 1193517"/>
                <a:gd name="connsiteX9" fmla="*/ 860129 w 2441576"/>
                <a:gd name="connsiteY9" fmla="*/ 1 h 1193517"/>
                <a:gd name="connsiteX10" fmla="*/ 969874 w 2441576"/>
                <a:gd name="connsiteY10" fmla="*/ 247 h 1193517"/>
                <a:gd name="connsiteX11" fmla="*/ 1039939 w 2441576"/>
                <a:gd name="connsiteY11" fmla="*/ 247 h 1193517"/>
                <a:gd name="connsiteX12" fmla="*/ 1146839 w 2441576"/>
                <a:gd name="connsiteY12" fmla="*/ 1 h 1193517"/>
                <a:gd name="connsiteX13" fmla="*/ 1254721 w 2441576"/>
                <a:gd name="connsiteY13" fmla="*/ 247 h 1193517"/>
                <a:gd name="connsiteX14" fmla="*/ 1324785 w 2441576"/>
                <a:gd name="connsiteY14" fmla="*/ 247 h 1193517"/>
                <a:gd name="connsiteX15" fmla="*/ 1430031 w 2441576"/>
                <a:gd name="connsiteY15" fmla="*/ 0 h 1193517"/>
                <a:gd name="connsiteX16" fmla="*/ 1539566 w 2441576"/>
                <a:gd name="connsiteY16" fmla="*/ 247 h 1193517"/>
                <a:gd name="connsiteX17" fmla="*/ 1609632 w 2441576"/>
                <a:gd name="connsiteY17" fmla="*/ 247 h 1193517"/>
                <a:gd name="connsiteX18" fmla="*/ 1707946 w 2441576"/>
                <a:gd name="connsiteY18" fmla="*/ 1 h 1193517"/>
                <a:gd name="connsiteX19" fmla="*/ 1824412 w 2441576"/>
                <a:gd name="connsiteY19" fmla="*/ 247 h 1193517"/>
                <a:gd name="connsiteX20" fmla="*/ 1941949 w 2441576"/>
                <a:gd name="connsiteY20" fmla="*/ 247 h 1193517"/>
                <a:gd name="connsiteX21" fmla="*/ 2094866 w 2441576"/>
                <a:gd name="connsiteY21" fmla="*/ 247 h 1193517"/>
                <a:gd name="connsiteX22" fmla="*/ 2176781 w 2441576"/>
                <a:gd name="connsiteY22" fmla="*/ 247 h 1193517"/>
                <a:gd name="connsiteX23" fmla="*/ 2258696 w 2441576"/>
                <a:gd name="connsiteY23" fmla="*/ 247 h 1193517"/>
                <a:gd name="connsiteX24" fmla="*/ 2321561 w 2441576"/>
                <a:gd name="connsiteY24" fmla="*/ 247 h 1193517"/>
                <a:gd name="connsiteX25" fmla="*/ 2441576 w 2441576"/>
                <a:gd name="connsiteY25" fmla="*/ 247 h 1193517"/>
                <a:gd name="connsiteX26" fmla="*/ 2441576 w 2441576"/>
                <a:gd name="connsiteY26" fmla="*/ 83691 h 1193517"/>
                <a:gd name="connsiteX27" fmla="*/ 2441576 w 2441576"/>
                <a:gd name="connsiteY27" fmla="*/ 152299 h 1193517"/>
                <a:gd name="connsiteX28" fmla="*/ 2441576 w 2441576"/>
                <a:gd name="connsiteY28" fmla="*/ 235743 h 1193517"/>
                <a:gd name="connsiteX29" fmla="*/ 2441576 w 2441576"/>
                <a:gd name="connsiteY29" fmla="*/ 304351 h 1193517"/>
                <a:gd name="connsiteX30" fmla="*/ 2441576 w 2441576"/>
                <a:gd name="connsiteY30" fmla="*/ 387795 h 1193517"/>
                <a:gd name="connsiteX31" fmla="*/ 2441576 w 2441576"/>
                <a:gd name="connsiteY31" fmla="*/ 456403 h 1193517"/>
                <a:gd name="connsiteX32" fmla="*/ 2441576 w 2441576"/>
                <a:gd name="connsiteY32" fmla="*/ 539847 h 1193517"/>
                <a:gd name="connsiteX33" fmla="*/ 2441576 w 2441576"/>
                <a:gd name="connsiteY33" fmla="*/ 608455 h 1193517"/>
                <a:gd name="connsiteX34" fmla="*/ 2441576 w 2441576"/>
                <a:gd name="connsiteY34" fmla="*/ 691899 h 1193517"/>
                <a:gd name="connsiteX35" fmla="*/ 2441576 w 2441576"/>
                <a:gd name="connsiteY35" fmla="*/ 760507 h 1193517"/>
                <a:gd name="connsiteX36" fmla="*/ 2441576 w 2441576"/>
                <a:gd name="connsiteY36" fmla="*/ 832545 h 1193517"/>
                <a:gd name="connsiteX37" fmla="*/ 2441576 w 2441576"/>
                <a:gd name="connsiteY37" fmla="*/ 901153 h 1193517"/>
                <a:gd name="connsiteX38" fmla="*/ 2321561 w 2441576"/>
                <a:gd name="connsiteY38" fmla="*/ 901153 h 1193517"/>
                <a:gd name="connsiteX39" fmla="*/ 2239646 w 2441576"/>
                <a:gd name="connsiteY39" fmla="*/ 901153 h 1193517"/>
                <a:gd name="connsiteX40" fmla="*/ 2176781 w 2441576"/>
                <a:gd name="connsiteY40" fmla="*/ 901153 h 1193517"/>
                <a:gd name="connsiteX41" fmla="*/ 2109259 w 2441576"/>
                <a:gd name="connsiteY41" fmla="*/ 901153 h 1193517"/>
                <a:gd name="connsiteX42" fmla="*/ 2025730 w 2441576"/>
                <a:gd name="connsiteY42" fmla="*/ 901153 h 1193517"/>
                <a:gd name="connsiteX43" fmla="*/ 1941949 w 2441576"/>
                <a:gd name="connsiteY43" fmla="*/ 901153 h 1193517"/>
                <a:gd name="connsiteX44" fmla="*/ 1824412 w 2441576"/>
                <a:gd name="connsiteY44" fmla="*/ 901153 h 1193517"/>
                <a:gd name="connsiteX45" fmla="*/ 1720844 w 2441576"/>
                <a:gd name="connsiteY45" fmla="*/ 901153 h 1193517"/>
                <a:gd name="connsiteX46" fmla="*/ 1829119 w 2441576"/>
                <a:gd name="connsiteY46" fmla="*/ 1193517 h 1193517"/>
                <a:gd name="connsiteX47" fmla="*/ 1539566 w 2441576"/>
                <a:gd name="connsiteY47" fmla="*/ 901153 h 1193517"/>
                <a:gd name="connsiteX48" fmla="*/ 1427685 w 2441576"/>
                <a:gd name="connsiteY48" fmla="*/ 901153 h 1193517"/>
                <a:gd name="connsiteX49" fmla="*/ 1324785 w 2441576"/>
                <a:gd name="connsiteY49" fmla="*/ 901153 h 1193517"/>
                <a:gd name="connsiteX50" fmla="*/ 1254721 w 2441576"/>
                <a:gd name="connsiteY50" fmla="*/ 901153 h 1193517"/>
                <a:gd name="connsiteX51" fmla="*/ 1146253 w 2441576"/>
                <a:gd name="connsiteY51" fmla="*/ 901153 h 1193517"/>
                <a:gd name="connsiteX52" fmla="*/ 1039939 w 2441576"/>
                <a:gd name="connsiteY52" fmla="*/ 901153 h 1193517"/>
                <a:gd name="connsiteX53" fmla="*/ 969874 w 2441576"/>
                <a:gd name="connsiteY53" fmla="*/ 901153 h 1193517"/>
                <a:gd name="connsiteX54" fmla="*/ 864820 w 2441576"/>
                <a:gd name="connsiteY54" fmla="*/ 901154 h 1193517"/>
                <a:gd name="connsiteX55" fmla="*/ 755093 w 2441576"/>
                <a:gd name="connsiteY55" fmla="*/ 901153 h 1193517"/>
                <a:gd name="connsiteX56" fmla="*/ 685028 w 2441576"/>
                <a:gd name="connsiteY56" fmla="*/ 901153 h 1193517"/>
                <a:gd name="connsiteX57" fmla="*/ 581332 w 2441576"/>
                <a:gd name="connsiteY57" fmla="*/ 901153 h 1193517"/>
                <a:gd name="connsiteX58" fmla="*/ 471351 w 2441576"/>
                <a:gd name="connsiteY58" fmla="*/ 901153 h 1193517"/>
                <a:gd name="connsiteX59" fmla="*/ 470246 w 2441576"/>
                <a:gd name="connsiteY59" fmla="*/ 901153 h 1193517"/>
                <a:gd name="connsiteX60" fmla="*/ 377080 w 2441576"/>
                <a:gd name="connsiteY60" fmla="*/ 901153 h 1193517"/>
                <a:gd name="connsiteX61" fmla="*/ 282811 w 2441576"/>
                <a:gd name="connsiteY61" fmla="*/ 901153 h 1193517"/>
                <a:gd name="connsiteX62" fmla="*/ 185400 w 2441576"/>
                <a:gd name="connsiteY62" fmla="*/ 901153 h 1193517"/>
                <a:gd name="connsiteX63" fmla="*/ 94270 w 2441576"/>
                <a:gd name="connsiteY63" fmla="*/ 901153 h 1193517"/>
                <a:gd name="connsiteX64" fmla="*/ 0 w 2441576"/>
                <a:gd name="connsiteY64" fmla="*/ 901153 h 1193517"/>
                <a:gd name="connsiteX65" fmla="*/ 0 w 2441576"/>
                <a:gd name="connsiteY65" fmla="*/ 832545 h 1193517"/>
                <a:gd name="connsiteX66" fmla="*/ 0 w 2441576"/>
                <a:gd name="connsiteY66" fmla="*/ 760507 h 1193517"/>
                <a:gd name="connsiteX67" fmla="*/ 0 w 2441576"/>
                <a:gd name="connsiteY67" fmla="*/ 691899 h 1193517"/>
                <a:gd name="connsiteX68" fmla="*/ 0 w 2441576"/>
                <a:gd name="connsiteY68" fmla="*/ 608455 h 1193517"/>
                <a:gd name="connsiteX69" fmla="*/ 0 w 2441576"/>
                <a:gd name="connsiteY69" fmla="*/ 539847 h 1193517"/>
                <a:gd name="connsiteX70" fmla="*/ 0 w 2441576"/>
                <a:gd name="connsiteY70" fmla="*/ 456403 h 1193517"/>
                <a:gd name="connsiteX71" fmla="*/ 0 w 2441576"/>
                <a:gd name="connsiteY71" fmla="*/ 387795 h 1193517"/>
                <a:gd name="connsiteX72" fmla="*/ 0 w 2441576"/>
                <a:gd name="connsiteY72" fmla="*/ 304351 h 1193517"/>
                <a:gd name="connsiteX73" fmla="*/ 0 w 2441576"/>
                <a:gd name="connsiteY73" fmla="*/ 235743 h 1193517"/>
                <a:gd name="connsiteX74" fmla="*/ 0 w 2441576"/>
                <a:gd name="connsiteY74" fmla="*/ 152299 h 1193517"/>
                <a:gd name="connsiteX75" fmla="*/ 0 w 2441576"/>
                <a:gd name="connsiteY75" fmla="*/ 83691 h 1193517"/>
                <a:gd name="connsiteX76" fmla="*/ 0 w 2441576"/>
                <a:gd name="connsiteY76" fmla="*/ 247 h 1193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2441576" h="1193517">
                  <a:moveTo>
                    <a:pt x="0" y="247"/>
                  </a:moveTo>
                  <a:lnTo>
                    <a:pt x="94270" y="247"/>
                  </a:lnTo>
                  <a:lnTo>
                    <a:pt x="185400" y="247"/>
                  </a:lnTo>
                  <a:lnTo>
                    <a:pt x="282811" y="247"/>
                  </a:lnTo>
                  <a:lnTo>
                    <a:pt x="377080" y="247"/>
                  </a:lnTo>
                  <a:lnTo>
                    <a:pt x="470246" y="247"/>
                  </a:lnTo>
                  <a:lnTo>
                    <a:pt x="581332" y="247"/>
                  </a:lnTo>
                  <a:lnTo>
                    <a:pt x="685028" y="247"/>
                  </a:lnTo>
                  <a:lnTo>
                    <a:pt x="755093" y="247"/>
                  </a:lnTo>
                  <a:lnTo>
                    <a:pt x="860129" y="1"/>
                  </a:lnTo>
                  <a:lnTo>
                    <a:pt x="969874" y="247"/>
                  </a:lnTo>
                  <a:lnTo>
                    <a:pt x="1039939" y="247"/>
                  </a:lnTo>
                  <a:lnTo>
                    <a:pt x="1146839" y="1"/>
                  </a:lnTo>
                  <a:lnTo>
                    <a:pt x="1254721" y="247"/>
                  </a:lnTo>
                  <a:lnTo>
                    <a:pt x="1324785" y="247"/>
                  </a:lnTo>
                  <a:lnTo>
                    <a:pt x="1430031" y="0"/>
                  </a:lnTo>
                  <a:lnTo>
                    <a:pt x="1539566" y="247"/>
                  </a:lnTo>
                  <a:lnTo>
                    <a:pt x="1609632" y="247"/>
                  </a:lnTo>
                  <a:lnTo>
                    <a:pt x="1707946" y="1"/>
                  </a:lnTo>
                  <a:lnTo>
                    <a:pt x="1824412" y="247"/>
                  </a:lnTo>
                  <a:lnTo>
                    <a:pt x="1941949" y="247"/>
                  </a:lnTo>
                  <a:lnTo>
                    <a:pt x="2094866" y="247"/>
                  </a:lnTo>
                  <a:lnTo>
                    <a:pt x="2176781" y="247"/>
                  </a:lnTo>
                  <a:lnTo>
                    <a:pt x="2258696" y="247"/>
                  </a:lnTo>
                  <a:lnTo>
                    <a:pt x="2321561" y="247"/>
                  </a:lnTo>
                  <a:lnTo>
                    <a:pt x="2441576" y="247"/>
                  </a:lnTo>
                  <a:lnTo>
                    <a:pt x="2441576" y="83691"/>
                  </a:lnTo>
                  <a:lnTo>
                    <a:pt x="2441576" y="152299"/>
                  </a:lnTo>
                  <a:lnTo>
                    <a:pt x="2441576" y="235743"/>
                  </a:lnTo>
                  <a:lnTo>
                    <a:pt x="2441576" y="304351"/>
                  </a:lnTo>
                  <a:lnTo>
                    <a:pt x="2441576" y="387795"/>
                  </a:lnTo>
                  <a:lnTo>
                    <a:pt x="2441576" y="456403"/>
                  </a:lnTo>
                  <a:lnTo>
                    <a:pt x="2441576" y="539847"/>
                  </a:lnTo>
                  <a:lnTo>
                    <a:pt x="2441576" y="608455"/>
                  </a:lnTo>
                  <a:lnTo>
                    <a:pt x="2441576" y="691899"/>
                  </a:lnTo>
                  <a:lnTo>
                    <a:pt x="2441576" y="760507"/>
                  </a:lnTo>
                  <a:lnTo>
                    <a:pt x="2441576" y="832545"/>
                  </a:lnTo>
                  <a:lnTo>
                    <a:pt x="2441576" y="901153"/>
                  </a:lnTo>
                  <a:lnTo>
                    <a:pt x="2321561" y="901153"/>
                  </a:lnTo>
                  <a:lnTo>
                    <a:pt x="2239646" y="901153"/>
                  </a:lnTo>
                  <a:lnTo>
                    <a:pt x="2176781" y="901153"/>
                  </a:lnTo>
                  <a:lnTo>
                    <a:pt x="2109259" y="901153"/>
                  </a:lnTo>
                  <a:lnTo>
                    <a:pt x="2025730" y="901153"/>
                  </a:lnTo>
                  <a:lnTo>
                    <a:pt x="1941949" y="901153"/>
                  </a:lnTo>
                  <a:lnTo>
                    <a:pt x="1824412" y="901153"/>
                  </a:lnTo>
                  <a:lnTo>
                    <a:pt x="1720844" y="901153"/>
                  </a:lnTo>
                  <a:lnTo>
                    <a:pt x="1829119" y="1193517"/>
                  </a:lnTo>
                  <a:lnTo>
                    <a:pt x="1539566" y="901153"/>
                  </a:lnTo>
                  <a:lnTo>
                    <a:pt x="1427685" y="901153"/>
                  </a:lnTo>
                  <a:lnTo>
                    <a:pt x="1324785" y="901153"/>
                  </a:lnTo>
                  <a:lnTo>
                    <a:pt x="1254721" y="901153"/>
                  </a:lnTo>
                  <a:lnTo>
                    <a:pt x="1146253" y="901153"/>
                  </a:lnTo>
                  <a:lnTo>
                    <a:pt x="1039939" y="901153"/>
                  </a:lnTo>
                  <a:lnTo>
                    <a:pt x="969874" y="901153"/>
                  </a:lnTo>
                  <a:lnTo>
                    <a:pt x="864820" y="901154"/>
                  </a:lnTo>
                  <a:lnTo>
                    <a:pt x="755093" y="901153"/>
                  </a:lnTo>
                  <a:lnTo>
                    <a:pt x="685028" y="901153"/>
                  </a:lnTo>
                  <a:lnTo>
                    <a:pt x="581332" y="901153"/>
                  </a:lnTo>
                  <a:lnTo>
                    <a:pt x="471351" y="901153"/>
                  </a:lnTo>
                  <a:lnTo>
                    <a:pt x="470246" y="901153"/>
                  </a:lnTo>
                  <a:lnTo>
                    <a:pt x="377080" y="901153"/>
                  </a:lnTo>
                  <a:lnTo>
                    <a:pt x="282811" y="901153"/>
                  </a:lnTo>
                  <a:lnTo>
                    <a:pt x="185400" y="901153"/>
                  </a:lnTo>
                  <a:lnTo>
                    <a:pt x="94270" y="901153"/>
                  </a:lnTo>
                  <a:lnTo>
                    <a:pt x="0" y="901153"/>
                  </a:lnTo>
                  <a:lnTo>
                    <a:pt x="0" y="832545"/>
                  </a:lnTo>
                  <a:lnTo>
                    <a:pt x="0" y="760507"/>
                  </a:lnTo>
                  <a:lnTo>
                    <a:pt x="0" y="691899"/>
                  </a:lnTo>
                  <a:lnTo>
                    <a:pt x="0" y="608455"/>
                  </a:lnTo>
                  <a:lnTo>
                    <a:pt x="0" y="539847"/>
                  </a:lnTo>
                  <a:lnTo>
                    <a:pt x="0" y="456403"/>
                  </a:lnTo>
                  <a:lnTo>
                    <a:pt x="0" y="387795"/>
                  </a:lnTo>
                  <a:lnTo>
                    <a:pt x="0" y="304351"/>
                  </a:lnTo>
                  <a:lnTo>
                    <a:pt x="0" y="235743"/>
                  </a:lnTo>
                  <a:lnTo>
                    <a:pt x="0" y="152299"/>
                  </a:lnTo>
                  <a:lnTo>
                    <a:pt x="0" y="83691"/>
                  </a:lnTo>
                  <a:lnTo>
                    <a:pt x="0" y="247"/>
                  </a:lnTo>
                  <a:close/>
                </a:path>
              </a:pathLst>
            </a:custGeom>
            <a:solidFill>
              <a:schemeClr val="bg2"/>
            </a:solidFill>
            <a:ln w="12700" algn="ctr">
              <a:solidFill>
                <a:schemeClr val="accent2"/>
              </a:solidFill>
              <a:miter lim="800000"/>
              <a:headEnd/>
              <a:tailEnd/>
            </a:ln>
            <a:effectLst>
              <a:outerShdw dist="53340" dir="2700000" algn="tl" rotWithShape="0">
                <a:schemeClr val="tx1">
                  <a:alpha val="8000"/>
                </a:schemeClr>
              </a:outerShdw>
            </a:effec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868494">
                <a:defRPr/>
              </a:pPr>
              <a:endParaRPr lang="es-CL" sz="13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1" name="Rectangle 22"/>
            <p:cNvSpPr txBox="1"/>
            <p:nvPr>
              <p:custDataLst>
                <p:tags r:id="rId6"/>
              </p:custDataLst>
            </p:nvPr>
          </p:nvSpPr>
          <p:spPr>
            <a:xfrm flipH="1">
              <a:off x="647741" y="2459827"/>
              <a:ext cx="930593" cy="1768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850403">
                <a:buClr>
                  <a:srgbClr val="009A46"/>
                </a:buClr>
                <a:defRPr/>
              </a:pPr>
              <a:r>
                <a:rPr lang="es-CL" sz="1300">
                  <a:solidFill>
                    <a:srgbClr val="000000"/>
                  </a:solidFill>
                </a:rPr>
                <a:t>Seguimiento</a:t>
              </a:r>
            </a:p>
          </p:txBody>
        </p:sp>
      </p:grpSp>
      <p:pic>
        <p:nvPicPr>
          <p:cNvPr id="72" name="Picture 121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6842" y="4999860"/>
            <a:ext cx="694896" cy="1264997"/>
          </a:xfrm>
          <a:prstGeom prst="rect">
            <a:avLst/>
          </a:prstGeom>
        </p:spPr>
      </p:pic>
      <p:pic>
        <p:nvPicPr>
          <p:cNvPr id="73" name="Picture 123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4306" y="5161436"/>
            <a:ext cx="608343" cy="10110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4" name="Picture 27" descr="http://www.curiosite.es/img/auto_catalogo/w750/8663.jpg"/>
          <p:cNvPicPr>
            <a:picLocks noChangeAspect="1" noChangeArrowheads="1"/>
          </p:cNvPicPr>
          <p:nvPr/>
        </p:nvPicPr>
        <p:blipFill>
          <a:blip r:embed="rId1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 flipV="1">
            <a:off x="5759313" y="5253492"/>
            <a:ext cx="363428" cy="487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" name="Picture 154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9225" y="3443101"/>
            <a:ext cx="376600" cy="6079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6" name="Picture 154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72622" y="3443101"/>
            <a:ext cx="376600" cy="6079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77" name="Group 126"/>
          <p:cNvGrpSpPr/>
          <p:nvPr/>
        </p:nvGrpSpPr>
        <p:grpSpPr>
          <a:xfrm>
            <a:off x="5468245" y="2635586"/>
            <a:ext cx="1335874" cy="1511905"/>
            <a:chOff x="3203188" y="2448124"/>
            <a:chExt cx="1027970" cy="1008000"/>
          </a:xfrm>
        </p:grpSpPr>
        <p:pic>
          <p:nvPicPr>
            <p:cNvPr id="78" name="Picture 127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03188" y="2448124"/>
              <a:ext cx="569073" cy="584724"/>
            </a:xfrm>
            <a:prstGeom prst="rect">
              <a:avLst/>
            </a:prstGeom>
          </p:spPr>
        </p:pic>
        <p:pic>
          <p:nvPicPr>
            <p:cNvPr id="79" name="Picture 128"/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96293" y="2639264"/>
              <a:ext cx="634865" cy="476369"/>
            </a:xfrm>
            <a:prstGeom prst="rect">
              <a:avLst/>
            </a:prstGeom>
          </p:spPr>
        </p:pic>
        <p:pic>
          <p:nvPicPr>
            <p:cNvPr id="80" name="Picture 154"/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52806" y="3032848"/>
              <a:ext cx="306824" cy="4232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81" name="Right Arrow 130"/>
          <p:cNvSpPr/>
          <p:nvPr/>
        </p:nvSpPr>
        <p:spPr>
          <a:xfrm>
            <a:off x="3253901" y="3215063"/>
            <a:ext cx="406331" cy="309440"/>
          </a:xfrm>
          <a:prstGeom prst="rightArrow">
            <a:avLst/>
          </a:prstGeom>
          <a:gradFill flip="none" rotWithShape="1">
            <a:gsLst>
              <a:gs pos="0">
                <a:schemeClr val="accent3">
                  <a:lumMod val="90000"/>
                  <a:lumOff val="10000"/>
                </a:schemeClr>
              </a:gs>
              <a:gs pos="100000">
                <a:schemeClr val="accent3">
                  <a:lumMod val="74000"/>
                  <a:lumOff val="26000"/>
                </a:schemeClr>
              </a:gs>
            </a:gsLst>
            <a:lin ang="0" scaled="1"/>
            <a:tileRect/>
          </a:gradFill>
          <a:ln>
            <a:noFill/>
          </a:ln>
          <a:effectLst>
            <a:outerShdw blurRad="50800" dist="38100" dir="5400000" algn="ctr" rotWithShape="0">
              <a:schemeClr val="tx1">
                <a:alpha val="16000"/>
              </a:schemeClr>
            </a:outerShdw>
          </a:effectLst>
        </p:spPr>
        <p:txBody>
          <a:bodyPr vert="horz" wrap="square" lIns="119696" tIns="86855" rIns="119696" bIns="86855" numCol="1" anchor="ctr" anchorCtr="0" compatLnSpc="1">
            <a:prstTxWarp prst="textNoShape">
              <a:avLst/>
            </a:prstTxWarp>
          </a:bodyPr>
          <a:lstStyle/>
          <a:p>
            <a:pPr defTabSz="868494">
              <a:defRPr/>
            </a:pPr>
            <a:endParaRPr lang="es-CL" sz="13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2" name="Right Arrow 131"/>
          <p:cNvSpPr/>
          <p:nvPr/>
        </p:nvSpPr>
        <p:spPr>
          <a:xfrm>
            <a:off x="5153024" y="3215063"/>
            <a:ext cx="406331" cy="309440"/>
          </a:xfrm>
          <a:prstGeom prst="rightArrow">
            <a:avLst/>
          </a:prstGeom>
          <a:gradFill flip="none" rotWithShape="1">
            <a:gsLst>
              <a:gs pos="0">
                <a:schemeClr val="accent3">
                  <a:lumMod val="90000"/>
                  <a:lumOff val="10000"/>
                </a:schemeClr>
              </a:gs>
              <a:gs pos="100000">
                <a:schemeClr val="accent3">
                  <a:lumMod val="74000"/>
                  <a:lumOff val="26000"/>
                </a:schemeClr>
              </a:gs>
            </a:gsLst>
            <a:lin ang="0" scaled="1"/>
            <a:tileRect/>
          </a:gradFill>
          <a:ln>
            <a:noFill/>
          </a:ln>
          <a:effectLst>
            <a:outerShdw blurRad="50800" dist="38100" dir="5400000" algn="ctr" rotWithShape="0">
              <a:schemeClr val="tx1">
                <a:alpha val="16000"/>
              </a:schemeClr>
            </a:outerShdw>
          </a:effectLst>
        </p:spPr>
        <p:txBody>
          <a:bodyPr vert="horz" wrap="square" lIns="119696" tIns="86855" rIns="119696" bIns="86855" numCol="1" anchor="ctr" anchorCtr="0" compatLnSpc="1">
            <a:prstTxWarp prst="textNoShape">
              <a:avLst/>
            </a:prstTxWarp>
          </a:bodyPr>
          <a:lstStyle/>
          <a:p>
            <a:pPr defTabSz="868494">
              <a:defRPr/>
            </a:pPr>
            <a:endParaRPr lang="es-CL" sz="13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3" name="Right Arrow 132"/>
          <p:cNvSpPr/>
          <p:nvPr/>
        </p:nvSpPr>
        <p:spPr>
          <a:xfrm flipH="1">
            <a:off x="4660798" y="5549172"/>
            <a:ext cx="406331" cy="309440"/>
          </a:xfrm>
          <a:prstGeom prst="rightArrow">
            <a:avLst/>
          </a:prstGeom>
          <a:gradFill flip="none" rotWithShape="1">
            <a:gsLst>
              <a:gs pos="0">
                <a:schemeClr val="accent3">
                  <a:lumMod val="90000"/>
                  <a:lumOff val="10000"/>
                </a:schemeClr>
              </a:gs>
              <a:gs pos="100000">
                <a:schemeClr val="accent3">
                  <a:lumMod val="74000"/>
                  <a:lumOff val="26000"/>
                </a:schemeClr>
              </a:gs>
            </a:gsLst>
            <a:lin ang="0" scaled="1"/>
            <a:tileRect/>
          </a:gradFill>
          <a:ln>
            <a:noFill/>
          </a:ln>
          <a:effectLst>
            <a:outerShdw blurRad="50800" dist="38100" dir="5400000" algn="ctr" rotWithShape="0">
              <a:schemeClr val="tx1">
                <a:alpha val="16000"/>
              </a:schemeClr>
            </a:outerShdw>
          </a:effectLst>
        </p:spPr>
        <p:txBody>
          <a:bodyPr vert="horz" wrap="square" lIns="119696" tIns="86855" rIns="119696" bIns="86855" numCol="1" anchor="ctr" anchorCtr="0" compatLnSpc="1">
            <a:prstTxWarp prst="textNoShape">
              <a:avLst/>
            </a:prstTxWarp>
          </a:bodyPr>
          <a:lstStyle/>
          <a:p>
            <a:pPr defTabSz="868494">
              <a:defRPr/>
            </a:pPr>
            <a:endParaRPr lang="es-CL" sz="13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4" name="Right Arrow 133"/>
          <p:cNvSpPr/>
          <p:nvPr/>
        </p:nvSpPr>
        <p:spPr>
          <a:xfrm rot="5400000">
            <a:off x="5965807" y="4230406"/>
            <a:ext cx="475469" cy="264444"/>
          </a:xfrm>
          <a:prstGeom prst="rightArrow">
            <a:avLst/>
          </a:prstGeom>
          <a:gradFill flip="none" rotWithShape="1">
            <a:gsLst>
              <a:gs pos="0">
                <a:schemeClr val="accent3">
                  <a:lumMod val="90000"/>
                  <a:lumOff val="10000"/>
                </a:schemeClr>
              </a:gs>
              <a:gs pos="100000">
                <a:schemeClr val="accent3">
                  <a:lumMod val="74000"/>
                  <a:lumOff val="26000"/>
                </a:schemeClr>
              </a:gs>
            </a:gsLst>
            <a:lin ang="0" scaled="1"/>
            <a:tileRect/>
          </a:gradFill>
          <a:ln>
            <a:noFill/>
          </a:ln>
          <a:effectLst>
            <a:outerShdw blurRad="50800" dist="38100" dir="5400000" algn="ctr" rotWithShape="0">
              <a:schemeClr val="tx1">
                <a:alpha val="16000"/>
              </a:schemeClr>
            </a:outerShdw>
          </a:effectLst>
        </p:spPr>
        <p:txBody>
          <a:bodyPr vert="horz" wrap="square" lIns="119696" tIns="86855" rIns="119696" bIns="86855" numCol="1" anchor="ctr" anchorCtr="0" compatLnSpc="1">
            <a:prstTxWarp prst="textNoShape">
              <a:avLst/>
            </a:prstTxWarp>
          </a:bodyPr>
          <a:lstStyle/>
          <a:p>
            <a:pPr defTabSz="868494">
              <a:defRPr/>
            </a:pPr>
            <a:endParaRPr lang="es-CL" sz="13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5" name="TextBox 134"/>
          <p:cNvSpPr txBox="1"/>
          <p:nvPr/>
        </p:nvSpPr>
        <p:spPr>
          <a:xfrm>
            <a:off x="7071754" y="1813682"/>
            <a:ext cx="3829533" cy="416113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83965" lvl="1" indent="-182460" defTabSz="850403">
              <a:spcBef>
                <a:spcPct val="30000"/>
              </a:spcBef>
              <a:buClr>
                <a:srgbClr val="009A46"/>
              </a:buClr>
              <a:defRPr/>
            </a:pPr>
            <a:r>
              <a:rPr lang="es-CL" sz="1632">
                <a:solidFill>
                  <a:srgbClr val="000000"/>
                </a:solidFill>
              </a:rPr>
              <a:t>Los diálogos de </a:t>
            </a:r>
            <a:r>
              <a:rPr lang="es-CL" sz="1632" b="1">
                <a:solidFill>
                  <a:srgbClr val="009A46"/>
                </a:solidFill>
              </a:rPr>
              <a:t>desempeño</a:t>
            </a:r>
            <a:r>
              <a:rPr lang="es-CL" sz="1632">
                <a:solidFill>
                  <a:srgbClr val="000000"/>
                </a:solidFill>
              </a:rPr>
              <a:t> son </a:t>
            </a:r>
            <a:r>
              <a:rPr lang="es-CL" sz="1632" b="1">
                <a:solidFill>
                  <a:srgbClr val="009A46"/>
                </a:solidFill>
              </a:rPr>
              <a:t>conversaciones</a:t>
            </a:r>
            <a:r>
              <a:rPr lang="es-CL" sz="1632">
                <a:solidFill>
                  <a:srgbClr val="000000"/>
                </a:solidFill>
              </a:rPr>
              <a:t> </a:t>
            </a:r>
            <a:r>
              <a:rPr lang="es-CL" sz="1632" b="1">
                <a:solidFill>
                  <a:srgbClr val="009A46"/>
                </a:solidFill>
              </a:rPr>
              <a:t>estructuradas</a:t>
            </a:r>
            <a:r>
              <a:rPr lang="es-CL" sz="1632">
                <a:solidFill>
                  <a:srgbClr val="000000"/>
                </a:solidFill>
              </a:rPr>
              <a:t>, formales y regulares de los equipos, en donde se discute el desempeño relativo a los </a:t>
            </a:r>
            <a:r>
              <a:rPr lang="es-CL" sz="1632" b="1">
                <a:solidFill>
                  <a:srgbClr val="009A46"/>
                </a:solidFill>
              </a:rPr>
              <a:t>KPI</a:t>
            </a:r>
            <a:endParaRPr lang="es-CL" sz="1632">
              <a:solidFill>
                <a:srgbClr val="009A46"/>
              </a:solidFill>
            </a:endParaRPr>
          </a:p>
          <a:p>
            <a:pPr marL="183965" lvl="1" indent="-182460" defTabSz="850403">
              <a:spcBef>
                <a:spcPct val="30000"/>
              </a:spcBef>
              <a:buClr>
                <a:srgbClr val="009A46"/>
              </a:buClr>
              <a:defRPr/>
            </a:pPr>
            <a:r>
              <a:rPr lang="es-CL" sz="1632">
                <a:solidFill>
                  <a:srgbClr val="000000"/>
                </a:solidFill>
              </a:rPr>
              <a:t>Los diálogos permiten </a:t>
            </a:r>
            <a:r>
              <a:rPr lang="es-CL" sz="1632" b="1">
                <a:solidFill>
                  <a:srgbClr val="009A46"/>
                </a:solidFill>
              </a:rPr>
              <a:t>levantar compromisos de corto plazo y problemas a resolver</a:t>
            </a:r>
          </a:p>
          <a:p>
            <a:pPr marL="183965" lvl="1" indent="-182460" defTabSz="850403">
              <a:spcBef>
                <a:spcPct val="30000"/>
              </a:spcBef>
              <a:buClr>
                <a:srgbClr val="009A46"/>
              </a:buClr>
              <a:defRPr/>
            </a:pPr>
            <a:r>
              <a:rPr lang="es-CL" sz="1632">
                <a:solidFill>
                  <a:srgbClr val="000000"/>
                </a:solidFill>
              </a:rPr>
              <a:t>Entre los beneficios adicionales se encuentran:</a:t>
            </a:r>
          </a:p>
          <a:p>
            <a:pPr marL="434184" lvl="2" indent="-248805" defTabSz="850403">
              <a:spcBef>
                <a:spcPct val="15000"/>
              </a:spcBef>
              <a:buClr>
                <a:srgbClr val="009A46"/>
              </a:buClr>
              <a:defRPr/>
            </a:pPr>
            <a:r>
              <a:rPr lang="es-CL" sz="1632">
                <a:solidFill>
                  <a:srgbClr val="000000"/>
                </a:solidFill>
              </a:rPr>
              <a:t>Permite </a:t>
            </a:r>
            <a:r>
              <a:rPr lang="es-CL" sz="1632" b="1">
                <a:solidFill>
                  <a:srgbClr val="009A46"/>
                </a:solidFill>
              </a:rPr>
              <a:t>reforzar</a:t>
            </a:r>
            <a:r>
              <a:rPr lang="es-CL" sz="1632">
                <a:solidFill>
                  <a:srgbClr val="000000"/>
                </a:solidFill>
              </a:rPr>
              <a:t> </a:t>
            </a:r>
            <a:r>
              <a:rPr lang="es-CL" sz="1632" b="1">
                <a:solidFill>
                  <a:srgbClr val="009A46"/>
                </a:solidFill>
              </a:rPr>
              <a:t>dinámicas</a:t>
            </a:r>
            <a:r>
              <a:rPr lang="es-CL" sz="1632">
                <a:solidFill>
                  <a:srgbClr val="000000"/>
                </a:solidFill>
              </a:rPr>
              <a:t> de equipos efectivos (confianza, discusión, acuerdos, accountability y refuerzo por resultados)</a:t>
            </a:r>
          </a:p>
          <a:p>
            <a:pPr marL="434184" lvl="2" indent="-248805" defTabSz="850403">
              <a:spcBef>
                <a:spcPct val="15000"/>
              </a:spcBef>
              <a:buClr>
                <a:srgbClr val="009A46"/>
              </a:buClr>
              <a:defRPr/>
            </a:pPr>
            <a:r>
              <a:rPr lang="es-CL" sz="1632">
                <a:solidFill>
                  <a:srgbClr val="000000"/>
                </a:solidFill>
              </a:rPr>
              <a:t>Da </a:t>
            </a:r>
            <a:r>
              <a:rPr lang="es-CL" sz="1632" b="1">
                <a:solidFill>
                  <a:srgbClr val="009A46"/>
                </a:solidFill>
              </a:rPr>
              <a:t>visibilidad</a:t>
            </a:r>
            <a:r>
              <a:rPr lang="es-CL" sz="1632">
                <a:solidFill>
                  <a:srgbClr val="000000"/>
                </a:solidFill>
              </a:rPr>
              <a:t> y </a:t>
            </a:r>
            <a:r>
              <a:rPr lang="es-CL" sz="1632" b="1">
                <a:solidFill>
                  <a:srgbClr val="009A46"/>
                </a:solidFill>
              </a:rPr>
              <a:t>transparencia</a:t>
            </a:r>
            <a:r>
              <a:rPr lang="es-CL" sz="1632">
                <a:solidFill>
                  <a:srgbClr val="000000"/>
                </a:solidFill>
              </a:rPr>
              <a:t> del desempeño y metas del equipo</a:t>
            </a:r>
          </a:p>
        </p:txBody>
      </p:sp>
      <p:graphicFrame>
        <p:nvGraphicFramePr>
          <p:cNvPr id="86" name="Table 116"/>
          <p:cNvGraphicFramePr>
            <a:graphicFrameLocks noGrp="1"/>
          </p:cNvGraphicFramePr>
          <p:nvPr>
            <p:extLst/>
          </p:nvPr>
        </p:nvGraphicFramePr>
        <p:xfrm>
          <a:off x="2614063" y="5137000"/>
          <a:ext cx="1740128" cy="1300284"/>
        </p:xfrm>
        <a:graphic>
          <a:graphicData uri="http://schemas.openxmlformats.org/drawingml/2006/table">
            <a:tbl>
              <a:tblPr firstRow="1" bandRow="1">
                <a:effectLst/>
                <a:tableStyleId>{21E4AEA4-8DFA-4A89-87EB-49C32662AFE0}</a:tableStyleId>
              </a:tblPr>
              <a:tblGrid>
                <a:gridCol w="48407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97855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7750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279892">
                <a:tc>
                  <a:txBody>
                    <a:bodyPr/>
                    <a:lstStyle/>
                    <a:p>
                      <a:pPr algn="ctr"/>
                      <a:r>
                        <a:rPr lang="es-CL" sz="900" noProof="0" dirty="0">
                          <a:solidFill>
                            <a:schemeClr val="tx2"/>
                          </a:solidFill>
                        </a:rPr>
                        <a:t>Acció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gradFill>
                      <a:gsLst>
                        <a:gs pos="0">
                          <a:schemeClr val="accent2">
                            <a:lumMod val="83000"/>
                            <a:lumOff val="17000"/>
                          </a:schemeClr>
                        </a:gs>
                        <a:gs pos="100000">
                          <a:schemeClr val="accent2"/>
                        </a:gs>
                      </a:gsLst>
                      <a:lin ang="162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900" noProof="0" dirty="0">
                          <a:solidFill>
                            <a:schemeClr val="tx2"/>
                          </a:solidFill>
                        </a:rPr>
                        <a:t>Responsable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gradFill>
                      <a:gsLst>
                        <a:gs pos="0">
                          <a:schemeClr val="accent2">
                            <a:lumMod val="83000"/>
                            <a:lumOff val="17000"/>
                          </a:schemeClr>
                        </a:gs>
                        <a:gs pos="100000">
                          <a:schemeClr val="accent2"/>
                        </a:gs>
                      </a:gsLst>
                      <a:lin ang="162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ctr" eaLnBrk="1"/>
                      <a:endParaRPr lang="es-CL" sz="900" noProof="0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gradFill>
                      <a:gsLst>
                        <a:gs pos="0">
                          <a:schemeClr val="accent2">
                            <a:lumMod val="83000"/>
                            <a:lumOff val="17000"/>
                          </a:schemeClr>
                        </a:gs>
                        <a:gs pos="100000">
                          <a:schemeClr val="accent2"/>
                        </a:gs>
                      </a:gsLst>
                      <a:lin ang="16200000" scaled="1"/>
                    </a:gra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55098">
                <a:tc>
                  <a:txBody>
                    <a:bodyPr/>
                    <a:lstStyle/>
                    <a:p>
                      <a:pPr marL="0" lvl="0" indent="0">
                        <a:buFont typeface="Wingdings" pitchFamily="2" charset="2"/>
                        <a:buNone/>
                      </a:pPr>
                      <a:r>
                        <a:rPr lang="es-CL" sz="900" noProof="0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</a:txBody>
                  <a:tcPr marL="73461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s-CL" sz="900" noProof="0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</a:txBody>
                  <a:tcPr marL="73461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s-CL" sz="9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55098">
                <a:tc>
                  <a:txBody>
                    <a:bodyPr/>
                    <a:lstStyle/>
                    <a:p>
                      <a:r>
                        <a:rPr lang="es-CL" sz="900" noProof="0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</a:txBody>
                  <a:tcPr marL="73461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s-CL" sz="900" noProof="0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</a:txBody>
                  <a:tcPr marL="73461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s-CL" sz="9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55098">
                <a:tc>
                  <a:txBody>
                    <a:bodyPr/>
                    <a:lstStyle/>
                    <a:p>
                      <a:r>
                        <a:rPr lang="es-CL" sz="900" noProof="0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</a:txBody>
                  <a:tcPr marL="73461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s-CL" sz="900" noProof="0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</a:txBody>
                  <a:tcPr marL="73461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s-CL" sz="9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55098">
                <a:tc>
                  <a:txBody>
                    <a:bodyPr/>
                    <a:lstStyle/>
                    <a:p>
                      <a:r>
                        <a:rPr lang="es-CL" sz="900" noProof="0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</a:txBody>
                  <a:tcPr marL="73461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CL" sz="900" noProof="0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</a:txBody>
                  <a:tcPr marL="73461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s-CL" sz="9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87" name="Freeform 220"/>
          <p:cNvSpPr>
            <a:spLocks/>
          </p:cNvSpPr>
          <p:nvPr/>
        </p:nvSpPr>
        <p:spPr bwMode="auto">
          <a:xfrm>
            <a:off x="4160604" y="5428664"/>
            <a:ext cx="156333" cy="179614"/>
          </a:xfrm>
          <a:custGeom>
            <a:avLst/>
            <a:gdLst>
              <a:gd name="T0" fmla="*/ 102 w 105"/>
              <a:gd name="T1" fmla="*/ 0 h 91"/>
              <a:gd name="T2" fmla="*/ 36 w 105"/>
              <a:gd name="T3" fmla="*/ 57 h 91"/>
              <a:gd name="T4" fmla="*/ 11 w 105"/>
              <a:gd name="T5" fmla="*/ 37 h 91"/>
              <a:gd name="T6" fmla="*/ 0 w 105"/>
              <a:gd name="T7" fmla="*/ 46 h 91"/>
              <a:gd name="T8" fmla="*/ 44 w 105"/>
              <a:gd name="T9" fmla="*/ 91 h 91"/>
              <a:gd name="T10" fmla="*/ 105 w 105"/>
              <a:gd name="T11" fmla="*/ 6 h 91"/>
              <a:gd name="T12" fmla="*/ 102 w 105"/>
              <a:gd name="T13" fmla="*/ 0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5" h="91">
                <a:moveTo>
                  <a:pt x="102" y="0"/>
                </a:moveTo>
                <a:cubicBezTo>
                  <a:pt x="70" y="19"/>
                  <a:pt x="47" y="44"/>
                  <a:pt x="36" y="57"/>
                </a:cubicBezTo>
                <a:cubicBezTo>
                  <a:pt x="11" y="37"/>
                  <a:pt x="11" y="37"/>
                  <a:pt x="11" y="37"/>
                </a:cubicBezTo>
                <a:cubicBezTo>
                  <a:pt x="0" y="46"/>
                  <a:pt x="0" y="46"/>
                  <a:pt x="0" y="46"/>
                </a:cubicBezTo>
                <a:cubicBezTo>
                  <a:pt x="44" y="91"/>
                  <a:pt x="44" y="91"/>
                  <a:pt x="44" y="91"/>
                </a:cubicBezTo>
                <a:cubicBezTo>
                  <a:pt x="51" y="71"/>
                  <a:pt x="75" y="33"/>
                  <a:pt x="105" y="6"/>
                </a:cubicBezTo>
                <a:lnTo>
                  <a:pt x="102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flat" cmpd="sng">
                <a:solidFill>
                  <a:schemeClr val="hlink"/>
                </a:solidFill>
                <a:prstDash val="solid"/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86810" tIns="43434" rIns="86810" bIns="43434" numCol="1" anchor="ctr" anchorCtr="0" compatLnSpc="1">
            <a:prstTxWarp prst="textNoShape">
              <a:avLst/>
            </a:prstTxWarp>
          </a:bodyPr>
          <a:lstStyle/>
          <a:p>
            <a:pPr defTabSz="868494">
              <a:defRPr/>
            </a:pPr>
            <a:endParaRPr lang="es-CL" sz="13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8" name="Freeform 259"/>
          <p:cNvSpPr>
            <a:spLocks/>
          </p:cNvSpPr>
          <p:nvPr/>
        </p:nvSpPr>
        <p:spPr bwMode="auto">
          <a:xfrm>
            <a:off x="4173698" y="5675086"/>
            <a:ext cx="129493" cy="154081"/>
          </a:xfrm>
          <a:custGeom>
            <a:avLst/>
            <a:gdLst>
              <a:gd name="T0" fmla="*/ 20 w 117"/>
              <a:gd name="T1" fmla="*/ 0 h 116"/>
              <a:gd name="T2" fmla="*/ 58 w 117"/>
              <a:gd name="T3" fmla="*/ 38 h 116"/>
              <a:gd name="T4" fmla="*/ 96 w 117"/>
              <a:gd name="T5" fmla="*/ 0 h 116"/>
              <a:gd name="T6" fmla="*/ 117 w 117"/>
              <a:gd name="T7" fmla="*/ 20 h 116"/>
              <a:gd name="T8" fmla="*/ 79 w 117"/>
              <a:gd name="T9" fmla="*/ 58 h 116"/>
              <a:gd name="T10" fmla="*/ 117 w 117"/>
              <a:gd name="T11" fmla="*/ 96 h 116"/>
              <a:gd name="T12" fmla="*/ 96 w 117"/>
              <a:gd name="T13" fmla="*/ 116 h 116"/>
              <a:gd name="T14" fmla="*/ 58 w 117"/>
              <a:gd name="T15" fmla="*/ 78 h 116"/>
              <a:gd name="T16" fmla="*/ 20 w 117"/>
              <a:gd name="T17" fmla="*/ 116 h 116"/>
              <a:gd name="T18" fmla="*/ 0 w 117"/>
              <a:gd name="T19" fmla="*/ 96 h 116"/>
              <a:gd name="T20" fmla="*/ 38 w 117"/>
              <a:gd name="T21" fmla="*/ 58 h 116"/>
              <a:gd name="T22" fmla="*/ 0 w 117"/>
              <a:gd name="T23" fmla="*/ 20 h 116"/>
              <a:gd name="T24" fmla="*/ 20 w 117"/>
              <a:gd name="T25" fmla="*/ 0 h 1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17" h="116">
                <a:moveTo>
                  <a:pt x="20" y="0"/>
                </a:moveTo>
                <a:lnTo>
                  <a:pt x="58" y="38"/>
                </a:lnTo>
                <a:lnTo>
                  <a:pt x="96" y="0"/>
                </a:lnTo>
                <a:lnTo>
                  <a:pt x="117" y="20"/>
                </a:lnTo>
                <a:lnTo>
                  <a:pt x="79" y="58"/>
                </a:lnTo>
                <a:lnTo>
                  <a:pt x="117" y="96"/>
                </a:lnTo>
                <a:lnTo>
                  <a:pt x="96" y="116"/>
                </a:lnTo>
                <a:lnTo>
                  <a:pt x="58" y="78"/>
                </a:lnTo>
                <a:lnTo>
                  <a:pt x="20" y="116"/>
                </a:lnTo>
                <a:lnTo>
                  <a:pt x="0" y="96"/>
                </a:lnTo>
                <a:lnTo>
                  <a:pt x="38" y="58"/>
                </a:lnTo>
                <a:lnTo>
                  <a:pt x="0" y="20"/>
                </a:lnTo>
                <a:lnTo>
                  <a:pt x="2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86810" tIns="43434" rIns="86810" bIns="43434" numCol="1" anchor="t" anchorCtr="0" compatLnSpc="1">
            <a:prstTxWarp prst="textNoShape">
              <a:avLst/>
            </a:prstTxWarp>
          </a:bodyPr>
          <a:lstStyle/>
          <a:p>
            <a:pPr defTabSz="868494">
              <a:defRPr/>
            </a:pPr>
            <a:endParaRPr lang="es-CL" sz="13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9" name="Freeform 220"/>
          <p:cNvSpPr>
            <a:spLocks/>
          </p:cNvSpPr>
          <p:nvPr/>
        </p:nvSpPr>
        <p:spPr bwMode="auto">
          <a:xfrm>
            <a:off x="4160604" y="5862164"/>
            <a:ext cx="156333" cy="179614"/>
          </a:xfrm>
          <a:custGeom>
            <a:avLst/>
            <a:gdLst>
              <a:gd name="T0" fmla="*/ 102 w 105"/>
              <a:gd name="T1" fmla="*/ 0 h 91"/>
              <a:gd name="T2" fmla="*/ 36 w 105"/>
              <a:gd name="T3" fmla="*/ 57 h 91"/>
              <a:gd name="T4" fmla="*/ 11 w 105"/>
              <a:gd name="T5" fmla="*/ 37 h 91"/>
              <a:gd name="T6" fmla="*/ 0 w 105"/>
              <a:gd name="T7" fmla="*/ 46 h 91"/>
              <a:gd name="T8" fmla="*/ 44 w 105"/>
              <a:gd name="T9" fmla="*/ 91 h 91"/>
              <a:gd name="T10" fmla="*/ 105 w 105"/>
              <a:gd name="T11" fmla="*/ 6 h 91"/>
              <a:gd name="T12" fmla="*/ 102 w 105"/>
              <a:gd name="T13" fmla="*/ 0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5" h="91">
                <a:moveTo>
                  <a:pt x="102" y="0"/>
                </a:moveTo>
                <a:cubicBezTo>
                  <a:pt x="70" y="19"/>
                  <a:pt x="47" y="44"/>
                  <a:pt x="36" y="57"/>
                </a:cubicBezTo>
                <a:cubicBezTo>
                  <a:pt x="11" y="37"/>
                  <a:pt x="11" y="37"/>
                  <a:pt x="11" y="37"/>
                </a:cubicBezTo>
                <a:cubicBezTo>
                  <a:pt x="0" y="46"/>
                  <a:pt x="0" y="46"/>
                  <a:pt x="0" y="46"/>
                </a:cubicBezTo>
                <a:cubicBezTo>
                  <a:pt x="44" y="91"/>
                  <a:pt x="44" y="91"/>
                  <a:pt x="44" y="91"/>
                </a:cubicBezTo>
                <a:cubicBezTo>
                  <a:pt x="51" y="71"/>
                  <a:pt x="75" y="33"/>
                  <a:pt x="105" y="6"/>
                </a:cubicBezTo>
                <a:lnTo>
                  <a:pt x="102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flat" cmpd="sng">
                <a:solidFill>
                  <a:schemeClr val="hlink"/>
                </a:solidFill>
                <a:prstDash val="solid"/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86810" tIns="43434" rIns="86810" bIns="43434" numCol="1" anchor="ctr" anchorCtr="0" compatLnSpc="1">
            <a:prstTxWarp prst="textNoShape">
              <a:avLst/>
            </a:prstTxWarp>
          </a:bodyPr>
          <a:lstStyle/>
          <a:p>
            <a:pPr defTabSz="868494">
              <a:defRPr/>
            </a:pPr>
            <a:endParaRPr lang="es-CL" sz="13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0" name="Freeform 259"/>
          <p:cNvSpPr>
            <a:spLocks/>
          </p:cNvSpPr>
          <p:nvPr/>
        </p:nvSpPr>
        <p:spPr bwMode="auto">
          <a:xfrm>
            <a:off x="4173698" y="6108585"/>
            <a:ext cx="129493" cy="154081"/>
          </a:xfrm>
          <a:custGeom>
            <a:avLst/>
            <a:gdLst>
              <a:gd name="T0" fmla="*/ 20 w 117"/>
              <a:gd name="T1" fmla="*/ 0 h 116"/>
              <a:gd name="T2" fmla="*/ 58 w 117"/>
              <a:gd name="T3" fmla="*/ 38 h 116"/>
              <a:gd name="T4" fmla="*/ 96 w 117"/>
              <a:gd name="T5" fmla="*/ 0 h 116"/>
              <a:gd name="T6" fmla="*/ 117 w 117"/>
              <a:gd name="T7" fmla="*/ 20 h 116"/>
              <a:gd name="T8" fmla="*/ 79 w 117"/>
              <a:gd name="T9" fmla="*/ 58 h 116"/>
              <a:gd name="T10" fmla="*/ 117 w 117"/>
              <a:gd name="T11" fmla="*/ 96 h 116"/>
              <a:gd name="T12" fmla="*/ 96 w 117"/>
              <a:gd name="T13" fmla="*/ 116 h 116"/>
              <a:gd name="T14" fmla="*/ 58 w 117"/>
              <a:gd name="T15" fmla="*/ 78 h 116"/>
              <a:gd name="T16" fmla="*/ 20 w 117"/>
              <a:gd name="T17" fmla="*/ 116 h 116"/>
              <a:gd name="T18" fmla="*/ 0 w 117"/>
              <a:gd name="T19" fmla="*/ 96 h 116"/>
              <a:gd name="T20" fmla="*/ 38 w 117"/>
              <a:gd name="T21" fmla="*/ 58 h 116"/>
              <a:gd name="T22" fmla="*/ 0 w 117"/>
              <a:gd name="T23" fmla="*/ 20 h 116"/>
              <a:gd name="T24" fmla="*/ 20 w 117"/>
              <a:gd name="T25" fmla="*/ 0 h 1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17" h="116">
                <a:moveTo>
                  <a:pt x="20" y="0"/>
                </a:moveTo>
                <a:lnTo>
                  <a:pt x="58" y="38"/>
                </a:lnTo>
                <a:lnTo>
                  <a:pt x="96" y="0"/>
                </a:lnTo>
                <a:lnTo>
                  <a:pt x="117" y="20"/>
                </a:lnTo>
                <a:lnTo>
                  <a:pt x="79" y="58"/>
                </a:lnTo>
                <a:lnTo>
                  <a:pt x="117" y="96"/>
                </a:lnTo>
                <a:lnTo>
                  <a:pt x="96" y="116"/>
                </a:lnTo>
                <a:lnTo>
                  <a:pt x="58" y="78"/>
                </a:lnTo>
                <a:lnTo>
                  <a:pt x="20" y="116"/>
                </a:lnTo>
                <a:lnTo>
                  <a:pt x="0" y="96"/>
                </a:lnTo>
                <a:lnTo>
                  <a:pt x="38" y="58"/>
                </a:lnTo>
                <a:lnTo>
                  <a:pt x="0" y="20"/>
                </a:lnTo>
                <a:lnTo>
                  <a:pt x="2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86810" tIns="43434" rIns="86810" bIns="43434" numCol="1" anchor="t" anchorCtr="0" compatLnSpc="1">
            <a:prstTxWarp prst="textNoShape">
              <a:avLst/>
            </a:prstTxWarp>
          </a:bodyPr>
          <a:lstStyle/>
          <a:p>
            <a:pPr defTabSz="868494">
              <a:defRPr/>
            </a:pPr>
            <a:endParaRPr lang="es-CL" sz="13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417742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153" name="Diapositiva de think-cell" r:id="rId6" imgW="421" imgH="420" progId="TCLayout.ActiveDocument.1">
                  <p:embed/>
                </p:oleObj>
              </mc:Choice>
              <mc:Fallback>
                <p:oleObj name="Diapositiva de think-cell" r:id="rId6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s-CL" sz="2200" b="1" dirty="0" smtClean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tangle 2"/>
          <p:cNvSpPr>
            <a:spLocks noChangeArrowheads="1"/>
          </p:cNvSpPr>
          <p:nvPr/>
        </p:nvSpPr>
        <p:spPr bwMode="gray">
          <a:xfrm>
            <a:off x="1201001" y="1113470"/>
            <a:ext cx="10590663" cy="5744530"/>
          </a:xfrm>
          <a:prstGeom prst="rect">
            <a:avLst/>
          </a:prstGeom>
          <a:solidFill>
            <a:schemeClr val="bg1"/>
          </a:solidFill>
          <a:ln w="19050" cmpd="sng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CO" sz="1632" dirty="0">
              <a:solidFill>
                <a:srgbClr val="000000"/>
              </a:solidFill>
              <a:sym typeface="Calibri" panose="020F0502020204030204" pitchFamily="34" charset="0"/>
            </a:endParaRPr>
          </a:p>
        </p:txBody>
      </p:sp>
      <p:sp>
        <p:nvSpPr>
          <p:cNvPr id="11" name="Line 26"/>
          <p:cNvSpPr>
            <a:spLocks noChangeShapeType="1"/>
          </p:cNvSpPr>
          <p:nvPr/>
        </p:nvSpPr>
        <p:spPr bwMode="auto">
          <a:xfrm>
            <a:off x="1388505" y="3380367"/>
            <a:ext cx="10403157" cy="0"/>
          </a:xfrm>
          <a:prstGeom prst="line">
            <a:avLst/>
          </a:prstGeom>
          <a:ln w="12700">
            <a:solidFill>
              <a:schemeClr val="accent6"/>
            </a:solidFill>
            <a:prstDash val="sysDot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CO" sz="1224">
              <a:solidFill>
                <a:srgbClr val="000000"/>
              </a:solidFill>
              <a:sym typeface="Calibri" panose="020F0502020204030204" pitchFamily="34" charset="0"/>
            </a:endParaRPr>
          </a:p>
        </p:txBody>
      </p:sp>
      <p:sp>
        <p:nvSpPr>
          <p:cNvPr id="13" name="AutoShape 250"/>
          <p:cNvSpPr>
            <a:spLocks noChangeArrowheads="1"/>
          </p:cNvSpPr>
          <p:nvPr/>
        </p:nvSpPr>
        <p:spPr bwMode="auto">
          <a:xfrm>
            <a:off x="1388504" y="1136709"/>
            <a:ext cx="1104244" cy="195025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659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CO" sz="1122" b="1" dirty="0">
                <a:solidFill>
                  <a:srgbClr val="009A46"/>
                </a:solidFill>
                <a:sym typeface="Calibri" panose="020F0502020204030204" pitchFamily="34" charset="0"/>
              </a:rPr>
              <a:t>Elemento</a:t>
            </a:r>
          </a:p>
        </p:txBody>
      </p:sp>
      <p:sp>
        <p:nvSpPr>
          <p:cNvPr id="14" name="Line 26"/>
          <p:cNvSpPr>
            <a:spLocks noChangeShapeType="1"/>
          </p:cNvSpPr>
          <p:nvPr/>
        </p:nvSpPr>
        <p:spPr bwMode="auto">
          <a:xfrm>
            <a:off x="1388505" y="1920673"/>
            <a:ext cx="10403157" cy="0"/>
          </a:xfrm>
          <a:prstGeom prst="line">
            <a:avLst/>
          </a:prstGeom>
          <a:ln w="12700">
            <a:solidFill>
              <a:schemeClr val="accent6"/>
            </a:solidFill>
            <a:prstDash val="sysDot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CO" sz="1224">
              <a:solidFill>
                <a:srgbClr val="000000"/>
              </a:solidFill>
              <a:sym typeface="Calibri" panose="020F0502020204030204" pitchFamily="34" charset="0"/>
            </a:endParaRPr>
          </a:p>
        </p:txBody>
      </p:sp>
      <p:grpSp>
        <p:nvGrpSpPr>
          <p:cNvPr id="15" name="Group 12"/>
          <p:cNvGrpSpPr>
            <a:grpSpLocks/>
          </p:cNvGrpSpPr>
          <p:nvPr/>
        </p:nvGrpSpPr>
        <p:grpSpPr>
          <a:xfrm>
            <a:off x="8940273" y="1136709"/>
            <a:ext cx="2851391" cy="195025"/>
            <a:chOff x="6031313" y="1098877"/>
            <a:chExt cx="3061066" cy="191143"/>
          </a:xfrm>
        </p:grpSpPr>
        <p:cxnSp>
          <p:nvCxnSpPr>
            <p:cNvPr id="18" name="AutoShape 249"/>
            <p:cNvCxnSpPr>
              <a:cxnSpLocks noChangeShapeType="1"/>
            </p:cNvCxnSpPr>
            <p:nvPr/>
          </p:nvCxnSpPr>
          <p:spPr bwMode="auto">
            <a:xfrm flipV="1">
              <a:off x="6031313" y="1290018"/>
              <a:ext cx="3061066" cy="2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0" name="AutoShape 250"/>
            <p:cNvSpPr>
              <a:spLocks noChangeArrowheads="1"/>
            </p:cNvSpPr>
            <p:nvPr/>
          </p:nvSpPr>
          <p:spPr bwMode="auto">
            <a:xfrm>
              <a:off x="6031313" y="1098877"/>
              <a:ext cx="2672190" cy="19114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659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s-CO" sz="1122" b="1" dirty="0">
                  <a:solidFill>
                    <a:srgbClr val="009A46"/>
                  </a:solidFill>
                  <a:sym typeface="Calibri" panose="020F0502020204030204" pitchFamily="34" charset="0"/>
                </a:rPr>
                <a:t>Consideraciones</a:t>
              </a:r>
            </a:p>
          </p:txBody>
        </p:sp>
      </p:grpSp>
      <p:sp>
        <p:nvSpPr>
          <p:cNvPr id="21" name="Rectangle 53"/>
          <p:cNvSpPr txBox="1">
            <a:spLocks/>
          </p:cNvSpPr>
          <p:nvPr/>
        </p:nvSpPr>
        <p:spPr>
          <a:xfrm>
            <a:off x="8940272" y="1399294"/>
            <a:ext cx="2851392" cy="5180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49015" lvl="1" indent="-147396" fontAlgn="base">
              <a:spcBef>
                <a:spcPct val="0"/>
              </a:spcBef>
              <a:spcAft>
                <a:spcPct val="0"/>
              </a:spcAft>
              <a:buClr>
                <a:srgbClr val="009A46"/>
              </a:buClr>
            </a:pPr>
            <a:r>
              <a:rPr lang="es-CO" sz="1122" dirty="0">
                <a:solidFill>
                  <a:srgbClr val="000000"/>
                </a:solidFill>
                <a:sym typeface="Calibri" panose="020F0502020204030204" pitchFamily="34" charset="0"/>
              </a:rPr>
              <a:t>Se reconocen </a:t>
            </a:r>
            <a:r>
              <a:rPr lang="es-CO" sz="1122" b="1" dirty="0">
                <a:solidFill>
                  <a:srgbClr val="009A46"/>
                </a:solidFill>
                <a:sym typeface="Calibri" panose="020F0502020204030204" pitchFamily="34" charset="0"/>
              </a:rPr>
              <a:t>comportamientos</a:t>
            </a:r>
            <a:r>
              <a:rPr lang="es-CO" sz="1122" dirty="0">
                <a:solidFill>
                  <a:srgbClr val="000000"/>
                </a:solidFill>
                <a:sym typeface="Calibri" panose="020F0502020204030204" pitchFamily="34" charset="0"/>
              </a:rPr>
              <a:t> y no solo </a:t>
            </a:r>
            <a:r>
              <a:rPr lang="es-CO" sz="1122" dirty="0" smtClean="0">
                <a:solidFill>
                  <a:srgbClr val="000000"/>
                </a:solidFill>
                <a:sym typeface="Calibri" panose="020F0502020204030204" pitchFamily="34" charset="0"/>
              </a:rPr>
              <a:t>desempeño</a:t>
            </a:r>
          </a:p>
          <a:p>
            <a:pPr marL="149015" lvl="1" indent="-147396">
              <a:buClr>
                <a:srgbClr val="009A46"/>
              </a:buClr>
            </a:pPr>
            <a:r>
              <a:rPr lang="es-MX" sz="1122" dirty="0">
                <a:solidFill>
                  <a:srgbClr val="000000"/>
                </a:solidFill>
                <a:sym typeface="Calibri" panose="020F0502020204030204" pitchFamily="34" charset="0"/>
              </a:rPr>
              <a:t>Puede ser en cualquier momento del DdD</a:t>
            </a:r>
            <a:endParaRPr lang="es-CO" sz="1122" dirty="0">
              <a:solidFill>
                <a:srgbClr val="000000"/>
              </a:solidFill>
              <a:sym typeface="Calibri" panose="020F0502020204030204" pitchFamily="34" charset="0"/>
            </a:endParaRPr>
          </a:p>
        </p:txBody>
      </p:sp>
      <p:sp>
        <p:nvSpPr>
          <p:cNvPr id="22" name="Rectangle 17"/>
          <p:cNvSpPr>
            <a:spLocks noChangeArrowheads="1"/>
          </p:cNvSpPr>
          <p:nvPr/>
        </p:nvSpPr>
        <p:spPr bwMode="auto">
          <a:xfrm>
            <a:off x="1388505" y="1399295"/>
            <a:ext cx="1413585" cy="518026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3297" tIns="46649" rIns="93297" bIns="46649" numCol="1" anchor="ctr" anchorCtr="0" compatLnSpc="1">
            <a:prstTxWarp prst="textNoShape">
              <a:avLst/>
            </a:prstTxWarp>
            <a:noAutofit/>
          </a:bodyPr>
          <a:lstStyle/>
          <a:p>
            <a:pPr marL="73462" fontAlgn="base">
              <a:spcBef>
                <a:spcPct val="0"/>
              </a:spcBef>
              <a:spcAft>
                <a:spcPct val="0"/>
              </a:spcAft>
            </a:pPr>
            <a:r>
              <a:rPr lang="es-CO" sz="1122" b="1" dirty="0">
                <a:solidFill>
                  <a:srgbClr val="009A46"/>
                </a:solidFill>
                <a:cs typeface="Arial" pitchFamily="34" charset="0"/>
                <a:sym typeface="Calibri" panose="020F0502020204030204" pitchFamily="34" charset="0"/>
              </a:rPr>
              <a:t>Reconocimiento</a:t>
            </a:r>
          </a:p>
        </p:txBody>
      </p:sp>
      <p:sp>
        <p:nvSpPr>
          <p:cNvPr id="23" name="Rectangle 53"/>
          <p:cNvSpPr txBox="1">
            <a:spLocks/>
          </p:cNvSpPr>
          <p:nvPr/>
        </p:nvSpPr>
        <p:spPr>
          <a:xfrm>
            <a:off x="8940272" y="2004628"/>
            <a:ext cx="2851391" cy="3523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49015" lvl="1" indent="-147396" fontAlgn="base">
              <a:spcBef>
                <a:spcPct val="0"/>
              </a:spcBef>
              <a:spcAft>
                <a:spcPct val="0"/>
              </a:spcAft>
              <a:buClr>
                <a:srgbClr val="009A46"/>
              </a:buClr>
            </a:pPr>
            <a:r>
              <a:rPr lang="es-CO" sz="1122" dirty="0">
                <a:solidFill>
                  <a:srgbClr val="000000"/>
                </a:solidFill>
                <a:sym typeface="Calibri" panose="020F0502020204030204" pitchFamily="34" charset="0"/>
              </a:rPr>
              <a:t>La revisión se hace </a:t>
            </a:r>
            <a:r>
              <a:rPr lang="es-CO" sz="1122" b="1" dirty="0">
                <a:solidFill>
                  <a:srgbClr val="009A46"/>
                </a:solidFill>
                <a:sym typeface="Calibri" panose="020F0502020204030204" pitchFamily="34" charset="0"/>
              </a:rPr>
              <a:t>lo</a:t>
            </a:r>
            <a:r>
              <a:rPr lang="es-CO" sz="1122" dirty="0">
                <a:solidFill>
                  <a:srgbClr val="000000"/>
                </a:solidFill>
                <a:sym typeface="Calibri" panose="020F0502020204030204" pitchFamily="34" charset="0"/>
              </a:rPr>
              <a:t> </a:t>
            </a:r>
            <a:r>
              <a:rPr lang="es-CO" sz="1122" b="1" dirty="0">
                <a:solidFill>
                  <a:srgbClr val="009A46"/>
                </a:solidFill>
                <a:sym typeface="Calibri" panose="020F0502020204030204" pitchFamily="34" charset="0"/>
              </a:rPr>
              <a:t>más breve posible</a:t>
            </a:r>
            <a:r>
              <a:rPr lang="es-CO" sz="1122" dirty="0">
                <a:solidFill>
                  <a:srgbClr val="000000"/>
                </a:solidFill>
                <a:sym typeface="Calibri" panose="020F0502020204030204" pitchFamily="34" charset="0"/>
              </a:rPr>
              <a:t>, sin discusiones extensas</a:t>
            </a:r>
          </a:p>
        </p:txBody>
      </p:sp>
      <p:sp>
        <p:nvSpPr>
          <p:cNvPr id="24" name="Rectangle 17"/>
          <p:cNvSpPr>
            <a:spLocks noChangeArrowheads="1"/>
          </p:cNvSpPr>
          <p:nvPr/>
        </p:nvSpPr>
        <p:spPr bwMode="auto">
          <a:xfrm>
            <a:off x="1388505" y="1952891"/>
            <a:ext cx="1413585" cy="1413828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3297" tIns="46649" rIns="93297" bIns="46649" numCol="1" anchor="ctr" anchorCtr="0" compatLnSpc="1">
            <a:prstTxWarp prst="textNoShape">
              <a:avLst/>
            </a:prstTxWarp>
            <a:noAutofit/>
          </a:bodyPr>
          <a:lstStyle/>
          <a:p>
            <a:pPr marL="73462" fontAlgn="base">
              <a:spcBef>
                <a:spcPct val="0"/>
              </a:spcBef>
              <a:spcAft>
                <a:spcPct val="0"/>
              </a:spcAft>
            </a:pPr>
            <a:r>
              <a:rPr lang="es-CO" sz="1122" b="1" dirty="0">
                <a:solidFill>
                  <a:srgbClr val="009A46"/>
                </a:solidFill>
                <a:cs typeface="Arial" pitchFamily="34" charset="0"/>
                <a:sym typeface="Calibri" panose="020F0502020204030204" pitchFamily="34" charset="0"/>
              </a:rPr>
              <a:t>Revisión de compromisos</a:t>
            </a:r>
          </a:p>
        </p:txBody>
      </p:sp>
      <p:sp>
        <p:nvSpPr>
          <p:cNvPr id="25" name="Rectangle 53"/>
          <p:cNvSpPr txBox="1">
            <a:spLocks/>
          </p:cNvSpPr>
          <p:nvPr/>
        </p:nvSpPr>
        <p:spPr>
          <a:xfrm>
            <a:off x="8940273" y="3417683"/>
            <a:ext cx="2851390" cy="1949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49015" lvl="1" indent="-147396" fontAlgn="base">
              <a:lnSpc>
                <a:spcPts val="1428"/>
              </a:lnSpc>
              <a:spcBef>
                <a:spcPts val="204"/>
              </a:spcBef>
              <a:spcAft>
                <a:spcPts val="204"/>
              </a:spcAft>
              <a:buClr>
                <a:srgbClr val="009A46"/>
              </a:buClr>
            </a:pPr>
            <a:r>
              <a:rPr lang="es-CO" sz="1122" dirty="0">
                <a:solidFill>
                  <a:srgbClr val="000000"/>
                </a:solidFill>
                <a:sym typeface="Calibri" panose="020F0502020204030204" pitchFamily="34" charset="0"/>
              </a:rPr>
              <a:t>Los hallazgos detectados para el ABC se basan en observaciones o incidentes </a:t>
            </a:r>
            <a:r>
              <a:rPr lang="es-CO" sz="1122" b="1" dirty="0">
                <a:solidFill>
                  <a:srgbClr val="009A46"/>
                </a:solidFill>
                <a:sym typeface="Calibri" panose="020F0502020204030204" pitchFamily="34" charset="0"/>
              </a:rPr>
              <a:t>relevantes para la organización</a:t>
            </a:r>
            <a:endParaRPr lang="es-CO" sz="1122" dirty="0">
              <a:solidFill>
                <a:srgbClr val="000000"/>
              </a:solidFill>
              <a:sym typeface="Calibri" panose="020F0502020204030204" pitchFamily="34" charset="0"/>
            </a:endParaRPr>
          </a:p>
          <a:p>
            <a:pPr marL="149015" lvl="1" indent="-147396" fontAlgn="base">
              <a:lnSpc>
                <a:spcPts val="1428"/>
              </a:lnSpc>
              <a:spcBef>
                <a:spcPts val="204"/>
              </a:spcBef>
              <a:spcAft>
                <a:spcPts val="204"/>
              </a:spcAft>
              <a:buClr>
                <a:srgbClr val="009A46"/>
              </a:buClr>
            </a:pPr>
            <a:r>
              <a:rPr lang="es-CO" sz="1122" dirty="0">
                <a:solidFill>
                  <a:srgbClr val="000000"/>
                </a:solidFill>
                <a:sym typeface="Calibri" panose="020F0502020204030204" pitchFamily="34" charset="0"/>
              </a:rPr>
              <a:t>Los </a:t>
            </a:r>
            <a:r>
              <a:rPr lang="es-CO" sz="1122" dirty="0" err="1">
                <a:solidFill>
                  <a:srgbClr val="000000"/>
                </a:solidFill>
                <a:sym typeface="Calibri" panose="020F0502020204030204" pitchFamily="34" charset="0"/>
              </a:rPr>
              <a:t>KPIs</a:t>
            </a:r>
            <a:r>
              <a:rPr lang="es-CO" sz="1122" dirty="0">
                <a:solidFill>
                  <a:srgbClr val="000000"/>
                </a:solidFill>
                <a:sym typeface="Calibri" panose="020F0502020204030204" pitchFamily="34" charset="0"/>
              </a:rPr>
              <a:t> tienen que estar </a:t>
            </a:r>
            <a:r>
              <a:rPr lang="es-CO" sz="1122" b="1" dirty="0">
                <a:solidFill>
                  <a:srgbClr val="009A46"/>
                </a:solidFill>
                <a:sym typeface="Calibri" panose="020F0502020204030204" pitchFamily="34" charset="0"/>
              </a:rPr>
              <a:t>en un tablero visual</a:t>
            </a:r>
          </a:p>
          <a:p>
            <a:pPr marL="149015" lvl="1" indent="-147396" fontAlgn="base">
              <a:lnSpc>
                <a:spcPts val="1428"/>
              </a:lnSpc>
              <a:spcBef>
                <a:spcPts val="204"/>
              </a:spcBef>
              <a:spcAft>
                <a:spcPts val="204"/>
              </a:spcAft>
              <a:buClr>
                <a:srgbClr val="009A46"/>
              </a:buClr>
            </a:pPr>
            <a:r>
              <a:rPr lang="es-CO" sz="1122" dirty="0">
                <a:solidFill>
                  <a:srgbClr val="000000"/>
                </a:solidFill>
                <a:sym typeface="Calibri" panose="020F0502020204030204" pitchFamily="34" charset="0"/>
              </a:rPr>
              <a:t>Cada responsable escribe </a:t>
            </a:r>
            <a:r>
              <a:rPr lang="es-CO" sz="1122" b="1" dirty="0">
                <a:solidFill>
                  <a:srgbClr val="009A46"/>
                </a:solidFill>
                <a:sym typeface="Calibri" panose="020F0502020204030204" pitchFamily="34" charset="0"/>
              </a:rPr>
              <a:t>su compromiso</a:t>
            </a:r>
            <a:r>
              <a:rPr lang="es-CO" sz="1122" dirty="0">
                <a:solidFill>
                  <a:srgbClr val="000000"/>
                </a:solidFill>
                <a:sym typeface="Calibri" panose="020F0502020204030204" pitchFamily="34" charset="0"/>
              </a:rPr>
              <a:t> en el tablero</a:t>
            </a:r>
          </a:p>
          <a:p>
            <a:pPr marL="149015" lvl="1" indent="-147396" fontAlgn="base">
              <a:lnSpc>
                <a:spcPts val="1428"/>
              </a:lnSpc>
              <a:spcBef>
                <a:spcPts val="204"/>
              </a:spcBef>
              <a:spcAft>
                <a:spcPts val="204"/>
              </a:spcAft>
              <a:buClr>
                <a:srgbClr val="009A46"/>
              </a:buClr>
            </a:pPr>
            <a:r>
              <a:rPr lang="es-CO" sz="1122" dirty="0">
                <a:solidFill>
                  <a:srgbClr val="000000"/>
                </a:solidFill>
                <a:sym typeface="Calibri" panose="020F0502020204030204" pitchFamily="34" charset="0"/>
              </a:rPr>
              <a:t>Los compromisos de largo </a:t>
            </a:r>
            <a:r>
              <a:rPr lang="es-CO" sz="1122" dirty="0" smtClean="0">
                <a:solidFill>
                  <a:srgbClr val="000000"/>
                </a:solidFill>
                <a:sym typeface="Calibri" panose="020F0502020204030204" pitchFamily="34" charset="0"/>
              </a:rPr>
              <a:t>plazo (4 ciclos de DdD) </a:t>
            </a:r>
            <a:r>
              <a:rPr lang="es-CO" sz="1122" dirty="0">
                <a:solidFill>
                  <a:srgbClr val="000000"/>
                </a:solidFill>
                <a:sym typeface="Calibri" panose="020F0502020204030204" pitchFamily="34" charset="0"/>
              </a:rPr>
              <a:t>deben ser revisados en la Gestión PIT</a:t>
            </a:r>
          </a:p>
        </p:txBody>
      </p:sp>
      <p:sp>
        <p:nvSpPr>
          <p:cNvPr id="26" name="Rectangle 17"/>
          <p:cNvSpPr>
            <a:spLocks noChangeArrowheads="1"/>
          </p:cNvSpPr>
          <p:nvPr/>
        </p:nvSpPr>
        <p:spPr bwMode="auto">
          <a:xfrm>
            <a:off x="1388505" y="3417683"/>
            <a:ext cx="1413585" cy="2188538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3297" tIns="46649" rIns="93297" bIns="46649" numCol="1" anchor="ctr" anchorCtr="0" compatLnSpc="1">
            <a:prstTxWarp prst="textNoShape">
              <a:avLst/>
            </a:prstTxWarp>
            <a:noAutofit/>
          </a:bodyPr>
          <a:lstStyle/>
          <a:p>
            <a:pPr marL="73462" fontAlgn="base">
              <a:spcBef>
                <a:spcPct val="0"/>
              </a:spcBef>
              <a:spcAft>
                <a:spcPct val="0"/>
              </a:spcAft>
            </a:pPr>
            <a:r>
              <a:rPr lang="es-CO" sz="1122" b="1" dirty="0">
                <a:solidFill>
                  <a:srgbClr val="009A46"/>
                </a:solidFill>
                <a:cs typeface="Arial" pitchFamily="34" charset="0"/>
                <a:sym typeface="Calibri" panose="020F0502020204030204" pitchFamily="34" charset="0"/>
              </a:rPr>
              <a:t>Revisión de KPI y brechas</a:t>
            </a:r>
          </a:p>
        </p:txBody>
      </p:sp>
      <p:sp>
        <p:nvSpPr>
          <p:cNvPr id="27" name="Rectangle 17"/>
          <p:cNvSpPr>
            <a:spLocks noChangeArrowheads="1"/>
          </p:cNvSpPr>
          <p:nvPr/>
        </p:nvSpPr>
        <p:spPr bwMode="auto">
          <a:xfrm>
            <a:off x="1388505" y="5646552"/>
            <a:ext cx="1413585" cy="564366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3297" tIns="46649" rIns="93297" bIns="46649" numCol="1" anchor="ctr" anchorCtr="0" compatLnSpc="1">
            <a:prstTxWarp prst="textNoShape">
              <a:avLst/>
            </a:prstTxWarp>
            <a:noAutofit/>
          </a:bodyPr>
          <a:lstStyle/>
          <a:p>
            <a:pPr marL="73462" fontAlgn="base">
              <a:spcBef>
                <a:spcPct val="0"/>
              </a:spcBef>
              <a:spcAft>
                <a:spcPct val="0"/>
              </a:spcAft>
            </a:pPr>
            <a:r>
              <a:rPr lang="es-CO" sz="1122" b="1" dirty="0">
                <a:solidFill>
                  <a:srgbClr val="009A46"/>
                </a:solidFill>
                <a:cs typeface="Arial" pitchFamily="34" charset="0"/>
                <a:sym typeface="Calibri" panose="020F0502020204030204" pitchFamily="34" charset="0"/>
              </a:rPr>
              <a:t>Amenazas</a:t>
            </a:r>
          </a:p>
        </p:txBody>
      </p:sp>
      <p:sp>
        <p:nvSpPr>
          <p:cNvPr id="28" name="AutoShape 250"/>
          <p:cNvSpPr>
            <a:spLocks noChangeArrowheads="1"/>
          </p:cNvSpPr>
          <p:nvPr/>
        </p:nvSpPr>
        <p:spPr bwMode="auto">
          <a:xfrm>
            <a:off x="2920577" y="1136709"/>
            <a:ext cx="4462660" cy="195025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659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CO" sz="1122" b="1" dirty="0">
                <a:solidFill>
                  <a:srgbClr val="009A46"/>
                </a:solidFill>
                <a:sym typeface="Calibri" panose="020F0502020204030204" pitchFamily="34" charset="0"/>
              </a:rPr>
              <a:t>Dinámica</a:t>
            </a:r>
          </a:p>
        </p:txBody>
      </p:sp>
      <p:cxnSp>
        <p:nvCxnSpPr>
          <p:cNvPr id="29" name="AutoShape 249"/>
          <p:cNvCxnSpPr>
            <a:cxnSpLocks noChangeShapeType="1"/>
          </p:cNvCxnSpPr>
          <p:nvPr/>
        </p:nvCxnSpPr>
        <p:spPr bwMode="auto">
          <a:xfrm>
            <a:off x="2920577" y="1331732"/>
            <a:ext cx="5868580" cy="2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0" name="Rectangle 53"/>
          <p:cNvSpPr txBox="1">
            <a:spLocks/>
          </p:cNvSpPr>
          <p:nvPr/>
        </p:nvSpPr>
        <p:spPr>
          <a:xfrm>
            <a:off x="2920576" y="1399294"/>
            <a:ext cx="5868581" cy="3663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34438" lvl="1" indent="-132818" fontAlgn="base">
              <a:lnSpc>
                <a:spcPts val="1428"/>
              </a:lnSpc>
              <a:spcBef>
                <a:spcPct val="0"/>
              </a:spcBef>
              <a:spcAft>
                <a:spcPct val="0"/>
              </a:spcAft>
              <a:buClr>
                <a:srgbClr val="009A46"/>
              </a:buClr>
            </a:pPr>
            <a:r>
              <a:rPr lang="es-CO" sz="1122" dirty="0">
                <a:solidFill>
                  <a:srgbClr val="000000"/>
                </a:solidFill>
                <a:sym typeface="Calibri" panose="020F0502020204030204" pitchFamily="34" charset="0"/>
              </a:rPr>
              <a:t>Se reconoce a los </a:t>
            </a:r>
            <a:r>
              <a:rPr lang="es-CO" sz="1122" b="1" dirty="0">
                <a:solidFill>
                  <a:srgbClr val="009A46"/>
                </a:solidFill>
                <a:sym typeface="Calibri" panose="020F0502020204030204" pitchFamily="34" charset="0"/>
              </a:rPr>
              <a:t>miembros del equipo </a:t>
            </a:r>
            <a:r>
              <a:rPr lang="es-CO" sz="1122" dirty="0">
                <a:solidFill>
                  <a:srgbClr val="000000"/>
                </a:solidFill>
                <a:sym typeface="Calibri" panose="020F0502020204030204" pitchFamily="34" charset="0"/>
              </a:rPr>
              <a:t>que han tenido un </a:t>
            </a:r>
            <a:r>
              <a:rPr lang="es-CO" sz="1122" b="1" dirty="0">
                <a:solidFill>
                  <a:srgbClr val="009A46"/>
                </a:solidFill>
                <a:sym typeface="Calibri" panose="020F0502020204030204" pitchFamily="34" charset="0"/>
              </a:rPr>
              <a:t>comportamiento o desempeño </a:t>
            </a:r>
            <a:r>
              <a:rPr lang="es-CO" sz="1122" dirty="0">
                <a:solidFill>
                  <a:srgbClr val="000000"/>
                </a:solidFill>
                <a:sym typeface="Calibri" panose="020F0502020204030204" pitchFamily="34" charset="0"/>
              </a:rPr>
              <a:t>destacado en el último periodo</a:t>
            </a:r>
          </a:p>
        </p:txBody>
      </p:sp>
      <p:sp>
        <p:nvSpPr>
          <p:cNvPr id="31" name="Rectangle 53"/>
          <p:cNvSpPr txBox="1">
            <a:spLocks/>
          </p:cNvSpPr>
          <p:nvPr/>
        </p:nvSpPr>
        <p:spPr>
          <a:xfrm>
            <a:off x="2913797" y="1952891"/>
            <a:ext cx="5875360" cy="14362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34438" lvl="1" indent="-132818" fontAlgn="base">
              <a:lnSpc>
                <a:spcPts val="1428"/>
              </a:lnSpc>
              <a:spcBef>
                <a:spcPct val="0"/>
              </a:spcBef>
              <a:spcAft>
                <a:spcPct val="0"/>
              </a:spcAft>
              <a:buClr>
                <a:srgbClr val="009A46"/>
              </a:buClr>
            </a:pPr>
            <a:r>
              <a:rPr lang="es-CO" sz="1122" dirty="0">
                <a:solidFill>
                  <a:srgbClr val="000000"/>
                </a:solidFill>
                <a:sym typeface="Calibri" panose="020F0502020204030204" pitchFamily="34" charset="0"/>
              </a:rPr>
              <a:t>Se revisa el </a:t>
            </a:r>
            <a:r>
              <a:rPr lang="es-CO" sz="1122" b="1" dirty="0">
                <a:solidFill>
                  <a:srgbClr val="009A46"/>
                </a:solidFill>
                <a:sym typeface="Calibri" panose="020F0502020204030204" pitchFamily="34" charset="0"/>
              </a:rPr>
              <a:t>estatus de compromisos </a:t>
            </a:r>
            <a:r>
              <a:rPr lang="es-CO" sz="1122" b="1" dirty="0" smtClean="0">
                <a:solidFill>
                  <a:srgbClr val="009A46"/>
                </a:solidFill>
                <a:sym typeface="Calibri" panose="020F0502020204030204" pitchFamily="34" charset="0"/>
              </a:rPr>
              <a:t>con plazo cumplido</a:t>
            </a:r>
            <a:r>
              <a:rPr lang="es-CO" sz="1122" dirty="0" smtClean="0">
                <a:solidFill>
                  <a:srgbClr val="000000"/>
                </a:solidFill>
                <a:sym typeface="Calibri" panose="020F0502020204030204" pitchFamily="34" charset="0"/>
              </a:rPr>
              <a:t> </a:t>
            </a:r>
            <a:r>
              <a:rPr lang="es-CO" sz="1122" dirty="0">
                <a:solidFill>
                  <a:srgbClr val="000000"/>
                </a:solidFill>
                <a:sym typeface="Calibri" panose="020F0502020204030204" pitchFamily="34" charset="0"/>
              </a:rPr>
              <a:t>y se actúa sobre los desvíos identificados</a:t>
            </a:r>
            <a:r>
              <a:rPr lang="es-CO" sz="1122" dirty="0" smtClean="0">
                <a:solidFill>
                  <a:srgbClr val="000000"/>
                </a:solidFill>
                <a:sym typeface="Calibri" panose="020F0502020204030204" pitchFamily="34" charset="0"/>
              </a:rPr>
              <a:t>.</a:t>
            </a:r>
          </a:p>
          <a:p>
            <a:pPr marL="134438" lvl="1" indent="-132818">
              <a:lnSpc>
                <a:spcPts val="1428"/>
              </a:lnSpc>
              <a:buClr>
                <a:srgbClr val="009A46"/>
              </a:buClr>
            </a:pPr>
            <a:r>
              <a:rPr lang="es-MX" sz="1122" dirty="0">
                <a:solidFill>
                  <a:srgbClr val="000000"/>
                </a:solidFill>
                <a:sym typeface="Calibri" panose="020F0502020204030204" pitchFamily="34" charset="0"/>
              </a:rPr>
              <a:t>Se consulta por </a:t>
            </a:r>
            <a:r>
              <a:rPr lang="es-MX" sz="1122" b="1" dirty="0">
                <a:solidFill>
                  <a:srgbClr val="009A46"/>
                </a:solidFill>
                <a:sym typeface="Calibri" panose="020F0502020204030204" pitchFamily="34" charset="0"/>
              </a:rPr>
              <a:t>amenazas en el cumplimiento del plazo de acciones a concluir en el próximo ciclo </a:t>
            </a:r>
            <a:r>
              <a:rPr lang="es-MX" sz="1122" dirty="0">
                <a:solidFill>
                  <a:srgbClr val="000000"/>
                </a:solidFill>
                <a:sym typeface="Calibri" panose="020F0502020204030204" pitchFamily="34" charset="0"/>
              </a:rPr>
              <a:t>y se actúa para </a:t>
            </a:r>
            <a:r>
              <a:rPr lang="es-MX" sz="1122" dirty="0" smtClean="0">
                <a:solidFill>
                  <a:srgbClr val="000000"/>
                </a:solidFill>
                <a:sym typeface="Calibri" panose="020F0502020204030204" pitchFamily="34" charset="0"/>
              </a:rPr>
              <a:t>mitigarlas.</a:t>
            </a:r>
          </a:p>
          <a:p>
            <a:pPr marL="134438" lvl="1" indent="-132818">
              <a:lnSpc>
                <a:spcPts val="1428"/>
              </a:lnSpc>
              <a:buClr>
                <a:srgbClr val="009A46"/>
              </a:buClr>
            </a:pPr>
            <a:r>
              <a:rPr lang="es-MX" sz="1122" dirty="0" smtClean="0">
                <a:solidFill>
                  <a:srgbClr val="000000"/>
                </a:solidFill>
                <a:sym typeface="Calibri" panose="020F0502020204030204" pitchFamily="34" charset="0"/>
              </a:rPr>
              <a:t>Se </a:t>
            </a:r>
            <a:r>
              <a:rPr lang="es-MX" sz="1122" dirty="0">
                <a:solidFill>
                  <a:srgbClr val="000000"/>
                </a:solidFill>
                <a:sym typeface="Calibri" panose="020F0502020204030204" pitchFamily="34" charset="0"/>
              </a:rPr>
              <a:t>revisan los RdPs en curso de manera concisa y se actúa sobre los desvíos identificados.</a:t>
            </a:r>
            <a:endParaRPr lang="es-CO" sz="1122" dirty="0">
              <a:solidFill>
                <a:srgbClr val="000000"/>
              </a:solidFill>
              <a:sym typeface="Calibri" panose="020F0502020204030204" pitchFamily="34" charset="0"/>
            </a:endParaRPr>
          </a:p>
          <a:p>
            <a:pPr marL="134438" lvl="1" indent="-132818" fontAlgn="base">
              <a:lnSpc>
                <a:spcPts val="1428"/>
              </a:lnSpc>
              <a:spcBef>
                <a:spcPct val="0"/>
              </a:spcBef>
              <a:spcAft>
                <a:spcPct val="0"/>
              </a:spcAft>
              <a:buClr>
                <a:srgbClr val="009A46"/>
              </a:buClr>
            </a:pPr>
            <a:r>
              <a:rPr lang="es-CO" sz="1122" dirty="0">
                <a:solidFill>
                  <a:srgbClr val="000000"/>
                </a:solidFill>
                <a:sym typeface="Calibri" panose="020F0502020204030204" pitchFamily="34" charset="0"/>
              </a:rPr>
              <a:t>Se revisa el estatus de los </a:t>
            </a:r>
            <a:r>
              <a:rPr lang="es-CO" sz="1122" b="1" dirty="0">
                <a:solidFill>
                  <a:srgbClr val="009A46"/>
                </a:solidFill>
                <a:sym typeface="Calibri" panose="020F0502020204030204" pitchFamily="34" charset="0"/>
              </a:rPr>
              <a:t>temas escalados a diálogos de niveles superiores, </a:t>
            </a:r>
            <a:r>
              <a:rPr lang="es-CO" sz="1122" dirty="0">
                <a:solidFill>
                  <a:srgbClr val="000000"/>
                </a:solidFill>
                <a:sym typeface="Calibri" panose="020F0502020204030204" pitchFamily="34" charset="0"/>
              </a:rPr>
              <a:t>comentando brevemente al equipo la nueva gestión del problema.</a:t>
            </a:r>
            <a:endParaRPr lang="es-CO" sz="1122" b="1" dirty="0">
              <a:solidFill>
                <a:srgbClr val="009A46"/>
              </a:solidFill>
              <a:sym typeface="Calibri" panose="020F0502020204030204" pitchFamily="34" charset="0"/>
            </a:endParaRPr>
          </a:p>
        </p:txBody>
      </p:sp>
      <p:sp>
        <p:nvSpPr>
          <p:cNvPr id="32" name="Rectangle 53"/>
          <p:cNvSpPr txBox="1">
            <a:spLocks/>
          </p:cNvSpPr>
          <p:nvPr/>
        </p:nvSpPr>
        <p:spPr>
          <a:xfrm>
            <a:off x="2908385" y="3417683"/>
            <a:ext cx="5880772" cy="22003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34438" lvl="1" indent="-132818" fontAlgn="base">
              <a:spcBef>
                <a:spcPts val="204"/>
              </a:spcBef>
              <a:spcAft>
                <a:spcPts val="204"/>
              </a:spcAft>
              <a:buClr>
                <a:srgbClr val="009A46"/>
              </a:buClr>
            </a:pPr>
            <a:r>
              <a:rPr lang="es-CL" sz="1122" dirty="0">
                <a:solidFill>
                  <a:srgbClr val="000000"/>
                </a:solidFill>
                <a:sym typeface="Calibri" panose="020F0502020204030204" pitchFamily="34" charset="0"/>
              </a:rPr>
              <a:t>El equipo completa indicador ABC para </a:t>
            </a:r>
            <a:r>
              <a:rPr lang="es-CL" sz="1122" b="1" dirty="0">
                <a:solidFill>
                  <a:srgbClr val="009A46"/>
                </a:solidFill>
                <a:sym typeface="Calibri" panose="020F0502020204030204" pitchFamily="34" charset="0"/>
              </a:rPr>
              <a:t>generar consciencia </a:t>
            </a:r>
            <a:r>
              <a:rPr lang="es-CL" sz="1122" dirty="0">
                <a:solidFill>
                  <a:srgbClr val="000000"/>
                </a:solidFill>
                <a:sym typeface="Calibri" panose="020F0502020204030204" pitchFamily="34" charset="0"/>
              </a:rPr>
              <a:t>de esta prioridad y apalancar la gestión</a:t>
            </a:r>
            <a:endParaRPr lang="es-CO" sz="1122" dirty="0">
              <a:solidFill>
                <a:srgbClr val="000000"/>
              </a:solidFill>
              <a:sym typeface="Calibri" panose="020F0502020204030204" pitchFamily="34" charset="0"/>
            </a:endParaRPr>
          </a:p>
          <a:p>
            <a:pPr marL="134438" lvl="1" indent="-132818" fontAlgn="base">
              <a:spcBef>
                <a:spcPts val="204"/>
              </a:spcBef>
              <a:spcAft>
                <a:spcPts val="204"/>
              </a:spcAft>
              <a:buClr>
                <a:srgbClr val="009A46"/>
              </a:buClr>
            </a:pPr>
            <a:r>
              <a:rPr lang="es-CO" sz="1122" dirty="0">
                <a:solidFill>
                  <a:srgbClr val="000000"/>
                </a:solidFill>
                <a:sym typeface="Calibri" panose="020F0502020204030204" pitchFamily="34" charset="0"/>
              </a:rPr>
              <a:t>Se discuten </a:t>
            </a:r>
            <a:r>
              <a:rPr lang="es-CO" sz="1122" b="1" dirty="0">
                <a:solidFill>
                  <a:srgbClr val="009A46"/>
                </a:solidFill>
                <a:sym typeface="Calibri" panose="020F0502020204030204" pitchFamily="34" charset="0"/>
              </a:rPr>
              <a:t>solo </a:t>
            </a:r>
            <a:r>
              <a:rPr lang="es-CO" sz="1122" dirty="0">
                <a:solidFill>
                  <a:srgbClr val="000000"/>
                </a:solidFill>
                <a:sym typeface="Calibri" panose="020F0502020204030204" pitchFamily="34" charset="0"/>
              </a:rPr>
              <a:t>los </a:t>
            </a:r>
            <a:r>
              <a:rPr lang="es-CO" sz="1122" dirty="0" err="1">
                <a:solidFill>
                  <a:srgbClr val="000000"/>
                </a:solidFill>
                <a:sym typeface="Calibri" panose="020F0502020204030204" pitchFamily="34" charset="0"/>
              </a:rPr>
              <a:t>KPI</a:t>
            </a:r>
            <a:r>
              <a:rPr lang="es-CO" sz="1122" dirty="0">
                <a:solidFill>
                  <a:srgbClr val="000000"/>
                </a:solidFill>
                <a:sym typeface="Calibri" panose="020F0502020204030204" pitchFamily="34" charset="0"/>
              </a:rPr>
              <a:t> que presentan </a:t>
            </a:r>
            <a:r>
              <a:rPr lang="es-CO" sz="1122" b="1" dirty="0">
                <a:solidFill>
                  <a:srgbClr val="009A46"/>
                </a:solidFill>
                <a:sym typeface="Calibri" panose="020F0502020204030204" pitchFamily="34" charset="0"/>
              </a:rPr>
              <a:t>brechas vs. las metas </a:t>
            </a:r>
            <a:r>
              <a:rPr lang="es-CO" sz="1122" dirty="0">
                <a:solidFill>
                  <a:srgbClr val="000000"/>
                </a:solidFill>
                <a:sym typeface="Calibri" panose="020F0502020204030204" pitchFamily="34" charset="0"/>
              </a:rPr>
              <a:t>(incluyendo los KPI temporales)</a:t>
            </a:r>
          </a:p>
          <a:p>
            <a:pPr marL="134438" lvl="1" indent="-132818" fontAlgn="base">
              <a:spcBef>
                <a:spcPts val="204"/>
              </a:spcBef>
              <a:spcAft>
                <a:spcPts val="204"/>
              </a:spcAft>
              <a:buClr>
                <a:srgbClr val="009A46"/>
              </a:buClr>
            </a:pPr>
            <a:r>
              <a:rPr lang="es-CO" sz="1122" dirty="0">
                <a:solidFill>
                  <a:srgbClr val="000000"/>
                </a:solidFill>
                <a:sym typeface="Calibri" panose="020F0502020204030204" pitchFamily="34" charset="0"/>
              </a:rPr>
              <a:t>El responsable del </a:t>
            </a:r>
            <a:r>
              <a:rPr lang="es-CO" sz="1122" dirty="0" err="1">
                <a:solidFill>
                  <a:srgbClr val="000000"/>
                </a:solidFill>
                <a:sym typeface="Calibri" panose="020F0502020204030204" pitchFamily="34" charset="0"/>
              </a:rPr>
              <a:t>KPI</a:t>
            </a:r>
            <a:r>
              <a:rPr lang="es-CO" sz="1122" dirty="0">
                <a:solidFill>
                  <a:srgbClr val="000000"/>
                </a:solidFill>
                <a:sym typeface="Calibri" panose="020F0502020204030204" pitchFamily="34" charset="0"/>
              </a:rPr>
              <a:t> tiene que </a:t>
            </a:r>
            <a:r>
              <a:rPr lang="es-CO" sz="1122" b="1" dirty="0">
                <a:solidFill>
                  <a:srgbClr val="009A46"/>
                </a:solidFill>
                <a:sym typeface="Calibri" panose="020F0502020204030204" pitchFamily="34" charset="0"/>
              </a:rPr>
              <a:t>explicar la brecha</a:t>
            </a:r>
            <a:r>
              <a:rPr lang="es-CO" sz="1122" dirty="0">
                <a:solidFill>
                  <a:srgbClr val="000000"/>
                </a:solidFill>
                <a:sym typeface="Calibri" panose="020F0502020204030204" pitchFamily="34" charset="0"/>
              </a:rPr>
              <a:t>, la hipótesis de la </a:t>
            </a:r>
            <a:r>
              <a:rPr lang="es-CO" sz="1122" b="1" dirty="0">
                <a:solidFill>
                  <a:srgbClr val="009A46"/>
                </a:solidFill>
                <a:sym typeface="Calibri" panose="020F0502020204030204" pitchFamily="34" charset="0"/>
              </a:rPr>
              <a:t>causa raíz,</a:t>
            </a:r>
            <a:r>
              <a:rPr lang="es-CO" sz="1122" dirty="0">
                <a:solidFill>
                  <a:srgbClr val="000000"/>
                </a:solidFill>
                <a:sym typeface="Calibri" panose="020F0502020204030204" pitchFamily="34" charset="0"/>
              </a:rPr>
              <a:t> y sugerir un </a:t>
            </a:r>
            <a:r>
              <a:rPr lang="es-CO" sz="1122" b="1" dirty="0">
                <a:solidFill>
                  <a:srgbClr val="009A46"/>
                </a:solidFill>
                <a:sym typeface="Calibri" panose="020F0502020204030204" pitchFamily="34" charset="0"/>
              </a:rPr>
              <a:t>plan de acción</a:t>
            </a:r>
          </a:p>
          <a:p>
            <a:pPr marL="149015" lvl="1" indent="-147396" fontAlgn="base">
              <a:spcBef>
                <a:spcPct val="0"/>
              </a:spcBef>
              <a:spcAft>
                <a:spcPct val="0"/>
              </a:spcAft>
              <a:buClr>
                <a:srgbClr val="009A46"/>
              </a:buClr>
            </a:pPr>
            <a:r>
              <a:rPr lang="es-CO" sz="1122" dirty="0">
                <a:solidFill>
                  <a:srgbClr val="000000"/>
                </a:solidFill>
                <a:sym typeface="Calibri" panose="020F0502020204030204" pitchFamily="34" charset="0"/>
              </a:rPr>
              <a:t>Se acuerdan </a:t>
            </a:r>
            <a:r>
              <a:rPr lang="es-CO" sz="1122" b="1" dirty="0">
                <a:solidFill>
                  <a:srgbClr val="009A46"/>
                </a:solidFill>
                <a:sym typeface="Calibri" panose="020F0502020204030204" pitchFamily="34" charset="0"/>
              </a:rPr>
              <a:t>los compromisos nuevos para trabajar en el ciclo, </a:t>
            </a:r>
            <a:r>
              <a:rPr lang="es-CO" sz="1122" dirty="0">
                <a:solidFill>
                  <a:srgbClr val="000000"/>
                </a:solidFill>
                <a:sym typeface="Calibri" panose="020F0502020204030204" pitchFamily="34" charset="0"/>
              </a:rPr>
              <a:t>definiendo </a:t>
            </a:r>
            <a:r>
              <a:rPr lang="es-CO" sz="1122" b="1" dirty="0">
                <a:solidFill>
                  <a:srgbClr val="009A46"/>
                </a:solidFill>
                <a:sym typeface="Calibri" panose="020F0502020204030204" pitchFamily="34" charset="0"/>
              </a:rPr>
              <a:t>responsable </a:t>
            </a:r>
            <a:r>
              <a:rPr lang="es-CO" sz="1122" dirty="0">
                <a:solidFill>
                  <a:srgbClr val="000000"/>
                </a:solidFill>
                <a:sym typeface="Calibri" panose="020F0502020204030204" pitchFamily="34" charset="0"/>
              </a:rPr>
              <a:t>y</a:t>
            </a:r>
            <a:r>
              <a:rPr lang="es-CO" sz="1122" b="1" dirty="0">
                <a:solidFill>
                  <a:srgbClr val="009A46"/>
                </a:solidFill>
                <a:sym typeface="Calibri" panose="020F0502020204030204" pitchFamily="34" charset="0"/>
              </a:rPr>
              <a:t> </a:t>
            </a:r>
            <a:r>
              <a:rPr lang="es-CO" sz="1122" dirty="0">
                <a:solidFill>
                  <a:srgbClr val="000000"/>
                </a:solidFill>
                <a:sym typeface="Calibri" panose="020F0502020204030204" pitchFamily="34" charset="0"/>
              </a:rPr>
              <a:t>fecha de cumplimiento </a:t>
            </a:r>
          </a:p>
          <a:p>
            <a:pPr marL="149015" lvl="1" indent="-147396">
              <a:buClr>
                <a:srgbClr val="009A46"/>
              </a:buClr>
            </a:pPr>
            <a:r>
              <a:rPr lang="es-MX" sz="1122" dirty="0">
                <a:solidFill>
                  <a:srgbClr val="000000"/>
                </a:solidFill>
                <a:sym typeface="Calibri" panose="020F0502020204030204" pitchFamily="34" charset="0"/>
              </a:rPr>
              <a:t>Se acuerdan  para una resolución de problema los </a:t>
            </a:r>
            <a:r>
              <a:rPr lang="es-MX" sz="1122" b="1" dirty="0">
                <a:solidFill>
                  <a:srgbClr val="009A46"/>
                </a:solidFill>
                <a:sym typeface="Calibri" panose="020F0502020204030204" pitchFamily="34" charset="0"/>
              </a:rPr>
              <a:t>KPIs gatillo con brecha</a:t>
            </a:r>
            <a:r>
              <a:rPr lang="es-MX" sz="1122" dirty="0">
                <a:solidFill>
                  <a:srgbClr val="000000"/>
                </a:solidFill>
                <a:sym typeface="Calibri" panose="020F0502020204030204" pitchFamily="34" charset="0"/>
              </a:rPr>
              <a:t>, los </a:t>
            </a:r>
            <a:r>
              <a:rPr lang="es-MX" sz="1122" b="1" dirty="0">
                <a:solidFill>
                  <a:srgbClr val="009A46"/>
                </a:solidFill>
                <a:sym typeface="Calibri" panose="020F0502020204030204" pitchFamily="34" charset="0"/>
              </a:rPr>
              <a:t>KPI con repetitividad de brecha</a:t>
            </a:r>
            <a:r>
              <a:rPr lang="es-MX" sz="1122" dirty="0">
                <a:solidFill>
                  <a:srgbClr val="000000"/>
                </a:solidFill>
                <a:sym typeface="Calibri" panose="020F0502020204030204" pitchFamily="34" charset="0"/>
              </a:rPr>
              <a:t> y cuando </a:t>
            </a:r>
            <a:r>
              <a:rPr lang="es-MX" sz="1122" b="1" dirty="0">
                <a:solidFill>
                  <a:srgbClr val="009A46"/>
                </a:solidFill>
                <a:sym typeface="Calibri" panose="020F0502020204030204" pitchFamily="34" charset="0"/>
              </a:rPr>
              <a:t>no se identifique la causa raíz de una brecha</a:t>
            </a:r>
            <a:r>
              <a:rPr lang="es-MX" sz="1122" dirty="0">
                <a:solidFill>
                  <a:srgbClr val="000000"/>
                </a:solidFill>
                <a:sym typeface="Calibri" panose="020F0502020204030204" pitchFamily="34" charset="0"/>
              </a:rPr>
              <a:t>, se anotan de manera clara con </a:t>
            </a:r>
            <a:r>
              <a:rPr lang="es-MX" sz="1122" b="1" dirty="0">
                <a:solidFill>
                  <a:srgbClr val="009A46"/>
                </a:solidFill>
                <a:sym typeface="Calibri" panose="020F0502020204030204" pitchFamily="34" charset="0"/>
              </a:rPr>
              <a:t>fecha y responsable</a:t>
            </a:r>
            <a:r>
              <a:rPr lang="es-MX" sz="1122" b="1" dirty="0" smtClean="0">
                <a:solidFill>
                  <a:srgbClr val="009A46"/>
                </a:solidFill>
                <a:sym typeface="Calibri" panose="020F0502020204030204" pitchFamily="34" charset="0"/>
              </a:rPr>
              <a:t>.</a:t>
            </a:r>
          </a:p>
          <a:p>
            <a:pPr marL="149015" lvl="1" indent="-147396">
              <a:buClr>
                <a:srgbClr val="009A46"/>
              </a:buClr>
            </a:pPr>
            <a:r>
              <a:rPr lang="es-CO" sz="1122" dirty="0" smtClean="0">
                <a:solidFill>
                  <a:srgbClr val="000000"/>
                </a:solidFill>
                <a:sym typeface="Calibri" panose="020F0502020204030204" pitchFamily="34" charset="0"/>
              </a:rPr>
              <a:t>Se </a:t>
            </a:r>
            <a:r>
              <a:rPr lang="es-CO" sz="1122" dirty="0">
                <a:solidFill>
                  <a:srgbClr val="000000"/>
                </a:solidFill>
                <a:sym typeface="Calibri" panose="020F0502020204030204" pitchFamily="34" charset="0"/>
              </a:rPr>
              <a:t>discuten los temas </a:t>
            </a:r>
            <a:r>
              <a:rPr lang="es-CO" sz="1122" b="1" dirty="0">
                <a:solidFill>
                  <a:srgbClr val="009A46"/>
                </a:solidFill>
                <a:sym typeface="Calibri" panose="020F0502020204030204" pitchFamily="34" charset="0"/>
              </a:rPr>
              <a:t>escalados al propio diál</a:t>
            </a:r>
            <a:r>
              <a:rPr lang="es-CO" sz="1122" dirty="0">
                <a:solidFill>
                  <a:srgbClr val="000000"/>
                </a:solidFill>
                <a:sym typeface="Calibri" panose="020F0502020204030204" pitchFamily="34" charset="0"/>
              </a:rPr>
              <a:t>ogo, y se definen compromisos</a:t>
            </a:r>
          </a:p>
        </p:txBody>
      </p:sp>
      <p:sp>
        <p:nvSpPr>
          <p:cNvPr id="33" name="Rectangle 53"/>
          <p:cNvSpPr txBox="1">
            <a:spLocks/>
          </p:cNvSpPr>
          <p:nvPr/>
        </p:nvSpPr>
        <p:spPr>
          <a:xfrm>
            <a:off x="2894819" y="5672309"/>
            <a:ext cx="5894338" cy="5386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49015" lvl="1" indent="-147396" fontAlgn="base">
              <a:lnSpc>
                <a:spcPts val="1428"/>
              </a:lnSpc>
              <a:spcBef>
                <a:spcPts val="204"/>
              </a:spcBef>
              <a:spcAft>
                <a:spcPts val="204"/>
              </a:spcAft>
              <a:buClr>
                <a:srgbClr val="009A46"/>
              </a:buClr>
            </a:pPr>
            <a:r>
              <a:rPr lang="es-CO" sz="1122" dirty="0">
                <a:solidFill>
                  <a:srgbClr val="000000"/>
                </a:solidFill>
                <a:sym typeface="Calibri" panose="020F0502020204030204" pitchFamily="34" charset="0"/>
              </a:rPr>
              <a:t>Se</a:t>
            </a:r>
            <a:r>
              <a:rPr lang="es-CO" sz="1122" b="1" dirty="0">
                <a:solidFill>
                  <a:srgbClr val="009A46"/>
                </a:solidFill>
                <a:sym typeface="Calibri" panose="020F0502020204030204" pitchFamily="34" charset="0"/>
              </a:rPr>
              <a:t> proyectan los resultados </a:t>
            </a:r>
            <a:r>
              <a:rPr lang="es-CO" sz="1122" dirty="0">
                <a:solidFill>
                  <a:srgbClr val="000000"/>
                </a:solidFill>
                <a:sym typeface="Calibri" panose="020F0502020204030204" pitchFamily="34" charset="0"/>
              </a:rPr>
              <a:t>para el próximo ciclo,</a:t>
            </a:r>
            <a:r>
              <a:rPr lang="es-CO" sz="1122" b="1" dirty="0">
                <a:solidFill>
                  <a:srgbClr val="009A46"/>
                </a:solidFill>
                <a:sym typeface="Calibri" panose="020F0502020204030204" pitchFamily="34" charset="0"/>
              </a:rPr>
              <a:t> </a:t>
            </a:r>
            <a:r>
              <a:rPr lang="es-CO" sz="1122" dirty="0">
                <a:solidFill>
                  <a:srgbClr val="000000"/>
                </a:solidFill>
                <a:sym typeface="Calibri" panose="020F0502020204030204" pitchFamily="34" charset="0"/>
              </a:rPr>
              <a:t>y cada participante del diálogo levanta sus riesgos para el cumplimiento de metas, definiendo con el equipo un compromiso en el tablero para mitigar la amenaza</a:t>
            </a:r>
          </a:p>
        </p:txBody>
      </p:sp>
      <p:sp>
        <p:nvSpPr>
          <p:cNvPr id="34" name="Rectangle 53"/>
          <p:cNvSpPr txBox="1">
            <a:spLocks/>
          </p:cNvSpPr>
          <p:nvPr/>
        </p:nvSpPr>
        <p:spPr>
          <a:xfrm>
            <a:off x="2908384" y="6322565"/>
            <a:ext cx="5880773" cy="5285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49015" lvl="1" indent="-147396" fontAlgn="base">
              <a:spcBef>
                <a:spcPct val="0"/>
              </a:spcBef>
              <a:spcAft>
                <a:spcPct val="0"/>
              </a:spcAft>
              <a:buClr>
                <a:srgbClr val="009A46"/>
              </a:buClr>
            </a:pPr>
            <a:r>
              <a:rPr lang="es-CO" sz="1122" dirty="0">
                <a:solidFill>
                  <a:srgbClr val="000000"/>
                </a:solidFill>
                <a:sym typeface="Calibri" panose="020F0502020204030204" pitchFamily="34" charset="0"/>
              </a:rPr>
              <a:t>Si existe algún observador realizando confirmación de rol el líder solicita su </a:t>
            </a:r>
            <a:r>
              <a:rPr lang="es-CO" sz="1122" b="1" dirty="0" err="1">
                <a:solidFill>
                  <a:srgbClr val="009A46"/>
                </a:solidFill>
                <a:sym typeface="Calibri" panose="020F0502020204030204" pitchFamily="34" charset="0"/>
              </a:rPr>
              <a:t>feedback</a:t>
            </a:r>
            <a:r>
              <a:rPr lang="es-CO" sz="1122" b="1" dirty="0">
                <a:solidFill>
                  <a:srgbClr val="009A46"/>
                </a:solidFill>
                <a:sym typeface="Calibri" panose="020F0502020204030204" pitchFamily="34" charset="0"/>
              </a:rPr>
              <a:t>, </a:t>
            </a:r>
            <a:r>
              <a:rPr lang="es-CO" sz="1122" dirty="0">
                <a:solidFill>
                  <a:srgbClr val="000000"/>
                </a:solidFill>
                <a:sym typeface="Calibri" panose="020F0502020204030204" pitchFamily="34" charset="0"/>
              </a:rPr>
              <a:t>en caso contrario, el líder puede entregar sus observaciones al equipo por el desarrollo del diálogo</a:t>
            </a:r>
          </a:p>
        </p:txBody>
      </p:sp>
      <p:sp>
        <p:nvSpPr>
          <p:cNvPr id="35" name="Rectangle 53"/>
          <p:cNvSpPr txBox="1">
            <a:spLocks/>
          </p:cNvSpPr>
          <p:nvPr/>
        </p:nvSpPr>
        <p:spPr>
          <a:xfrm>
            <a:off x="8940273" y="6322564"/>
            <a:ext cx="2851390" cy="5495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49015" lvl="1" indent="-147396" fontAlgn="base">
              <a:lnSpc>
                <a:spcPts val="1428"/>
              </a:lnSpc>
              <a:spcBef>
                <a:spcPct val="0"/>
              </a:spcBef>
              <a:spcAft>
                <a:spcPct val="0"/>
              </a:spcAft>
              <a:buClr>
                <a:srgbClr val="009A46"/>
              </a:buClr>
            </a:pPr>
            <a:r>
              <a:rPr lang="es-CO" sz="1122" dirty="0">
                <a:solidFill>
                  <a:srgbClr val="000000"/>
                </a:solidFill>
                <a:sym typeface="Calibri" panose="020F0502020204030204" pitchFamily="34" charset="0"/>
              </a:rPr>
              <a:t>Las observaciones se eligen para </a:t>
            </a:r>
            <a:r>
              <a:rPr lang="es-CO" sz="1122" b="1" dirty="0">
                <a:solidFill>
                  <a:srgbClr val="009A46"/>
                </a:solidFill>
                <a:sym typeface="Calibri" panose="020F0502020204030204" pitchFamily="34" charset="0"/>
              </a:rPr>
              <a:t>gatillar comportamientos y mentalidades </a:t>
            </a:r>
            <a:r>
              <a:rPr lang="es-CO" sz="1122" dirty="0">
                <a:solidFill>
                  <a:srgbClr val="000000"/>
                </a:solidFill>
                <a:sym typeface="Calibri" panose="020F0502020204030204" pitchFamily="34" charset="0"/>
              </a:rPr>
              <a:t>deseadas</a:t>
            </a:r>
          </a:p>
        </p:txBody>
      </p:sp>
      <p:sp>
        <p:nvSpPr>
          <p:cNvPr id="36" name="Rectangle 17"/>
          <p:cNvSpPr>
            <a:spLocks noChangeArrowheads="1"/>
          </p:cNvSpPr>
          <p:nvPr/>
        </p:nvSpPr>
        <p:spPr bwMode="auto">
          <a:xfrm>
            <a:off x="1383203" y="6255838"/>
            <a:ext cx="1431551" cy="605285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3297" tIns="46649" rIns="93297" bIns="46649" numCol="1" anchor="ctr" anchorCtr="0" compatLnSpc="1">
            <a:prstTxWarp prst="textNoShape">
              <a:avLst/>
            </a:prstTxWarp>
            <a:noAutofit/>
          </a:bodyPr>
          <a:lstStyle/>
          <a:p>
            <a:pPr marL="73462" fontAlgn="base">
              <a:spcBef>
                <a:spcPct val="0"/>
              </a:spcBef>
              <a:spcAft>
                <a:spcPct val="0"/>
              </a:spcAft>
            </a:pPr>
            <a:r>
              <a:rPr lang="es-CO" sz="1122" b="1" dirty="0">
                <a:solidFill>
                  <a:srgbClr val="009A46"/>
                </a:solidFill>
                <a:cs typeface="Arial" pitchFamily="34" charset="0"/>
                <a:sym typeface="Calibri" panose="020F0502020204030204" pitchFamily="34" charset="0"/>
              </a:rPr>
              <a:t>Observaciones</a:t>
            </a:r>
          </a:p>
        </p:txBody>
      </p:sp>
      <p:sp>
        <p:nvSpPr>
          <p:cNvPr id="37" name="Oval 57"/>
          <p:cNvSpPr>
            <a:spLocks/>
          </p:cNvSpPr>
          <p:nvPr/>
        </p:nvSpPr>
        <p:spPr>
          <a:xfrm>
            <a:off x="1276797" y="1557045"/>
            <a:ext cx="238753" cy="234048"/>
          </a:xfrm>
          <a:prstGeom prst="ellipse">
            <a:avLst/>
          </a:prstGeom>
          <a:solidFill>
            <a:schemeClr val="accent4"/>
          </a:solidFill>
          <a:ln w="9525">
            <a:noFill/>
          </a:ln>
          <a:effectLst>
            <a:glow>
              <a:schemeClr val="accent1">
                <a:alpha val="40000"/>
              </a:schemeClr>
            </a:glow>
            <a:outerShdw blurRad="101600" sx="64000" sy="64000" rotWithShape="0">
              <a:schemeClr val="tx1"/>
            </a:outerShdw>
          </a:effectLst>
          <a:scene3d>
            <a:camera prst="orthographicFront"/>
            <a:lightRig rig="balanced" dir="t">
              <a:rot lat="0" lon="0" rev="7800000"/>
            </a:lightRig>
          </a:scene3d>
          <a:sp3d>
            <a:bevelT w="254000" h="31750"/>
            <a:bevelB w="0" h="38100"/>
            <a:extrusionClr>
              <a:schemeClr val="bg2"/>
            </a:extrusionClr>
            <a:contourClr>
              <a:schemeClr val="accent3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CO" sz="1122" b="1" dirty="0">
                <a:solidFill>
                  <a:srgbClr val="FFFFFF"/>
                </a:solidFill>
                <a:sym typeface="Calibri" panose="020F0502020204030204" pitchFamily="34" charset="0"/>
              </a:rPr>
              <a:t> A</a:t>
            </a:r>
          </a:p>
        </p:txBody>
      </p:sp>
      <p:sp>
        <p:nvSpPr>
          <p:cNvPr id="38" name="Oval 58"/>
          <p:cNvSpPr>
            <a:spLocks/>
          </p:cNvSpPr>
          <p:nvPr/>
        </p:nvSpPr>
        <p:spPr>
          <a:xfrm>
            <a:off x="1276797" y="2542781"/>
            <a:ext cx="238753" cy="234048"/>
          </a:xfrm>
          <a:prstGeom prst="ellipse">
            <a:avLst/>
          </a:prstGeom>
          <a:solidFill>
            <a:schemeClr val="accent4"/>
          </a:solidFill>
          <a:ln w="9525">
            <a:noFill/>
          </a:ln>
          <a:effectLst>
            <a:glow>
              <a:schemeClr val="accent1">
                <a:alpha val="40000"/>
              </a:schemeClr>
            </a:glow>
            <a:outerShdw blurRad="101600" sx="64000" sy="64000" rotWithShape="0">
              <a:schemeClr val="tx1"/>
            </a:outerShdw>
          </a:effectLst>
          <a:scene3d>
            <a:camera prst="orthographicFront"/>
            <a:lightRig rig="balanced" dir="t">
              <a:rot lat="0" lon="0" rev="7800000"/>
            </a:lightRig>
          </a:scene3d>
          <a:sp3d>
            <a:bevelT w="254000" h="31750"/>
            <a:bevelB w="0" h="38100"/>
            <a:extrusionClr>
              <a:schemeClr val="bg2"/>
            </a:extrusionClr>
            <a:contourClr>
              <a:schemeClr val="accent3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CO" sz="1122" b="1" dirty="0">
                <a:solidFill>
                  <a:srgbClr val="FFFFFF"/>
                </a:solidFill>
                <a:sym typeface="Calibri" panose="020F0502020204030204" pitchFamily="34" charset="0"/>
              </a:rPr>
              <a:t>B</a:t>
            </a:r>
          </a:p>
        </p:txBody>
      </p:sp>
      <p:sp>
        <p:nvSpPr>
          <p:cNvPr id="39" name="Oval 59"/>
          <p:cNvSpPr>
            <a:spLocks/>
          </p:cNvSpPr>
          <p:nvPr/>
        </p:nvSpPr>
        <p:spPr>
          <a:xfrm>
            <a:off x="1263826" y="4275285"/>
            <a:ext cx="238753" cy="234048"/>
          </a:xfrm>
          <a:prstGeom prst="ellipse">
            <a:avLst/>
          </a:prstGeom>
          <a:solidFill>
            <a:schemeClr val="accent4"/>
          </a:solidFill>
          <a:ln w="9525">
            <a:noFill/>
          </a:ln>
          <a:effectLst>
            <a:glow>
              <a:schemeClr val="accent1">
                <a:alpha val="40000"/>
              </a:schemeClr>
            </a:glow>
            <a:outerShdw blurRad="101600" sx="64000" sy="64000" rotWithShape="0">
              <a:schemeClr val="tx1"/>
            </a:outerShdw>
          </a:effectLst>
          <a:scene3d>
            <a:camera prst="orthographicFront"/>
            <a:lightRig rig="balanced" dir="t">
              <a:rot lat="0" lon="0" rev="7800000"/>
            </a:lightRig>
          </a:scene3d>
          <a:sp3d>
            <a:bevelT w="254000" h="31750"/>
            <a:bevelB w="0" h="38100"/>
            <a:extrusionClr>
              <a:schemeClr val="bg2"/>
            </a:extrusionClr>
            <a:contourClr>
              <a:schemeClr val="accent3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CO" sz="1122" b="1" dirty="0">
                <a:solidFill>
                  <a:srgbClr val="FFFFFF"/>
                </a:solidFill>
                <a:sym typeface="Calibri" panose="020F0502020204030204" pitchFamily="34" charset="0"/>
              </a:rPr>
              <a:t>C</a:t>
            </a:r>
          </a:p>
        </p:txBody>
      </p:sp>
      <p:sp>
        <p:nvSpPr>
          <p:cNvPr id="40" name="Oval 60"/>
          <p:cNvSpPr>
            <a:spLocks/>
          </p:cNvSpPr>
          <p:nvPr/>
        </p:nvSpPr>
        <p:spPr>
          <a:xfrm>
            <a:off x="1276797" y="5824589"/>
            <a:ext cx="238753" cy="234048"/>
          </a:xfrm>
          <a:prstGeom prst="ellipse">
            <a:avLst/>
          </a:prstGeom>
          <a:solidFill>
            <a:schemeClr val="accent4"/>
          </a:solidFill>
          <a:ln w="9525">
            <a:noFill/>
          </a:ln>
          <a:effectLst>
            <a:glow>
              <a:schemeClr val="accent1">
                <a:alpha val="40000"/>
              </a:schemeClr>
            </a:glow>
            <a:outerShdw blurRad="101600" sx="64000" sy="64000" rotWithShape="0">
              <a:schemeClr val="tx1"/>
            </a:outerShdw>
          </a:effectLst>
          <a:scene3d>
            <a:camera prst="orthographicFront"/>
            <a:lightRig rig="balanced" dir="t">
              <a:rot lat="0" lon="0" rev="7800000"/>
            </a:lightRig>
          </a:scene3d>
          <a:sp3d>
            <a:bevelT w="254000" h="31750"/>
            <a:bevelB w="0" h="38100"/>
            <a:extrusionClr>
              <a:schemeClr val="bg2"/>
            </a:extrusionClr>
            <a:contourClr>
              <a:schemeClr val="accent3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CO" sz="1122" b="1" dirty="0">
                <a:solidFill>
                  <a:srgbClr val="FFFFFF"/>
                </a:solidFill>
                <a:sym typeface="Calibri" panose="020F0502020204030204" pitchFamily="34" charset="0"/>
              </a:rPr>
              <a:t>D</a:t>
            </a:r>
          </a:p>
        </p:txBody>
      </p:sp>
      <p:sp>
        <p:nvSpPr>
          <p:cNvPr id="41" name="Oval 61"/>
          <p:cNvSpPr>
            <a:spLocks/>
          </p:cNvSpPr>
          <p:nvPr/>
        </p:nvSpPr>
        <p:spPr>
          <a:xfrm>
            <a:off x="1296234" y="6480314"/>
            <a:ext cx="238753" cy="234048"/>
          </a:xfrm>
          <a:prstGeom prst="ellipse">
            <a:avLst/>
          </a:prstGeom>
          <a:solidFill>
            <a:schemeClr val="accent4"/>
          </a:solidFill>
          <a:ln w="9525">
            <a:noFill/>
          </a:ln>
          <a:effectLst>
            <a:glow>
              <a:schemeClr val="accent1">
                <a:alpha val="40000"/>
              </a:schemeClr>
            </a:glow>
            <a:outerShdw blurRad="101600" sx="64000" sy="64000" rotWithShape="0">
              <a:schemeClr val="tx1"/>
            </a:outerShdw>
          </a:effectLst>
          <a:scene3d>
            <a:camera prst="orthographicFront"/>
            <a:lightRig rig="balanced" dir="t">
              <a:rot lat="0" lon="0" rev="7800000"/>
            </a:lightRig>
          </a:scene3d>
          <a:sp3d>
            <a:bevelT w="254000" h="31750"/>
            <a:bevelB w="0" h="38100"/>
            <a:extrusionClr>
              <a:schemeClr val="bg2"/>
            </a:extrusionClr>
            <a:contourClr>
              <a:schemeClr val="accent3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CO" sz="1122" b="1" dirty="0">
                <a:solidFill>
                  <a:srgbClr val="FFFFFF"/>
                </a:solidFill>
                <a:sym typeface="Calibri" panose="020F0502020204030204" pitchFamily="34" charset="0"/>
              </a:rPr>
              <a:t>E</a:t>
            </a:r>
          </a:p>
        </p:txBody>
      </p:sp>
      <p:sp>
        <p:nvSpPr>
          <p:cNvPr id="42" name="Line 26"/>
          <p:cNvSpPr>
            <a:spLocks noChangeShapeType="1"/>
          </p:cNvSpPr>
          <p:nvPr/>
        </p:nvSpPr>
        <p:spPr bwMode="auto">
          <a:xfrm>
            <a:off x="1415610" y="6228542"/>
            <a:ext cx="10376052" cy="0"/>
          </a:xfrm>
          <a:prstGeom prst="line">
            <a:avLst/>
          </a:prstGeom>
          <a:ln w="12700">
            <a:solidFill>
              <a:schemeClr val="accent6"/>
            </a:solidFill>
            <a:prstDash val="sysDot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CO" sz="1224">
              <a:solidFill>
                <a:srgbClr val="000000"/>
              </a:solidFill>
              <a:sym typeface="Calibri" panose="020F0502020204030204" pitchFamily="34" charset="0"/>
            </a:endParaRPr>
          </a:p>
        </p:txBody>
      </p:sp>
      <p:sp>
        <p:nvSpPr>
          <p:cNvPr id="43" name="Rectangle 53"/>
          <p:cNvSpPr txBox="1">
            <a:spLocks/>
          </p:cNvSpPr>
          <p:nvPr/>
        </p:nvSpPr>
        <p:spPr>
          <a:xfrm>
            <a:off x="8961273" y="5873664"/>
            <a:ext cx="2489152" cy="1831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49015" lvl="1" indent="-147396" fontAlgn="base">
              <a:lnSpc>
                <a:spcPts val="1428"/>
              </a:lnSpc>
              <a:spcBef>
                <a:spcPct val="0"/>
              </a:spcBef>
              <a:spcAft>
                <a:spcPct val="0"/>
              </a:spcAft>
              <a:buClr>
                <a:srgbClr val="009A46"/>
              </a:buClr>
            </a:pPr>
            <a:endParaRPr lang="es-CO" sz="1122" dirty="0">
              <a:solidFill>
                <a:srgbClr val="000000"/>
              </a:solidFill>
              <a:sym typeface="Calibri" panose="020F0502020204030204" pitchFamily="34" charset="0"/>
            </a:endParaRPr>
          </a:p>
        </p:txBody>
      </p:sp>
      <p:sp>
        <p:nvSpPr>
          <p:cNvPr id="44" name="Rectangle 7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832101" y="397777"/>
            <a:ext cx="8765425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defTabSz="1218026" eaLnBrk="1" hangingPunct="1">
              <a:tabLst>
                <a:tab pos="367135" algn="l"/>
              </a:tabLst>
              <a:defRPr lang="x-none" sz="2000" b="1" baseline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  <a:lvl2pPr defTabSz="1218026" eaLnBrk="1" hangingPunct="1">
              <a:defRPr lang="x-none" sz="2584" b="1">
                <a:solidFill>
                  <a:schemeClr val="tx2"/>
                </a:solidFill>
              </a:defRPr>
            </a:lvl2pPr>
            <a:lvl3pPr defTabSz="1218026" eaLnBrk="1" hangingPunct="1">
              <a:defRPr lang="x-none" sz="2584" b="1">
                <a:solidFill>
                  <a:schemeClr val="tx2"/>
                </a:solidFill>
              </a:defRPr>
            </a:lvl3pPr>
            <a:lvl4pPr defTabSz="1218026" eaLnBrk="1" hangingPunct="1">
              <a:defRPr lang="x-none" sz="2584" b="1">
                <a:solidFill>
                  <a:schemeClr val="tx2"/>
                </a:solidFill>
              </a:defRPr>
            </a:lvl4pPr>
            <a:lvl5pPr defTabSz="1218026" eaLnBrk="1" hangingPunct="1">
              <a:defRPr lang="x-none" sz="2584" b="1">
                <a:solidFill>
                  <a:schemeClr val="tx2"/>
                </a:solidFill>
              </a:defRPr>
            </a:lvl5pPr>
            <a:lvl6pPr marL="621970" defTabSz="1218026" fontAlgn="base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</a:defRPr>
            </a:lvl6pPr>
            <a:lvl7pPr marL="1243941" defTabSz="1218026" fontAlgn="base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</a:defRPr>
            </a:lvl7pPr>
            <a:lvl8pPr marL="1865909" defTabSz="1218026" fontAlgn="base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</a:defRPr>
            </a:lvl8pPr>
            <a:lvl9pPr marL="2487880" defTabSz="1218026" fontAlgn="base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</a:defRPr>
            </a:lvl9pPr>
          </a:lstStyle>
          <a:p>
            <a:r>
              <a:rPr lang="es-CL" dirty="0">
                <a:solidFill>
                  <a:srgbClr val="808080"/>
                </a:solidFill>
              </a:rPr>
              <a:t>La estructura de un diálogo de desempeño incluye ciertos contenidos clave y una dinámica positiva, enfocada a la acción</a:t>
            </a:r>
            <a:endParaRPr lang="es-ES" dirty="0">
              <a:solidFill>
                <a:srgbClr val="808080"/>
              </a:solidFill>
              <a:sym typeface="Calibri" panose="020F0502020204030204" pitchFamily="34" charset="0"/>
            </a:endParaRPr>
          </a:p>
        </p:txBody>
      </p:sp>
      <p:sp>
        <p:nvSpPr>
          <p:cNvPr id="45" name="Line 26"/>
          <p:cNvSpPr>
            <a:spLocks noChangeShapeType="1"/>
          </p:cNvSpPr>
          <p:nvPr/>
        </p:nvSpPr>
        <p:spPr bwMode="auto">
          <a:xfrm>
            <a:off x="1415610" y="5618029"/>
            <a:ext cx="10403157" cy="0"/>
          </a:xfrm>
          <a:prstGeom prst="line">
            <a:avLst/>
          </a:prstGeom>
          <a:ln w="12700">
            <a:solidFill>
              <a:schemeClr val="accent6"/>
            </a:solidFill>
            <a:prstDash val="sysDot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CO" sz="1224">
              <a:solidFill>
                <a:srgbClr val="000000"/>
              </a:solidFill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2819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9019803"/>
              </p:ext>
            </p:extLst>
          </p:nvPr>
        </p:nvGraphicFramePr>
        <p:xfrm>
          <a:off x="2243" y="168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110" name="Diapositiva de think-cell" r:id="rId18" imgW="360" imgH="360" progId="TCLayout.ActiveDocument.1">
                  <p:embed/>
                </p:oleObj>
              </mc:Choice>
              <mc:Fallback>
                <p:oleObj name="Diapositiva de think-cell" r:id="rId18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43" y="1682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4" name="Freeform 123"/>
          <p:cNvSpPr/>
          <p:nvPr>
            <p:custDataLst>
              <p:tags r:id="rId3"/>
            </p:custDataLst>
          </p:nvPr>
        </p:nvSpPr>
        <p:spPr bwMode="gray">
          <a:xfrm>
            <a:off x="10007957" y="1691896"/>
            <a:ext cx="1911019" cy="406422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664208" y="0"/>
                </a:lnTo>
                <a:lnTo>
                  <a:pt x="1828800" y="457200"/>
                </a:lnTo>
                <a:lnTo>
                  <a:pt x="1664208" y="914400"/>
                </a:lnTo>
                <a:lnTo>
                  <a:pt x="0" y="914400"/>
                </a:lnTo>
                <a:lnTo>
                  <a:pt x="0" y="457200"/>
                </a:lnTo>
                <a:close/>
              </a:path>
            </a:pathLst>
          </a:custGeom>
          <a:solidFill>
            <a:schemeClr val="tx2"/>
          </a:solidFill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10406" tIns="55208" rIns="110406" bIns="55208" numCol="1" rtlCol="0" anchor="ctr" anchorCtr="0" compatLnSpc="1">
            <a:prstTxWarp prst="textNoShape">
              <a:avLst/>
            </a:prstTxWarp>
          </a:bodyPr>
          <a:lstStyle/>
          <a:p>
            <a:pPr algn="ctr" defTabSz="1104248"/>
            <a:endParaRPr lang="es-CL" sz="1200" dirty="0">
              <a:solidFill>
                <a:srgbClr val="FFFFFF"/>
              </a:solidFill>
            </a:endParaRPr>
          </a:p>
        </p:txBody>
      </p:sp>
      <p:sp>
        <p:nvSpPr>
          <p:cNvPr id="125" name="TextBox 124"/>
          <p:cNvSpPr txBox="1"/>
          <p:nvPr>
            <p:custDataLst>
              <p:tags r:id="rId4"/>
            </p:custDataLst>
          </p:nvPr>
        </p:nvSpPr>
        <p:spPr>
          <a:xfrm>
            <a:off x="10287568" y="1720120"/>
            <a:ext cx="1379227" cy="349974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0" tIns="0" rIns="0" bIns="0" rtlCol="0" anchor="ctr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9A46"/>
              </a:buClr>
            </a:pPr>
            <a:r>
              <a:rPr lang="es-CL" sz="1200" b="1" dirty="0">
                <a:solidFill>
                  <a:srgbClr val="FFFFFF"/>
                </a:solidFill>
              </a:rPr>
              <a:t>Levantar riesgos</a:t>
            </a:r>
          </a:p>
        </p:txBody>
      </p:sp>
      <p:sp>
        <p:nvSpPr>
          <p:cNvPr id="121" name="Freeform 120"/>
          <p:cNvSpPr/>
          <p:nvPr>
            <p:custDataLst>
              <p:tags r:id="rId5"/>
            </p:custDataLst>
          </p:nvPr>
        </p:nvSpPr>
        <p:spPr bwMode="gray">
          <a:xfrm>
            <a:off x="5888785" y="1691896"/>
            <a:ext cx="4362564" cy="406422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751940"/>
              <a:gd name="connsiteY0" fmla="*/ 0 h 914400"/>
              <a:gd name="connsiteX1" fmla="*/ 1664208 w 1751940"/>
              <a:gd name="connsiteY1" fmla="*/ 0 h 914400"/>
              <a:gd name="connsiteX2" fmla="*/ 1751940 w 1751940"/>
              <a:gd name="connsiteY2" fmla="*/ 457201 h 914400"/>
              <a:gd name="connsiteX3" fmla="*/ 1664208 w 1751940"/>
              <a:gd name="connsiteY3" fmla="*/ 914400 h 914400"/>
              <a:gd name="connsiteX4" fmla="*/ 0 w 1751940"/>
              <a:gd name="connsiteY4" fmla="*/ 914400 h 914400"/>
              <a:gd name="connsiteX5" fmla="*/ 0 w 1751940"/>
              <a:gd name="connsiteY5" fmla="*/ 457200 h 914400"/>
              <a:gd name="connsiteX6" fmla="*/ 0 w 1751940"/>
              <a:gd name="connsiteY6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51940" h="914400">
                <a:moveTo>
                  <a:pt x="0" y="0"/>
                </a:moveTo>
                <a:lnTo>
                  <a:pt x="1664208" y="0"/>
                </a:lnTo>
                <a:lnTo>
                  <a:pt x="1751940" y="457201"/>
                </a:lnTo>
                <a:lnTo>
                  <a:pt x="1664208" y="914400"/>
                </a:lnTo>
                <a:lnTo>
                  <a:pt x="0" y="914400"/>
                </a:lnTo>
                <a:lnTo>
                  <a:pt x="0" y="4572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10406" tIns="55208" rIns="110406" bIns="55208" numCol="1" rtlCol="0" anchor="ctr" anchorCtr="0" compatLnSpc="1">
            <a:prstTxWarp prst="textNoShape">
              <a:avLst/>
            </a:prstTxWarp>
          </a:bodyPr>
          <a:lstStyle/>
          <a:p>
            <a:pPr algn="ctr" defTabSz="1104248"/>
            <a:endParaRPr lang="es-CL" sz="1200" dirty="0">
              <a:solidFill>
                <a:srgbClr val="FFFFFF"/>
              </a:solidFill>
            </a:endParaRPr>
          </a:p>
        </p:txBody>
      </p:sp>
      <p:sp>
        <p:nvSpPr>
          <p:cNvPr id="122" name="TextBox 121"/>
          <p:cNvSpPr txBox="1"/>
          <p:nvPr>
            <p:custDataLst>
              <p:tags r:id="rId6"/>
            </p:custDataLst>
          </p:nvPr>
        </p:nvSpPr>
        <p:spPr>
          <a:xfrm>
            <a:off x="6269904" y="1720120"/>
            <a:ext cx="3765548" cy="349974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0" tIns="0" rIns="0" bIns="0" rtlCol="0" anchor="ctr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9A46"/>
              </a:buClr>
            </a:pPr>
            <a:r>
              <a:rPr lang="es-CL" sz="1200" b="1" dirty="0">
                <a:solidFill>
                  <a:srgbClr val="FFFFFF"/>
                </a:solidFill>
              </a:rPr>
              <a:t>Hacer seguimiento a </a:t>
            </a:r>
            <a:r>
              <a:rPr lang="es-CL" sz="1200" b="1" dirty="0" err="1">
                <a:solidFill>
                  <a:srgbClr val="FFFFFF"/>
                </a:solidFill>
              </a:rPr>
              <a:t>KPIs</a:t>
            </a:r>
            <a:r>
              <a:rPr lang="es-CL" sz="1200" b="1" dirty="0">
                <a:solidFill>
                  <a:srgbClr val="FFFFFF"/>
                </a:solidFill>
              </a:rPr>
              <a:t> y levantar compromisos y resoluciones de problemas</a:t>
            </a:r>
          </a:p>
        </p:txBody>
      </p:sp>
      <p:graphicFrame>
        <p:nvGraphicFramePr>
          <p:cNvPr id="214" name="Table 213"/>
          <p:cNvGraphicFramePr>
            <a:graphicFrameLocks noGrp="1"/>
          </p:cNvGraphicFramePr>
          <p:nvPr>
            <p:extLst/>
          </p:nvPr>
        </p:nvGraphicFramePr>
        <p:xfrm>
          <a:off x="3686976" y="2459527"/>
          <a:ext cx="1941798" cy="850110"/>
        </p:xfrm>
        <a:graphic>
          <a:graphicData uri="http://schemas.openxmlformats.org/drawingml/2006/table">
            <a:tbl>
              <a:tblPr firstRow="1" bandRow="1">
                <a:effectLst/>
                <a:tableStyleId>{21E4AEA4-8DFA-4A89-87EB-49C32662AFE0}</a:tableStyleId>
              </a:tblPr>
              <a:tblGrid>
                <a:gridCol w="540173"/>
                <a:gridCol w="1091961"/>
                <a:gridCol w="309664"/>
              </a:tblGrid>
              <a:tr h="170022">
                <a:tc>
                  <a:txBody>
                    <a:bodyPr/>
                    <a:lstStyle/>
                    <a:p>
                      <a:pPr algn="ctr"/>
                      <a:r>
                        <a:rPr lang="es-ES_tradnl" sz="900" noProof="0" dirty="0" smtClean="0">
                          <a:solidFill>
                            <a:schemeClr val="tx2"/>
                          </a:solidFill>
                          <a:cs typeface="Arial" panose="020B0604020202020204" pitchFamily="34" charset="0"/>
                        </a:rPr>
                        <a:t>Acción</a:t>
                      </a:r>
                      <a:endParaRPr lang="es-ES_tradnl" sz="900" noProof="0" dirty="0">
                        <a:solidFill>
                          <a:schemeClr val="tx2"/>
                        </a:solidFill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gradFill>
                      <a:gsLst>
                        <a:gs pos="0">
                          <a:schemeClr val="accent2">
                            <a:lumMod val="83000"/>
                            <a:lumOff val="17000"/>
                          </a:schemeClr>
                        </a:gs>
                        <a:gs pos="100000">
                          <a:schemeClr val="accent2"/>
                        </a:gs>
                      </a:gsLst>
                      <a:lin ang="162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 sz="900" noProof="0" dirty="0" smtClean="0">
                          <a:solidFill>
                            <a:schemeClr val="tx2"/>
                          </a:solidFill>
                          <a:cs typeface="Arial" panose="020B0604020202020204" pitchFamily="34" charset="0"/>
                        </a:rPr>
                        <a:t>Responsable</a:t>
                      </a:r>
                      <a:endParaRPr lang="es-ES_tradnl" sz="900" noProof="0" dirty="0">
                        <a:solidFill>
                          <a:schemeClr val="tx2"/>
                        </a:solidFill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gradFill>
                      <a:gsLst>
                        <a:gs pos="0">
                          <a:schemeClr val="accent2">
                            <a:lumMod val="83000"/>
                            <a:lumOff val="17000"/>
                          </a:schemeClr>
                        </a:gs>
                        <a:gs pos="100000">
                          <a:schemeClr val="accent2"/>
                        </a:gs>
                      </a:gsLst>
                      <a:lin ang="16200000" scaled="1"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ES_tradnl" sz="900" noProof="0" dirty="0">
                        <a:solidFill>
                          <a:schemeClr val="tx2"/>
                        </a:solidFill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gradFill>
                      <a:gsLst>
                        <a:gs pos="0">
                          <a:schemeClr val="accent2">
                            <a:lumMod val="83000"/>
                            <a:lumOff val="17000"/>
                          </a:schemeClr>
                        </a:gs>
                        <a:gs pos="100000">
                          <a:schemeClr val="accent2"/>
                        </a:gs>
                      </a:gsLst>
                      <a:lin ang="16200000" scaled="1"/>
                    </a:gradFill>
                  </a:tcPr>
                </a:tc>
              </a:tr>
              <a:tr h="170022">
                <a:tc>
                  <a:txBody>
                    <a:bodyPr/>
                    <a:lstStyle/>
                    <a:p>
                      <a:pPr marL="0" lvl="0" indent="0">
                        <a:buFont typeface="Wingdings" pitchFamily="2" charset="2"/>
                        <a:buNone/>
                      </a:pPr>
                      <a:r>
                        <a:rPr lang="es-ES_tradnl" sz="900" noProof="0" dirty="0" smtClean="0">
                          <a:solidFill>
                            <a:schemeClr val="tx1"/>
                          </a:solidFill>
                          <a:cs typeface="Arial" panose="020B0604020202020204" pitchFamily="34" charset="0"/>
                        </a:rPr>
                        <a:t>x</a:t>
                      </a:r>
                      <a:endParaRPr lang="es-ES_tradnl" sz="900" noProof="0" dirty="0">
                        <a:solidFill>
                          <a:schemeClr val="tx1"/>
                        </a:solidFill>
                        <a:cs typeface="Arial" panose="020B0604020202020204" pitchFamily="34" charset="0"/>
                      </a:endParaRPr>
                    </a:p>
                  </a:txBody>
                  <a:tcPr marL="97956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s-ES_tradnl" sz="900" noProof="0" dirty="0" smtClean="0">
                          <a:solidFill>
                            <a:schemeClr val="tx1"/>
                          </a:solidFill>
                          <a:cs typeface="Arial" panose="020B0604020202020204" pitchFamily="34" charset="0"/>
                        </a:rPr>
                        <a:t>x</a:t>
                      </a:r>
                      <a:endParaRPr lang="es-ES_tradnl" sz="900" noProof="0" dirty="0">
                        <a:solidFill>
                          <a:schemeClr val="tx1"/>
                        </a:solidFill>
                        <a:cs typeface="Arial" panose="020B0604020202020204" pitchFamily="34" charset="0"/>
                      </a:endParaRPr>
                    </a:p>
                  </a:txBody>
                  <a:tcPr marL="97956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s-ES_tradnl" sz="900" noProof="0" dirty="0">
                        <a:solidFill>
                          <a:schemeClr val="tx1"/>
                        </a:solidFill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170022">
                <a:tc>
                  <a:txBody>
                    <a:bodyPr/>
                    <a:lstStyle/>
                    <a:p>
                      <a:r>
                        <a:rPr lang="es-ES_tradnl" sz="900" noProof="0" dirty="0" smtClean="0">
                          <a:solidFill>
                            <a:schemeClr val="tx1"/>
                          </a:solidFill>
                          <a:cs typeface="Arial" panose="020B0604020202020204" pitchFamily="34" charset="0"/>
                        </a:rPr>
                        <a:t>x</a:t>
                      </a:r>
                      <a:endParaRPr lang="es-ES_tradnl" sz="900" noProof="0" dirty="0">
                        <a:solidFill>
                          <a:schemeClr val="tx1"/>
                        </a:solidFill>
                        <a:cs typeface="Arial" panose="020B0604020202020204" pitchFamily="34" charset="0"/>
                      </a:endParaRPr>
                    </a:p>
                  </a:txBody>
                  <a:tcPr marL="97956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s-ES_tradnl" sz="900" noProof="0" dirty="0" smtClean="0">
                          <a:solidFill>
                            <a:schemeClr val="tx1"/>
                          </a:solidFill>
                          <a:cs typeface="Arial" panose="020B0604020202020204" pitchFamily="34" charset="0"/>
                        </a:rPr>
                        <a:t>x</a:t>
                      </a:r>
                      <a:endParaRPr lang="es-ES_tradnl" sz="900" noProof="0" dirty="0">
                        <a:solidFill>
                          <a:schemeClr val="tx1"/>
                        </a:solidFill>
                        <a:cs typeface="Arial" panose="020B0604020202020204" pitchFamily="34" charset="0"/>
                      </a:endParaRPr>
                    </a:p>
                  </a:txBody>
                  <a:tcPr marL="97956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s-ES_tradnl" sz="900" noProof="0" dirty="0">
                        <a:solidFill>
                          <a:schemeClr val="tx1"/>
                        </a:solidFill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170022">
                <a:tc>
                  <a:txBody>
                    <a:bodyPr/>
                    <a:lstStyle/>
                    <a:p>
                      <a:r>
                        <a:rPr lang="es-ES_tradnl" sz="900" noProof="0" dirty="0" smtClean="0">
                          <a:solidFill>
                            <a:schemeClr val="tx1"/>
                          </a:solidFill>
                          <a:cs typeface="Arial" panose="020B0604020202020204" pitchFamily="34" charset="0"/>
                        </a:rPr>
                        <a:t>x</a:t>
                      </a:r>
                      <a:endParaRPr lang="es-ES_tradnl" sz="900" noProof="0" dirty="0">
                        <a:solidFill>
                          <a:schemeClr val="tx1"/>
                        </a:solidFill>
                        <a:cs typeface="Arial" panose="020B0604020202020204" pitchFamily="34" charset="0"/>
                      </a:endParaRPr>
                    </a:p>
                  </a:txBody>
                  <a:tcPr marL="97956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s-ES_tradnl" sz="900" noProof="0" dirty="0" smtClean="0">
                          <a:solidFill>
                            <a:schemeClr val="tx1"/>
                          </a:solidFill>
                          <a:cs typeface="Arial" panose="020B0604020202020204" pitchFamily="34" charset="0"/>
                        </a:rPr>
                        <a:t>x</a:t>
                      </a:r>
                      <a:endParaRPr lang="es-ES_tradnl" sz="900" noProof="0" dirty="0">
                        <a:solidFill>
                          <a:schemeClr val="tx1"/>
                        </a:solidFill>
                        <a:cs typeface="Arial" panose="020B0604020202020204" pitchFamily="34" charset="0"/>
                      </a:endParaRPr>
                    </a:p>
                  </a:txBody>
                  <a:tcPr marL="97956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s-ES_tradnl" sz="900" noProof="0" dirty="0">
                        <a:solidFill>
                          <a:schemeClr val="tx1"/>
                        </a:solidFill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170022">
                <a:tc>
                  <a:txBody>
                    <a:bodyPr/>
                    <a:lstStyle/>
                    <a:p>
                      <a:r>
                        <a:rPr lang="es-ES_tradnl" sz="900" noProof="0" dirty="0" smtClean="0">
                          <a:solidFill>
                            <a:schemeClr val="tx1"/>
                          </a:solidFill>
                          <a:cs typeface="Arial" panose="020B0604020202020204" pitchFamily="34" charset="0"/>
                        </a:rPr>
                        <a:t>x</a:t>
                      </a:r>
                      <a:endParaRPr lang="es-ES_tradnl" sz="900" noProof="0" dirty="0">
                        <a:solidFill>
                          <a:schemeClr val="tx1"/>
                        </a:solidFill>
                        <a:cs typeface="Arial" panose="020B0604020202020204" pitchFamily="34" charset="0"/>
                      </a:endParaRPr>
                    </a:p>
                  </a:txBody>
                  <a:tcPr marL="97956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s-ES_tradnl" sz="900" noProof="0" dirty="0" smtClean="0">
                          <a:solidFill>
                            <a:schemeClr val="tx1"/>
                          </a:solidFill>
                          <a:cs typeface="Arial" panose="020B0604020202020204" pitchFamily="34" charset="0"/>
                        </a:rPr>
                        <a:t>x</a:t>
                      </a:r>
                      <a:endParaRPr lang="es-ES_tradnl" sz="900" noProof="0" dirty="0">
                        <a:solidFill>
                          <a:schemeClr val="tx1"/>
                        </a:solidFill>
                        <a:cs typeface="Arial" panose="020B0604020202020204" pitchFamily="34" charset="0"/>
                      </a:endParaRPr>
                    </a:p>
                  </a:txBody>
                  <a:tcPr marL="97956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s-ES_tradnl" sz="900" noProof="0" dirty="0">
                        <a:solidFill>
                          <a:schemeClr val="tx1"/>
                        </a:solidFill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93" name="Rectangle 92"/>
          <p:cNvSpPr/>
          <p:nvPr/>
        </p:nvSpPr>
        <p:spPr>
          <a:xfrm>
            <a:off x="566328" y="1362760"/>
            <a:ext cx="11267652" cy="22038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3"/>
            </a:solidFill>
          </a:ln>
          <a:effectLst>
            <a:outerShdw dist="50800" dir="2700000" algn="tl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2599" tIns="56300" rIns="112599" bIns="56300" rtlCol="0" anchor="ctr"/>
          <a:lstStyle/>
          <a:p>
            <a:pPr algn="ctr" defTabSz="1104248"/>
            <a:endParaRPr lang="es-ES_tradnl" sz="12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94" name="Rectangle 10"/>
          <p:cNvSpPr>
            <a:spLocks noChangeArrowheads="1"/>
          </p:cNvSpPr>
          <p:nvPr/>
        </p:nvSpPr>
        <p:spPr bwMode="auto">
          <a:xfrm>
            <a:off x="660020" y="1365998"/>
            <a:ext cx="913461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1080752" eaLnBrk="0" hangingPunct="0">
              <a:buClr>
                <a:srgbClr val="009A46"/>
              </a:buClr>
            </a:pPr>
            <a:r>
              <a:rPr lang="es-ES_tradnl" sz="1200" dirty="0">
                <a:solidFill>
                  <a:srgbClr val="000000"/>
                </a:solidFill>
                <a:cs typeface="Arial" panose="020B0604020202020204" pitchFamily="34" charset="0"/>
              </a:rPr>
              <a:t>El objetivo de un desempeño es </a:t>
            </a:r>
            <a:r>
              <a:rPr lang="es-ES_tradnl" sz="1200" b="1" dirty="0">
                <a:solidFill>
                  <a:srgbClr val="009A46"/>
                </a:solidFill>
                <a:cs typeface="Arial" panose="020B0604020202020204" pitchFamily="34" charset="0"/>
              </a:rPr>
              <a:t>levantan problemas relevantes y riesgos asociados al cumplimiento de las metas</a:t>
            </a:r>
          </a:p>
        </p:txBody>
      </p:sp>
      <p:sp>
        <p:nvSpPr>
          <p:cNvPr id="96" name="Rectangle 95"/>
          <p:cNvSpPr/>
          <p:nvPr/>
        </p:nvSpPr>
        <p:spPr>
          <a:xfrm>
            <a:off x="308882" y="1205685"/>
            <a:ext cx="257521" cy="236386"/>
          </a:xfrm>
          <a:prstGeom prst="rect">
            <a:avLst/>
          </a:prstGeom>
          <a:gradFill flip="none" rotWithShape="1">
            <a:gsLst>
              <a:gs pos="64000">
                <a:schemeClr val="accent3">
                  <a:lumMod val="90000"/>
                  <a:lumOff val="10000"/>
                </a:schemeClr>
              </a:gs>
              <a:gs pos="100000">
                <a:schemeClr val="accent3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0345" tIns="55180" rIns="110345" bIns="55180" rtlCol="0" anchor="ctr"/>
          <a:lstStyle/>
          <a:p>
            <a:pPr marL="105560" algn="ctr" defTabSz="1104248"/>
            <a:endParaRPr lang="es-ES_tradnl" sz="12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97" name="Rounded Rectangle 96"/>
          <p:cNvSpPr/>
          <p:nvPr/>
        </p:nvSpPr>
        <p:spPr>
          <a:xfrm>
            <a:off x="308813" y="1104785"/>
            <a:ext cx="7188129" cy="263869"/>
          </a:xfrm>
          <a:prstGeom prst="roundRect">
            <a:avLst>
              <a:gd name="adj" fmla="val 24005"/>
            </a:avLst>
          </a:prstGeom>
          <a:gradFill flip="none" rotWithShape="1">
            <a:gsLst>
              <a:gs pos="100000">
                <a:schemeClr val="accent3">
                  <a:lumMod val="90000"/>
                  <a:lumOff val="10000"/>
                </a:schemeClr>
              </a:gs>
              <a:gs pos="0">
                <a:schemeClr val="accent3"/>
              </a:gs>
            </a:gsLst>
            <a:lin ang="5400000" scaled="1"/>
            <a:tileRect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729" tIns="21729" rIns="21729" bIns="21729" rtlCol="0" anchor="ctr"/>
          <a:lstStyle/>
          <a:p>
            <a:pPr marL="538363" defTabSz="1104248"/>
            <a:r>
              <a:rPr lang="es-ES_tradnl" sz="1200" b="1" dirty="0">
                <a:solidFill>
                  <a:srgbClr val="FFFFFF"/>
                </a:solidFill>
                <a:cs typeface="Arial" panose="020B0604020202020204" pitchFamily="34" charset="0"/>
              </a:rPr>
              <a:t>Objetivo de un diálogo de desempeño</a:t>
            </a:r>
          </a:p>
        </p:txBody>
      </p:sp>
      <p:sp>
        <p:nvSpPr>
          <p:cNvPr id="98" name="Freeform 101"/>
          <p:cNvSpPr>
            <a:spLocks/>
          </p:cNvSpPr>
          <p:nvPr/>
        </p:nvSpPr>
        <p:spPr bwMode="auto">
          <a:xfrm rot="16200000">
            <a:off x="363387" y="1314078"/>
            <a:ext cx="149478" cy="258643"/>
          </a:xfrm>
          <a:custGeom>
            <a:avLst/>
            <a:gdLst>
              <a:gd name="T0" fmla="*/ 0 w 380"/>
              <a:gd name="T1" fmla="*/ 190 h 190"/>
              <a:gd name="T2" fmla="*/ 190 w 380"/>
              <a:gd name="T3" fmla="*/ 0 h 190"/>
              <a:gd name="T4" fmla="*/ 380 w 380"/>
              <a:gd name="T5" fmla="*/ 190 h 190"/>
              <a:gd name="T6" fmla="*/ 0 w 380"/>
              <a:gd name="T7" fmla="*/ 190 h 1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80" h="190">
                <a:moveTo>
                  <a:pt x="0" y="190"/>
                </a:moveTo>
                <a:cubicBezTo>
                  <a:pt x="0" y="85"/>
                  <a:pt x="85" y="0"/>
                  <a:pt x="190" y="0"/>
                </a:cubicBezTo>
                <a:cubicBezTo>
                  <a:pt x="295" y="0"/>
                  <a:pt x="380" y="85"/>
                  <a:pt x="380" y="190"/>
                </a:cubicBezTo>
                <a:lnTo>
                  <a:pt x="0" y="190"/>
                </a:lnTo>
                <a:close/>
              </a:path>
            </a:pathLst>
          </a:custGeom>
          <a:gradFill flip="none" rotWithShape="1">
            <a:gsLst>
              <a:gs pos="0">
                <a:schemeClr val="accent3">
                  <a:alpha val="98000"/>
                  <a:lumMod val="70000"/>
                </a:schemeClr>
              </a:gs>
              <a:gs pos="100000">
                <a:schemeClr val="accent3"/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0345" tIns="55180" rIns="110345" bIns="55180" rtlCol="0" anchor="ctr"/>
          <a:lstStyle/>
          <a:p>
            <a:pPr algn="ctr" defTabSz="1104248"/>
            <a:endParaRPr lang="es-ES_tradnl" sz="12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0" name="Rectangle 17"/>
          <p:cNvSpPr>
            <a:spLocks noChangeArrowheads="1"/>
          </p:cNvSpPr>
          <p:nvPr/>
        </p:nvSpPr>
        <p:spPr bwMode="auto">
          <a:xfrm>
            <a:off x="258847" y="3440419"/>
            <a:ext cx="1075838" cy="1829926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729" tIns="21729" rIns="21729" bIns="21729" rtlCol="0" anchor="ctr">
            <a:noAutofit/>
          </a:bodyPr>
          <a:lstStyle/>
          <a:p>
            <a:pPr marL="105377" defTabSz="1104248"/>
            <a:r>
              <a:rPr lang="es-ES_tradnl" sz="1200" b="1" dirty="0">
                <a:solidFill>
                  <a:srgbClr val="009A46"/>
                </a:solidFill>
                <a:cs typeface="Arial" panose="020B0604020202020204" pitchFamily="34" charset="0"/>
              </a:rPr>
              <a:t>¿Qué hacer?</a:t>
            </a:r>
          </a:p>
        </p:txBody>
      </p:sp>
      <p:sp>
        <p:nvSpPr>
          <p:cNvPr id="41" name="Rectangle 17"/>
          <p:cNvSpPr>
            <a:spLocks noChangeArrowheads="1"/>
          </p:cNvSpPr>
          <p:nvPr/>
        </p:nvSpPr>
        <p:spPr bwMode="auto">
          <a:xfrm>
            <a:off x="258847" y="5402391"/>
            <a:ext cx="1075838" cy="109909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729" tIns="21729" rIns="21729" bIns="21729" rtlCol="0" anchor="ctr">
            <a:noAutofit/>
          </a:bodyPr>
          <a:lstStyle/>
          <a:p>
            <a:pPr marL="105377" defTabSz="1104248"/>
            <a:r>
              <a:rPr lang="es-ES_tradnl" sz="1200" b="1" dirty="0">
                <a:solidFill>
                  <a:srgbClr val="009A46"/>
                </a:solidFill>
                <a:cs typeface="Arial" panose="020B0604020202020204" pitchFamily="34" charset="0"/>
              </a:rPr>
              <a:t>¿Qué no hacer?</a:t>
            </a:r>
          </a:p>
        </p:txBody>
      </p:sp>
      <p:sp>
        <p:nvSpPr>
          <p:cNvPr id="29" name="Line 26"/>
          <p:cNvSpPr>
            <a:spLocks noChangeShapeType="1"/>
          </p:cNvSpPr>
          <p:nvPr/>
        </p:nvSpPr>
        <p:spPr bwMode="auto">
          <a:xfrm rot="16200000">
            <a:off x="1236163" y="4286006"/>
            <a:ext cx="4236747" cy="0"/>
          </a:xfrm>
          <a:prstGeom prst="line">
            <a:avLst/>
          </a:prstGeom>
          <a:noFill/>
          <a:ln w="6350">
            <a:solidFill>
              <a:schemeClr val="bg1">
                <a:lumMod val="75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10345" tIns="55180" rIns="110345" bIns="55180" numCol="1" anchor="t" anchorCtr="0" compatLnSpc="1">
            <a:prstTxWarp prst="textNoShape">
              <a:avLst/>
            </a:prstTxWarp>
          </a:bodyPr>
          <a:lstStyle/>
          <a:p>
            <a:pPr defTabSz="1104248"/>
            <a:endParaRPr lang="es-ES_tradnl" sz="12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30" name="Line 26"/>
          <p:cNvSpPr>
            <a:spLocks noChangeShapeType="1"/>
          </p:cNvSpPr>
          <p:nvPr/>
        </p:nvSpPr>
        <p:spPr bwMode="auto">
          <a:xfrm rot="16200000">
            <a:off x="3676003" y="4286006"/>
            <a:ext cx="4236747" cy="0"/>
          </a:xfrm>
          <a:prstGeom prst="line">
            <a:avLst/>
          </a:prstGeom>
          <a:noFill/>
          <a:ln w="6350">
            <a:solidFill>
              <a:schemeClr val="bg1">
                <a:lumMod val="75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10345" tIns="55180" rIns="110345" bIns="55180" numCol="1" anchor="t" anchorCtr="0" compatLnSpc="1">
            <a:prstTxWarp prst="textNoShape">
              <a:avLst/>
            </a:prstTxWarp>
          </a:bodyPr>
          <a:lstStyle/>
          <a:p>
            <a:pPr defTabSz="1104248"/>
            <a:endParaRPr lang="es-ES_tradnl" sz="12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0" name="Line 26"/>
          <p:cNvSpPr>
            <a:spLocks noChangeShapeType="1"/>
          </p:cNvSpPr>
          <p:nvPr/>
        </p:nvSpPr>
        <p:spPr bwMode="auto">
          <a:xfrm rot="16200000">
            <a:off x="7871247" y="4286006"/>
            <a:ext cx="4236747" cy="0"/>
          </a:xfrm>
          <a:prstGeom prst="line">
            <a:avLst/>
          </a:prstGeom>
          <a:noFill/>
          <a:ln w="6350">
            <a:solidFill>
              <a:schemeClr val="bg1">
                <a:lumMod val="75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10345" tIns="55180" rIns="110345" bIns="55180" numCol="1" anchor="t" anchorCtr="0" compatLnSpc="1">
            <a:prstTxWarp prst="textNoShape">
              <a:avLst/>
            </a:prstTxWarp>
          </a:bodyPr>
          <a:lstStyle/>
          <a:p>
            <a:pPr defTabSz="1104248"/>
            <a:endParaRPr lang="es-ES_tradnl" sz="12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51" name="Line 26"/>
          <p:cNvSpPr>
            <a:spLocks noChangeShapeType="1"/>
          </p:cNvSpPr>
          <p:nvPr/>
        </p:nvSpPr>
        <p:spPr bwMode="auto">
          <a:xfrm>
            <a:off x="836670" y="3385760"/>
            <a:ext cx="10557327" cy="0"/>
          </a:xfrm>
          <a:prstGeom prst="line">
            <a:avLst/>
          </a:prstGeom>
          <a:noFill/>
          <a:ln w="6350">
            <a:solidFill>
              <a:schemeClr val="bg1">
                <a:lumMod val="75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10345" tIns="55180" rIns="110345" bIns="55180" numCol="1" anchor="t" anchorCtr="0" compatLnSpc="1">
            <a:prstTxWarp prst="textNoShape">
              <a:avLst/>
            </a:prstTxWarp>
          </a:bodyPr>
          <a:lstStyle/>
          <a:p>
            <a:pPr defTabSz="1104248"/>
            <a:endParaRPr lang="es-ES_tradnl" sz="12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1" name="Line 26"/>
          <p:cNvSpPr>
            <a:spLocks noChangeShapeType="1"/>
          </p:cNvSpPr>
          <p:nvPr/>
        </p:nvSpPr>
        <p:spPr bwMode="auto">
          <a:xfrm>
            <a:off x="308805" y="5338496"/>
            <a:ext cx="11613060" cy="0"/>
          </a:xfrm>
          <a:prstGeom prst="line">
            <a:avLst/>
          </a:prstGeom>
          <a:noFill/>
          <a:ln w="6350">
            <a:solidFill>
              <a:schemeClr val="bg1">
                <a:lumMod val="75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10345" tIns="55180" rIns="110345" bIns="55180" numCol="1" anchor="t" anchorCtr="0" compatLnSpc="1">
            <a:prstTxWarp prst="textNoShape">
              <a:avLst/>
            </a:prstTxWarp>
          </a:bodyPr>
          <a:lstStyle/>
          <a:p>
            <a:pPr defTabSz="1104248"/>
            <a:endParaRPr lang="es-ES_tradnl" sz="12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8" name="Rectangle 81"/>
          <p:cNvSpPr txBox="1">
            <a:spLocks/>
          </p:cNvSpPr>
          <p:nvPr/>
        </p:nvSpPr>
        <p:spPr>
          <a:xfrm>
            <a:off x="1493341" y="3440420"/>
            <a:ext cx="1903437" cy="11079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>
                <a:latin typeface="+mn-lt"/>
                <a:ea typeface="+mn-ea"/>
                <a:cs typeface="+mn-cs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300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37938" lvl="1" indent="-136024">
              <a:buClr>
                <a:srgbClr val="009A46"/>
              </a:buClr>
            </a:pPr>
            <a:r>
              <a:rPr lang="es-ES_tradnl" sz="1200" dirty="0">
                <a:solidFill>
                  <a:srgbClr val="000000"/>
                </a:solidFill>
                <a:cs typeface="Arial" panose="020B0604020202020204" pitchFamily="34" charset="0"/>
              </a:rPr>
              <a:t>Tener </a:t>
            </a:r>
            <a:r>
              <a:rPr lang="es-ES_tradnl" sz="1200" b="1" dirty="0">
                <a:solidFill>
                  <a:srgbClr val="009A46"/>
                </a:solidFill>
                <a:cs typeface="Arial" panose="020B0604020202020204" pitchFamily="34" charset="0"/>
              </a:rPr>
              <a:t>tablero actualizado </a:t>
            </a:r>
            <a:r>
              <a:rPr lang="es-ES_tradnl" sz="1200" dirty="0">
                <a:solidFill>
                  <a:srgbClr val="000000"/>
                </a:solidFill>
                <a:cs typeface="Arial" panose="020B0604020202020204" pitchFamily="34" charset="0"/>
              </a:rPr>
              <a:t>con desviaciones en </a:t>
            </a:r>
            <a:r>
              <a:rPr lang="es-ES_tradnl" sz="1200" b="1" dirty="0">
                <a:solidFill>
                  <a:srgbClr val="009A46"/>
                </a:solidFill>
                <a:cs typeface="Arial" panose="020B0604020202020204" pitchFamily="34" charset="0"/>
              </a:rPr>
              <a:t>rojo</a:t>
            </a:r>
          </a:p>
          <a:p>
            <a:pPr marL="137938" lvl="1" indent="-136024">
              <a:buClr>
                <a:srgbClr val="009A46"/>
              </a:buClr>
            </a:pPr>
            <a:r>
              <a:rPr lang="es-ES_tradnl" sz="1200" dirty="0">
                <a:solidFill>
                  <a:srgbClr val="000000"/>
                </a:solidFill>
                <a:cs typeface="Arial" panose="020B0604020202020204" pitchFamily="34" charset="0"/>
              </a:rPr>
              <a:t>Tener </a:t>
            </a:r>
            <a:r>
              <a:rPr lang="es-ES_tradnl" sz="1200" b="1" dirty="0">
                <a:solidFill>
                  <a:srgbClr val="009A46"/>
                </a:solidFill>
                <a:cs typeface="Arial" panose="020B0604020202020204" pitchFamily="34" charset="0"/>
              </a:rPr>
              <a:t>hipótesis de problemas </a:t>
            </a:r>
            <a:r>
              <a:rPr lang="es-ES_tradnl" sz="1200" dirty="0">
                <a:solidFill>
                  <a:srgbClr val="000000"/>
                </a:solidFill>
                <a:cs typeface="Arial" panose="020B0604020202020204" pitchFamily="34" charset="0"/>
              </a:rPr>
              <a:t>antes de iniciar diálogo</a:t>
            </a:r>
          </a:p>
        </p:txBody>
      </p:sp>
      <p:sp>
        <p:nvSpPr>
          <p:cNvPr id="83" name="Rectangle 81"/>
          <p:cNvSpPr txBox="1">
            <a:spLocks/>
          </p:cNvSpPr>
          <p:nvPr/>
        </p:nvSpPr>
        <p:spPr>
          <a:xfrm>
            <a:off x="1493341" y="5402391"/>
            <a:ext cx="1903437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>
                <a:latin typeface="+mn-lt"/>
                <a:ea typeface="+mn-ea"/>
                <a:cs typeface="+mn-cs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300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37938" lvl="1" indent="-136024">
              <a:buClr>
                <a:srgbClr val="009A46"/>
              </a:buClr>
            </a:pPr>
            <a:r>
              <a:rPr lang="es-ES_tradnl" sz="1200" b="1" dirty="0">
                <a:solidFill>
                  <a:srgbClr val="009A46"/>
                </a:solidFill>
                <a:cs typeface="Arial" panose="020B0604020202020204" pitchFamily="34" charset="0"/>
              </a:rPr>
              <a:t>Llegar</a:t>
            </a:r>
            <a:r>
              <a:rPr lang="es-ES_tradnl" sz="1200" dirty="0">
                <a:solidFill>
                  <a:srgbClr val="000000"/>
                </a:solidFill>
                <a:cs typeface="Arial" panose="020B0604020202020204" pitchFamily="34" charset="0"/>
              </a:rPr>
              <a:t> al diálogo </a:t>
            </a:r>
            <a:r>
              <a:rPr lang="es-ES_tradnl" sz="1200" b="1" dirty="0">
                <a:solidFill>
                  <a:srgbClr val="009A46"/>
                </a:solidFill>
                <a:cs typeface="Arial" panose="020B0604020202020204" pitchFamily="34" charset="0"/>
              </a:rPr>
              <a:t>sin haber visto indicadores</a:t>
            </a:r>
          </a:p>
        </p:txBody>
      </p:sp>
      <p:sp>
        <p:nvSpPr>
          <p:cNvPr id="86" name="Rectangle 81"/>
          <p:cNvSpPr txBox="1">
            <a:spLocks/>
          </p:cNvSpPr>
          <p:nvPr/>
        </p:nvSpPr>
        <p:spPr>
          <a:xfrm>
            <a:off x="5894331" y="3440420"/>
            <a:ext cx="4065495" cy="10990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lvl="0" defTabSz="895350">
              <a:buClr>
                <a:schemeClr val="tx2"/>
              </a:buClr>
              <a:defRPr>
                <a:latin typeface="+mn-lt"/>
                <a:ea typeface="+mn-ea"/>
                <a:cs typeface="+mn-cs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300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37938" lvl="1" indent="-136024">
              <a:buClr>
                <a:srgbClr val="009A46"/>
              </a:buClr>
            </a:pPr>
            <a:r>
              <a:rPr lang="es-ES_tradnl" sz="1200" dirty="0">
                <a:solidFill>
                  <a:srgbClr val="000000"/>
                </a:solidFill>
                <a:cs typeface="Arial" panose="020B0604020202020204" pitchFamily="34" charset="0"/>
              </a:rPr>
              <a:t>Por cada indicador en rojo, </a:t>
            </a:r>
            <a:r>
              <a:rPr lang="es-ES_tradnl" sz="1200" b="1" dirty="0">
                <a:solidFill>
                  <a:srgbClr val="009A46"/>
                </a:solidFill>
                <a:cs typeface="Arial" panose="020B0604020202020204" pitchFamily="34" charset="0"/>
              </a:rPr>
              <a:t>discutir como equipo la causa raíz</a:t>
            </a:r>
            <a:r>
              <a:rPr lang="es-ES_tradnl" sz="1200" dirty="0">
                <a:solidFill>
                  <a:srgbClr val="000000"/>
                </a:solidFill>
                <a:cs typeface="Arial" panose="020B0604020202020204" pitchFamily="34" charset="0"/>
              </a:rPr>
              <a:t>. Si se puede llegar a solución en el acto anotar compromiso, sino anotar resolución de problemas</a:t>
            </a:r>
          </a:p>
          <a:p>
            <a:pPr marL="137938" lvl="1" indent="-136024">
              <a:buClr>
                <a:srgbClr val="009A46"/>
              </a:buClr>
            </a:pPr>
            <a:r>
              <a:rPr lang="es-ES_tradnl" sz="1200" dirty="0">
                <a:solidFill>
                  <a:srgbClr val="000000"/>
                </a:solidFill>
                <a:cs typeface="Arial" panose="020B0604020202020204" pitchFamily="34" charset="0"/>
              </a:rPr>
              <a:t>Participación de mayoría del equipo </a:t>
            </a:r>
            <a:r>
              <a:rPr lang="es-ES_tradnl" sz="1200" b="1" dirty="0">
                <a:solidFill>
                  <a:srgbClr val="009A46"/>
                </a:solidFill>
                <a:cs typeface="Arial" panose="020B0604020202020204" pitchFamily="34" charset="0"/>
              </a:rPr>
              <a:t>con obligación de disentir</a:t>
            </a:r>
          </a:p>
          <a:p>
            <a:pPr marL="137938" lvl="1" indent="-136024">
              <a:buClr>
                <a:srgbClr val="009A46"/>
              </a:buClr>
            </a:pPr>
            <a:r>
              <a:rPr lang="es-ES_tradnl" sz="1200" b="1" dirty="0">
                <a:solidFill>
                  <a:srgbClr val="009A46"/>
                </a:solidFill>
                <a:cs typeface="Arial" panose="020B0604020202020204" pitchFamily="34" charset="0"/>
              </a:rPr>
              <a:t>Llegar a una decisión </a:t>
            </a:r>
            <a:r>
              <a:rPr lang="es-ES_tradnl" sz="1200" dirty="0">
                <a:solidFill>
                  <a:srgbClr val="000000"/>
                </a:solidFill>
                <a:cs typeface="Arial" panose="020B0604020202020204" pitchFamily="34" charset="0"/>
              </a:rPr>
              <a:t>luego de la discusión</a:t>
            </a:r>
          </a:p>
          <a:p>
            <a:pPr marL="137938" lvl="1" indent="-136024">
              <a:buClr>
                <a:srgbClr val="009A46"/>
              </a:buClr>
            </a:pPr>
            <a:r>
              <a:rPr lang="es-ES_tradnl" sz="1200" dirty="0">
                <a:solidFill>
                  <a:srgbClr val="000000"/>
                </a:solidFill>
                <a:cs typeface="Arial" panose="020B0604020202020204" pitchFamily="34" charset="0"/>
              </a:rPr>
              <a:t>Cada problema o compromiso </a:t>
            </a:r>
            <a:r>
              <a:rPr lang="es-ES_tradnl" sz="1200" b="1" dirty="0">
                <a:solidFill>
                  <a:srgbClr val="009A46"/>
                </a:solidFill>
                <a:cs typeface="Arial" panose="020B0604020202020204" pitchFamily="34" charset="0"/>
              </a:rPr>
              <a:t>tiene una fecha límite y un responsable </a:t>
            </a:r>
            <a:r>
              <a:rPr lang="es-ES_tradnl" sz="1200" dirty="0">
                <a:solidFill>
                  <a:srgbClr val="000000"/>
                </a:solidFill>
                <a:cs typeface="Arial" panose="020B0604020202020204" pitchFamily="34" charset="0"/>
              </a:rPr>
              <a:t>(junto con la pérdida asociada)</a:t>
            </a:r>
          </a:p>
          <a:p>
            <a:pPr marL="137938" lvl="1" indent="-136024">
              <a:buClr>
                <a:srgbClr val="009A46"/>
              </a:buClr>
            </a:pPr>
            <a:r>
              <a:rPr lang="es-ES_tradnl" sz="1200" b="1" dirty="0">
                <a:solidFill>
                  <a:srgbClr val="009A46"/>
                </a:solidFill>
                <a:cs typeface="Arial" panose="020B0604020202020204" pitchFamily="34" charset="0"/>
              </a:rPr>
              <a:t>Reconocer mejoras </a:t>
            </a:r>
            <a:r>
              <a:rPr lang="es-ES_tradnl" sz="1200" dirty="0">
                <a:solidFill>
                  <a:srgbClr val="000000"/>
                </a:solidFill>
                <a:cs typeface="Arial" panose="020B0604020202020204" pitchFamily="34" charset="0"/>
              </a:rPr>
              <a:t>de desempeño y resoluciones de problemas</a:t>
            </a:r>
          </a:p>
          <a:p>
            <a:pPr marL="137938" lvl="1" indent="-136024">
              <a:buClr>
                <a:srgbClr val="009A46"/>
              </a:buClr>
            </a:pPr>
            <a:endParaRPr lang="es-ES_tradnl" sz="12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7" name="Rectangle 81"/>
          <p:cNvSpPr txBox="1">
            <a:spLocks/>
          </p:cNvSpPr>
          <p:nvPr/>
        </p:nvSpPr>
        <p:spPr>
          <a:xfrm>
            <a:off x="5894331" y="5402447"/>
            <a:ext cx="4065495" cy="14773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>
                <a:latin typeface="+mn-lt"/>
                <a:ea typeface="+mn-ea"/>
                <a:cs typeface="+mn-cs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300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37938" lvl="1" indent="-136024">
              <a:buClr>
                <a:srgbClr val="009A46"/>
              </a:buClr>
            </a:pPr>
            <a:r>
              <a:rPr lang="es-ES_tradnl" sz="1200" dirty="0">
                <a:solidFill>
                  <a:srgbClr val="000000"/>
                </a:solidFill>
                <a:cs typeface="Arial" panose="020B0604020202020204" pitchFamily="34" charset="0"/>
              </a:rPr>
              <a:t>Buscar </a:t>
            </a:r>
            <a:r>
              <a:rPr lang="es-ES_tradnl" sz="1200" b="1" dirty="0">
                <a:solidFill>
                  <a:srgbClr val="009A46"/>
                </a:solidFill>
                <a:cs typeface="Arial" panose="020B0604020202020204" pitchFamily="34" charset="0"/>
              </a:rPr>
              <a:t>soluciones “parche”</a:t>
            </a:r>
          </a:p>
          <a:p>
            <a:pPr marL="137938" lvl="1" indent="-136024">
              <a:buClr>
                <a:srgbClr val="009A46"/>
              </a:buClr>
            </a:pPr>
            <a:r>
              <a:rPr lang="es-ES_tradnl" sz="1200" dirty="0">
                <a:solidFill>
                  <a:srgbClr val="000000"/>
                </a:solidFill>
                <a:cs typeface="Arial" panose="020B0604020202020204" pitchFamily="34" charset="0"/>
              </a:rPr>
              <a:t>Revisar indicadores que </a:t>
            </a:r>
            <a:r>
              <a:rPr lang="es-ES_tradnl" sz="1200" b="1" dirty="0">
                <a:solidFill>
                  <a:srgbClr val="009A46"/>
                </a:solidFill>
                <a:cs typeface="Arial" panose="020B0604020202020204" pitchFamily="34" charset="0"/>
              </a:rPr>
              <a:t>no están en rojo</a:t>
            </a:r>
          </a:p>
          <a:p>
            <a:pPr marL="137938" lvl="1" indent="-136024">
              <a:buClr>
                <a:srgbClr val="009A46"/>
              </a:buClr>
            </a:pPr>
            <a:r>
              <a:rPr lang="es-ES_tradnl" sz="1200" b="1" dirty="0">
                <a:solidFill>
                  <a:srgbClr val="009A46"/>
                </a:solidFill>
                <a:cs typeface="Arial" panose="020B0604020202020204" pitchFamily="34" charset="0"/>
              </a:rPr>
              <a:t>No llegar a compromisos o levantamiento de resolución </a:t>
            </a:r>
            <a:r>
              <a:rPr lang="es-ES_tradnl" sz="1200" dirty="0">
                <a:solidFill>
                  <a:srgbClr val="000000"/>
                </a:solidFill>
                <a:cs typeface="Arial" panose="020B0604020202020204" pitchFamily="34" charset="0"/>
              </a:rPr>
              <a:t>de problemas ante un indicador en rojo</a:t>
            </a:r>
          </a:p>
          <a:p>
            <a:pPr marL="137938" lvl="1" indent="-136024">
              <a:buClr>
                <a:srgbClr val="009A46"/>
              </a:buClr>
            </a:pPr>
            <a:r>
              <a:rPr lang="es-ES_tradnl" sz="1200" b="1" dirty="0">
                <a:solidFill>
                  <a:srgbClr val="009A46"/>
                </a:solidFill>
                <a:cs typeface="Arial" panose="020B0604020202020204" pitchFamily="34" charset="0"/>
              </a:rPr>
              <a:t>Jefe imponga su visión </a:t>
            </a:r>
            <a:r>
              <a:rPr lang="es-ES_tradnl" sz="1200" dirty="0">
                <a:solidFill>
                  <a:srgbClr val="000000"/>
                </a:solidFill>
                <a:cs typeface="Arial" panose="020B0604020202020204" pitchFamily="34" charset="0"/>
              </a:rPr>
              <a:t>sin tener discusión constructiva</a:t>
            </a:r>
          </a:p>
          <a:p>
            <a:pPr marL="137938" lvl="1" indent="-136024">
              <a:buClr>
                <a:srgbClr val="009A46"/>
              </a:buClr>
            </a:pPr>
            <a:r>
              <a:rPr lang="es-ES_tradnl" sz="1200" dirty="0">
                <a:solidFill>
                  <a:srgbClr val="000000"/>
                </a:solidFill>
                <a:cs typeface="Arial" panose="020B0604020202020204" pitchFamily="34" charset="0"/>
              </a:rPr>
              <a:t>Dar </a:t>
            </a:r>
            <a:r>
              <a:rPr lang="es-ES_tradnl" sz="1200" b="1" dirty="0">
                <a:solidFill>
                  <a:srgbClr val="009A46"/>
                </a:solidFill>
                <a:cs typeface="Arial" panose="020B0604020202020204" pitchFamily="34" charset="0"/>
              </a:rPr>
              <a:t>plazos mayores a un ciclo </a:t>
            </a:r>
            <a:r>
              <a:rPr lang="es-ES_tradnl" sz="1200" dirty="0">
                <a:solidFill>
                  <a:srgbClr val="000000"/>
                </a:solidFill>
                <a:cs typeface="Arial" panose="020B0604020202020204" pitchFamily="34" charset="0"/>
              </a:rPr>
              <a:t>del diálogo de desempeño</a:t>
            </a:r>
          </a:p>
          <a:p>
            <a:pPr marL="137938" lvl="1" indent="-136024">
              <a:buClr>
                <a:srgbClr val="009A46"/>
              </a:buClr>
            </a:pPr>
            <a:endParaRPr lang="es-ES_tradnl" sz="12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8" name="Rectangle 81"/>
          <p:cNvSpPr txBox="1">
            <a:spLocks/>
          </p:cNvSpPr>
          <p:nvPr/>
        </p:nvSpPr>
        <p:spPr>
          <a:xfrm>
            <a:off x="10061122" y="3440420"/>
            <a:ext cx="1980726" cy="14773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>
                <a:latin typeface="+mn-lt"/>
                <a:ea typeface="+mn-ea"/>
                <a:cs typeface="+mn-cs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300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37938" lvl="1" indent="-136024">
              <a:buClr>
                <a:srgbClr val="009A46"/>
              </a:buClr>
            </a:pPr>
            <a:r>
              <a:rPr lang="es-ES_tradnl" sz="1200" b="1" dirty="0">
                <a:solidFill>
                  <a:srgbClr val="009A46"/>
                </a:solidFill>
                <a:cs typeface="Arial" panose="020B0604020202020204" pitchFamily="34" charset="0"/>
              </a:rPr>
              <a:t>Proyección de producción </a:t>
            </a:r>
            <a:r>
              <a:rPr lang="es-ES_tradnl" sz="1200" dirty="0">
                <a:solidFill>
                  <a:srgbClr val="000000"/>
                </a:solidFill>
                <a:cs typeface="Arial" panose="020B0604020202020204" pitchFamily="34" charset="0"/>
              </a:rPr>
              <a:t>hasta el próximo diálogo de desempeño y </a:t>
            </a:r>
            <a:r>
              <a:rPr lang="es-ES_tradnl" sz="1200" b="1" dirty="0">
                <a:solidFill>
                  <a:srgbClr val="009A46"/>
                </a:solidFill>
                <a:cs typeface="Arial" panose="020B0604020202020204" pitchFamily="34" charset="0"/>
              </a:rPr>
              <a:t>crear compromisos o resoluciones de problemas en base a riesgos </a:t>
            </a:r>
            <a:r>
              <a:rPr lang="es-ES_tradnl" sz="1200" dirty="0">
                <a:solidFill>
                  <a:srgbClr val="000000"/>
                </a:solidFill>
                <a:cs typeface="Arial" panose="020B0604020202020204" pitchFamily="34" charset="0"/>
              </a:rPr>
              <a:t>levantados</a:t>
            </a:r>
          </a:p>
        </p:txBody>
      </p:sp>
      <p:sp>
        <p:nvSpPr>
          <p:cNvPr id="89" name="Rectangle 81"/>
          <p:cNvSpPr txBox="1">
            <a:spLocks/>
          </p:cNvSpPr>
          <p:nvPr/>
        </p:nvSpPr>
        <p:spPr>
          <a:xfrm>
            <a:off x="10061122" y="5402393"/>
            <a:ext cx="1980726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>
                <a:latin typeface="+mn-lt"/>
                <a:ea typeface="+mn-ea"/>
                <a:cs typeface="+mn-cs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300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37938" lvl="1" indent="-136024">
              <a:buClr>
                <a:srgbClr val="009A46"/>
              </a:buClr>
            </a:pPr>
            <a:r>
              <a:rPr lang="es-ES_tradnl" sz="1200" b="1" dirty="0">
                <a:solidFill>
                  <a:srgbClr val="009A46"/>
                </a:solidFill>
                <a:cs typeface="Arial" panose="020B0604020202020204" pitchFamily="34" charset="0"/>
              </a:rPr>
              <a:t>No detectar riesgos o </a:t>
            </a:r>
            <a:r>
              <a:rPr lang="es-ES_tradnl" sz="1200" dirty="0">
                <a:solidFill>
                  <a:srgbClr val="000000"/>
                </a:solidFill>
                <a:cs typeface="Arial" panose="020B0604020202020204" pitchFamily="34" charset="0"/>
              </a:rPr>
              <a:t>levantar los riesgos sin un compromiso asociado</a:t>
            </a:r>
          </a:p>
        </p:txBody>
      </p:sp>
      <p:sp>
        <p:nvSpPr>
          <p:cNvPr id="90" name="Rectangle 81"/>
          <p:cNvSpPr txBox="1">
            <a:spLocks/>
          </p:cNvSpPr>
          <p:nvPr/>
        </p:nvSpPr>
        <p:spPr>
          <a:xfrm>
            <a:off x="3482844" y="3440420"/>
            <a:ext cx="2211694" cy="1292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>
                <a:latin typeface="+mn-lt"/>
                <a:ea typeface="+mn-ea"/>
                <a:cs typeface="+mn-cs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300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37938" lvl="1" indent="-136024">
              <a:buClr>
                <a:srgbClr val="009A46"/>
              </a:buClr>
            </a:pPr>
            <a:r>
              <a:rPr lang="es-ES_tradnl" sz="1200" dirty="0">
                <a:solidFill>
                  <a:srgbClr val="000000"/>
                </a:solidFill>
                <a:cs typeface="Arial" panose="020B0604020202020204" pitchFamily="34" charset="0"/>
              </a:rPr>
              <a:t>Hacer </a:t>
            </a:r>
            <a:r>
              <a:rPr lang="es-ES_tradnl" sz="1200" b="1" dirty="0">
                <a:solidFill>
                  <a:srgbClr val="009A46"/>
                </a:solidFill>
                <a:cs typeface="Arial" panose="020B0604020202020204" pitchFamily="34" charset="0"/>
              </a:rPr>
              <a:t>seguimiento</a:t>
            </a:r>
            <a:r>
              <a:rPr lang="es-ES_tradnl" sz="1200" dirty="0">
                <a:solidFill>
                  <a:srgbClr val="000000"/>
                </a:solidFill>
                <a:cs typeface="Arial" panose="020B0604020202020204" pitchFamily="34" charset="0"/>
              </a:rPr>
              <a:t> a compromisos y resolución de problemas</a:t>
            </a:r>
          </a:p>
          <a:p>
            <a:pPr marL="137938" lvl="1" indent="-136024">
              <a:buClr>
                <a:srgbClr val="009A46"/>
              </a:buClr>
            </a:pPr>
            <a:r>
              <a:rPr lang="es-ES_tradnl" sz="1200" dirty="0">
                <a:solidFill>
                  <a:srgbClr val="000000"/>
                </a:solidFill>
                <a:cs typeface="Arial" panose="020B0604020202020204" pitchFamily="34" charset="0"/>
              </a:rPr>
              <a:t>Si hay atrasos el líder busca </a:t>
            </a:r>
            <a:r>
              <a:rPr lang="es-ES_tradnl" sz="1200" b="1" dirty="0">
                <a:solidFill>
                  <a:srgbClr val="009A46"/>
                </a:solidFill>
                <a:cs typeface="Arial" panose="020B0604020202020204" pitchFamily="34" charset="0"/>
              </a:rPr>
              <a:t>entender el </a:t>
            </a:r>
            <a:r>
              <a:rPr lang="es-ES_tradnl" sz="1200" b="1" dirty="0" err="1">
                <a:solidFill>
                  <a:srgbClr val="009A46"/>
                </a:solidFill>
                <a:cs typeface="Arial" panose="020B0604020202020204" pitchFamily="34" charset="0"/>
              </a:rPr>
              <a:t>por qué</a:t>
            </a:r>
            <a:r>
              <a:rPr lang="es-ES_tradnl" sz="1200" b="1" dirty="0">
                <a:solidFill>
                  <a:srgbClr val="009A46"/>
                </a:solidFill>
                <a:cs typeface="Arial" panose="020B0604020202020204" pitchFamily="34" charset="0"/>
              </a:rPr>
              <a:t> </a:t>
            </a:r>
            <a:r>
              <a:rPr lang="es-ES_tradnl" sz="1200" dirty="0">
                <a:solidFill>
                  <a:srgbClr val="000000"/>
                </a:solidFill>
                <a:cs typeface="Arial" panose="020B0604020202020204" pitchFamily="34" charset="0"/>
              </a:rPr>
              <a:t>del atraso y recuerda necesidad de cumplir</a:t>
            </a:r>
          </a:p>
        </p:txBody>
      </p:sp>
      <p:sp>
        <p:nvSpPr>
          <p:cNvPr id="91" name="Rectangle 81"/>
          <p:cNvSpPr txBox="1">
            <a:spLocks/>
          </p:cNvSpPr>
          <p:nvPr/>
        </p:nvSpPr>
        <p:spPr>
          <a:xfrm>
            <a:off x="3494733" y="5402392"/>
            <a:ext cx="1903437" cy="1292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>
                <a:latin typeface="+mn-lt"/>
                <a:ea typeface="+mn-ea"/>
                <a:cs typeface="+mn-cs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300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37938" lvl="1" indent="-136024">
              <a:buClr>
                <a:srgbClr val="009A46"/>
              </a:buClr>
            </a:pPr>
            <a:r>
              <a:rPr lang="es-ES_tradnl" sz="1200" b="1" dirty="0">
                <a:solidFill>
                  <a:srgbClr val="009A46"/>
                </a:solidFill>
                <a:cs typeface="Arial" panose="020B0604020202020204" pitchFamily="34" charset="0"/>
              </a:rPr>
              <a:t>No revisar cumplimiento </a:t>
            </a:r>
            <a:r>
              <a:rPr lang="es-ES_tradnl" sz="1200" dirty="0">
                <a:solidFill>
                  <a:srgbClr val="000000"/>
                </a:solidFill>
                <a:cs typeface="Arial" panose="020B0604020202020204" pitchFamily="34" charset="0"/>
              </a:rPr>
              <a:t>de acciones anteriores</a:t>
            </a:r>
          </a:p>
          <a:p>
            <a:pPr marL="137938" lvl="1" indent="-136024">
              <a:buClr>
                <a:srgbClr val="009A46"/>
              </a:buClr>
            </a:pPr>
            <a:r>
              <a:rPr lang="es-ES_tradnl" sz="1200" b="1" dirty="0">
                <a:solidFill>
                  <a:srgbClr val="009A46"/>
                </a:solidFill>
                <a:cs typeface="Arial" panose="020B0604020202020204" pitchFamily="34" charset="0"/>
              </a:rPr>
              <a:t>Aceptar atrasos </a:t>
            </a:r>
            <a:r>
              <a:rPr lang="es-ES_tradnl" sz="1200" dirty="0">
                <a:solidFill>
                  <a:srgbClr val="000000"/>
                </a:solidFill>
                <a:cs typeface="Arial" panose="020B0604020202020204" pitchFamily="34" charset="0"/>
              </a:rPr>
              <a:t>en el cumplimiento de compromisos como normales</a:t>
            </a:r>
          </a:p>
        </p:txBody>
      </p:sp>
      <p:grpSp>
        <p:nvGrpSpPr>
          <p:cNvPr id="3" name="2 Grupo"/>
          <p:cNvGrpSpPr/>
          <p:nvPr/>
        </p:nvGrpSpPr>
        <p:grpSpPr>
          <a:xfrm>
            <a:off x="1541197" y="2140407"/>
            <a:ext cx="1368554" cy="1211867"/>
            <a:chOff x="1132819" y="1769165"/>
            <a:chExt cx="1005923" cy="1187742"/>
          </a:xfrm>
        </p:grpSpPr>
        <p:pic>
          <p:nvPicPr>
            <p:cNvPr id="187" name="Picture 186"/>
            <p:cNvPicPr>
              <a:picLocks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57727" y="2123849"/>
              <a:ext cx="881015" cy="833058"/>
            </a:xfrm>
            <a:prstGeom prst="rect">
              <a:avLst/>
            </a:prstGeom>
          </p:spPr>
        </p:pic>
        <p:grpSp>
          <p:nvGrpSpPr>
            <p:cNvPr id="6" name="Group 34"/>
            <p:cNvGrpSpPr/>
            <p:nvPr/>
          </p:nvGrpSpPr>
          <p:grpSpPr>
            <a:xfrm>
              <a:off x="1132819" y="1769165"/>
              <a:ext cx="884350" cy="540000"/>
              <a:chOff x="581576" y="2313408"/>
              <a:chExt cx="1059559" cy="622141"/>
            </a:xfrm>
          </p:grpSpPr>
          <p:sp>
            <p:nvSpPr>
              <p:cNvPr id="200" name="Rectangle 1"/>
              <p:cNvSpPr>
                <a:spLocks/>
              </p:cNvSpPr>
              <p:nvPr/>
            </p:nvSpPr>
            <p:spPr>
              <a:xfrm>
                <a:off x="581576" y="2313408"/>
                <a:ext cx="1059559" cy="622141"/>
              </a:xfrm>
              <a:custGeom>
                <a:avLst/>
                <a:gdLst>
                  <a:gd name="connsiteX0" fmla="*/ 0 w 2441576"/>
                  <a:gd name="connsiteY0" fmla="*/ 0 h 900906"/>
                  <a:gd name="connsiteX1" fmla="*/ 94270 w 2441576"/>
                  <a:gd name="connsiteY1" fmla="*/ 0 h 900906"/>
                  <a:gd name="connsiteX2" fmla="*/ 185400 w 2441576"/>
                  <a:gd name="connsiteY2" fmla="*/ 0 h 900906"/>
                  <a:gd name="connsiteX3" fmla="*/ 188541 w 2441576"/>
                  <a:gd name="connsiteY3" fmla="*/ 0 h 900906"/>
                  <a:gd name="connsiteX4" fmla="*/ 282811 w 2441576"/>
                  <a:gd name="connsiteY4" fmla="*/ 0 h 900906"/>
                  <a:gd name="connsiteX5" fmla="*/ 377080 w 2441576"/>
                  <a:gd name="connsiteY5" fmla="*/ 0 h 900906"/>
                  <a:gd name="connsiteX6" fmla="*/ 470246 w 2441576"/>
                  <a:gd name="connsiteY6" fmla="*/ 0 h 900906"/>
                  <a:gd name="connsiteX7" fmla="*/ 471351 w 2441576"/>
                  <a:gd name="connsiteY7" fmla="*/ 0 h 900906"/>
                  <a:gd name="connsiteX8" fmla="*/ 581332 w 2441576"/>
                  <a:gd name="connsiteY8" fmla="*/ 0 h 900906"/>
                  <a:gd name="connsiteX9" fmla="*/ 685028 w 2441576"/>
                  <a:gd name="connsiteY9" fmla="*/ 0 h 900906"/>
                  <a:gd name="connsiteX10" fmla="*/ 755093 w 2441576"/>
                  <a:gd name="connsiteY10" fmla="*/ 0 h 900906"/>
                  <a:gd name="connsiteX11" fmla="*/ 969874 w 2441576"/>
                  <a:gd name="connsiteY11" fmla="*/ 0 h 900906"/>
                  <a:gd name="connsiteX12" fmla="*/ 1039939 w 2441576"/>
                  <a:gd name="connsiteY12" fmla="*/ 0 h 900906"/>
                  <a:gd name="connsiteX13" fmla="*/ 1254721 w 2441576"/>
                  <a:gd name="connsiteY13" fmla="*/ 0 h 900906"/>
                  <a:gd name="connsiteX14" fmla="*/ 1324785 w 2441576"/>
                  <a:gd name="connsiteY14" fmla="*/ 0 h 900906"/>
                  <a:gd name="connsiteX15" fmla="*/ 1539566 w 2441576"/>
                  <a:gd name="connsiteY15" fmla="*/ 0 h 900906"/>
                  <a:gd name="connsiteX16" fmla="*/ 1609632 w 2441576"/>
                  <a:gd name="connsiteY16" fmla="*/ 0 h 900906"/>
                  <a:gd name="connsiteX17" fmla="*/ 1824412 w 2441576"/>
                  <a:gd name="connsiteY17" fmla="*/ 0 h 900906"/>
                  <a:gd name="connsiteX18" fmla="*/ 1941949 w 2441576"/>
                  <a:gd name="connsiteY18" fmla="*/ 0 h 900906"/>
                  <a:gd name="connsiteX19" fmla="*/ 2094866 w 2441576"/>
                  <a:gd name="connsiteY19" fmla="*/ 0 h 900906"/>
                  <a:gd name="connsiteX20" fmla="*/ 2176781 w 2441576"/>
                  <a:gd name="connsiteY20" fmla="*/ 0 h 900906"/>
                  <a:gd name="connsiteX21" fmla="*/ 2258696 w 2441576"/>
                  <a:gd name="connsiteY21" fmla="*/ 0 h 900906"/>
                  <a:gd name="connsiteX22" fmla="*/ 2321561 w 2441576"/>
                  <a:gd name="connsiteY22" fmla="*/ 0 h 900906"/>
                  <a:gd name="connsiteX23" fmla="*/ 2403476 w 2441576"/>
                  <a:gd name="connsiteY23" fmla="*/ 0 h 900906"/>
                  <a:gd name="connsiteX24" fmla="*/ 2441576 w 2441576"/>
                  <a:gd name="connsiteY24" fmla="*/ 0 h 900906"/>
                  <a:gd name="connsiteX25" fmla="*/ 2441576 w 2441576"/>
                  <a:gd name="connsiteY25" fmla="*/ 83444 h 900906"/>
                  <a:gd name="connsiteX26" fmla="*/ 2441576 w 2441576"/>
                  <a:gd name="connsiteY26" fmla="*/ 152052 h 900906"/>
                  <a:gd name="connsiteX27" fmla="*/ 2441576 w 2441576"/>
                  <a:gd name="connsiteY27" fmla="*/ 235496 h 900906"/>
                  <a:gd name="connsiteX28" fmla="*/ 2441576 w 2441576"/>
                  <a:gd name="connsiteY28" fmla="*/ 304104 h 900906"/>
                  <a:gd name="connsiteX29" fmla="*/ 2441576 w 2441576"/>
                  <a:gd name="connsiteY29" fmla="*/ 387548 h 900906"/>
                  <a:gd name="connsiteX30" fmla="*/ 2441576 w 2441576"/>
                  <a:gd name="connsiteY30" fmla="*/ 456156 h 900906"/>
                  <a:gd name="connsiteX31" fmla="*/ 2441576 w 2441576"/>
                  <a:gd name="connsiteY31" fmla="*/ 539600 h 900906"/>
                  <a:gd name="connsiteX32" fmla="*/ 2441576 w 2441576"/>
                  <a:gd name="connsiteY32" fmla="*/ 608208 h 900906"/>
                  <a:gd name="connsiteX33" fmla="*/ 2441576 w 2441576"/>
                  <a:gd name="connsiteY33" fmla="*/ 691652 h 900906"/>
                  <a:gd name="connsiteX34" fmla="*/ 2441576 w 2441576"/>
                  <a:gd name="connsiteY34" fmla="*/ 748854 h 900906"/>
                  <a:gd name="connsiteX35" fmla="*/ 2441576 w 2441576"/>
                  <a:gd name="connsiteY35" fmla="*/ 760260 h 900906"/>
                  <a:gd name="connsiteX36" fmla="*/ 2441576 w 2441576"/>
                  <a:gd name="connsiteY36" fmla="*/ 832298 h 900906"/>
                  <a:gd name="connsiteX37" fmla="*/ 2441576 w 2441576"/>
                  <a:gd name="connsiteY37" fmla="*/ 900906 h 900906"/>
                  <a:gd name="connsiteX38" fmla="*/ 2403476 w 2441576"/>
                  <a:gd name="connsiteY38" fmla="*/ 900906 h 900906"/>
                  <a:gd name="connsiteX39" fmla="*/ 2321561 w 2441576"/>
                  <a:gd name="connsiteY39" fmla="*/ 900906 h 900906"/>
                  <a:gd name="connsiteX40" fmla="*/ 2239646 w 2441576"/>
                  <a:gd name="connsiteY40" fmla="*/ 900906 h 900906"/>
                  <a:gd name="connsiteX41" fmla="*/ 2176781 w 2441576"/>
                  <a:gd name="connsiteY41" fmla="*/ 900906 h 900906"/>
                  <a:gd name="connsiteX42" fmla="*/ 2109259 w 2441576"/>
                  <a:gd name="connsiteY42" fmla="*/ 900906 h 900906"/>
                  <a:gd name="connsiteX43" fmla="*/ 2094866 w 2441576"/>
                  <a:gd name="connsiteY43" fmla="*/ 900906 h 900906"/>
                  <a:gd name="connsiteX44" fmla="*/ 1941949 w 2441576"/>
                  <a:gd name="connsiteY44" fmla="*/ 900906 h 900906"/>
                  <a:gd name="connsiteX45" fmla="*/ 1824412 w 2441576"/>
                  <a:gd name="connsiteY45" fmla="*/ 900906 h 900906"/>
                  <a:gd name="connsiteX46" fmla="*/ 1609632 w 2441576"/>
                  <a:gd name="connsiteY46" fmla="*/ 900906 h 900906"/>
                  <a:gd name="connsiteX47" fmla="*/ 1539566 w 2441576"/>
                  <a:gd name="connsiteY47" fmla="*/ 900906 h 900906"/>
                  <a:gd name="connsiteX48" fmla="*/ 1324785 w 2441576"/>
                  <a:gd name="connsiteY48" fmla="*/ 900906 h 900906"/>
                  <a:gd name="connsiteX49" fmla="*/ 1254721 w 2441576"/>
                  <a:gd name="connsiteY49" fmla="*/ 900906 h 900906"/>
                  <a:gd name="connsiteX50" fmla="*/ 1039939 w 2441576"/>
                  <a:gd name="connsiteY50" fmla="*/ 900906 h 900906"/>
                  <a:gd name="connsiteX51" fmla="*/ 969874 w 2441576"/>
                  <a:gd name="connsiteY51" fmla="*/ 900906 h 900906"/>
                  <a:gd name="connsiteX52" fmla="*/ 755093 w 2441576"/>
                  <a:gd name="connsiteY52" fmla="*/ 900906 h 900906"/>
                  <a:gd name="connsiteX53" fmla="*/ 685028 w 2441576"/>
                  <a:gd name="connsiteY53" fmla="*/ 900906 h 900906"/>
                  <a:gd name="connsiteX54" fmla="*/ 581332 w 2441576"/>
                  <a:gd name="connsiteY54" fmla="*/ 900906 h 900906"/>
                  <a:gd name="connsiteX55" fmla="*/ 471351 w 2441576"/>
                  <a:gd name="connsiteY55" fmla="*/ 900906 h 900906"/>
                  <a:gd name="connsiteX56" fmla="*/ 470246 w 2441576"/>
                  <a:gd name="connsiteY56" fmla="*/ 900906 h 900906"/>
                  <a:gd name="connsiteX57" fmla="*/ 377080 w 2441576"/>
                  <a:gd name="connsiteY57" fmla="*/ 900906 h 900906"/>
                  <a:gd name="connsiteX58" fmla="*/ 282811 w 2441576"/>
                  <a:gd name="connsiteY58" fmla="*/ 900906 h 900906"/>
                  <a:gd name="connsiteX59" fmla="*/ 188541 w 2441576"/>
                  <a:gd name="connsiteY59" fmla="*/ 900906 h 900906"/>
                  <a:gd name="connsiteX60" fmla="*/ 185400 w 2441576"/>
                  <a:gd name="connsiteY60" fmla="*/ 900906 h 900906"/>
                  <a:gd name="connsiteX61" fmla="*/ 94270 w 2441576"/>
                  <a:gd name="connsiteY61" fmla="*/ 900906 h 900906"/>
                  <a:gd name="connsiteX62" fmla="*/ 0 w 2441576"/>
                  <a:gd name="connsiteY62" fmla="*/ 900906 h 900906"/>
                  <a:gd name="connsiteX63" fmla="*/ 0 w 2441576"/>
                  <a:gd name="connsiteY63" fmla="*/ 832298 h 900906"/>
                  <a:gd name="connsiteX64" fmla="*/ 0 w 2441576"/>
                  <a:gd name="connsiteY64" fmla="*/ 760260 h 900906"/>
                  <a:gd name="connsiteX65" fmla="*/ 0 w 2441576"/>
                  <a:gd name="connsiteY65" fmla="*/ 748854 h 900906"/>
                  <a:gd name="connsiteX66" fmla="*/ 0 w 2441576"/>
                  <a:gd name="connsiteY66" fmla="*/ 691652 h 900906"/>
                  <a:gd name="connsiteX67" fmla="*/ 0 w 2441576"/>
                  <a:gd name="connsiteY67" fmla="*/ 608208 h 900906"/>
                  <a:gd name="connsiteX68" fmla="*/ 0 w 2441576"/>
                  <a:gd name="connsiteY68" fmla="*/ 539600 h 900906"/>
                  <a:gd name="connsiteX69" fmla="*/ 0 w 2441576"/>
                  <a:gd name="connsiteY69" fmla="*/ 456156 h 900906"/>
                  <a:gd name="connsiteX70" fmla="*/ 0 w 2441576"/>
                  <a:gd name="connsiteY70" fmla="*/ 387548 h 900906"/>
                  <a:gd name="connsiteX71" fmla="*/ 0 w 2441576"/>
                  <a:gd name="connsiteY71" fmla="*/ 304104 h 900906"/>
                  <a:gd name="connsiteX72" fmla="*/ 0 w 2441576"/>
                  <a:gd name="connsiteY72" fmla="*/ 235496 h 900906"/>
                  <a:gd name="connsiteX73" fmla="*/ 0 w 2441576"/>
                  <a:gd name="connsiteY73" fmla="*/ 152052 h 900906"/>
                  <a:gd name="connsiteX74" fmla="*/ 0 w 2441576"/>
                  <a:gd name="connsiteY74" fmla="*/ 83444 h 900906"/>
                  <a:gd name="connsiteX75" fmla="*/ 0 w 2441576"/>
                  <a:gd name="connsiteY75" fmla="*/ 0 h 900906"/>
                  <a:gd name="connsiteX0" fmla="*/ 0 w 2441576"/>
                  <a:gd name="connsiteY0" fmla="*/ 0 h 900906"/>
                  <a:gd name="connsiteX1" fmla="*/ 94270 w 2441576"/>
                  <a:gd name="connsiteY1" fmla="*/ 0 h 900906"/>
                  <a:gd name="connsiteX2" fmla="*/ 185400 w 2441576"/>
                  <a:gd name="connsiteY2" fmla="*/ 0 h 900906"/>
                  <a:gd name="connsiteX3" fmla="*/ 188541 w 2441576"/>
                  <a:gd name="connsiteY3" fmla="*/ 0 h 900906"/>
                  <a:gd name="connsiteX4" fmla="*/ 282811 w 2441576"/>
                  <a:gd name="connsiteY4" fmla="*/ 0 h 900906"/>
                  <a:gd name="connsiteX5" fmla="*/ 377080 w 2441576"/>
                  <a:gd name="connsiteY5" fmla="*/ 0 h 900906"/>
                  <a:gd name="connsiteX6" fmla="*/ 470246 w 2441576"/>
                  <a:gd name="connsiteY6" fmla="*/ 0 h 900906"/>
                  <a:gd name="connsiteX7" fmla="*/ 471351 w 2441576"/>
                  <a:gd name="connsiteY7" fmla="*/ 0 h 900906"/>
                  <a:gd name="connsiteX8" fmla="*/ 581332 w 2441576"/>
                  <a:gd name="connsiteY8" fmla="*/ 0 h 900906"/>
                  <a:gd name="connsiteX9" fmla="*/ 685028 w 2441576"/>
                  <a:gd name="connsiteY9" fmla="*/ 0 h 900906"/>
                  <a:gd name="connsiteX10" fmla="*/ 755093 w 2441576"/>
                  <a:gd name="connsiteY10" fmla="*/ 0 h 900906"/>
                  <a:gd name="connsiteX11" fmla="*/ 969874 w 2441576"/>
                  <a:gd name="connsiteY11" fmla="*/ 0 h 900906"/>
                  <a:gd name="connsiteX12" fmla="*/ 1039939 w 2441576"/>
                  <a:gd name="connsiteY12" fmla="*/ 0 h 900906"/>
                  <a:gd name="connsiteX13" fmla="*/ 1254721 w 2441576"/>
                  <a:gd name="connsiteY13" fmla="*/ 0 h 900906"/>
                  <a:gd name="connsiteX14" fmla="*/ 1324785 w 2441576"/>
                  <a:gd name="connsiteY14" fmla="*/ 0 h 900906"/>
                  <a:gd name="connsiteX15" fmla="*/ 1539566 w 2441576"/>
                  <a:gd name="connsiteY15" fmla="*/ 0 h 900906"/>
                  <a:gd name="connsiteX16" fmla="*/ 1609632 w 2441576"/>
                  <a:gd name="connsiteY16" fmla="*/ 0 h 900906"/>
                  <a:gd name="connsiteX17" fmla="*/ 1824412 w 2441576"/>
                  <a:gd name="connsiteY17" fmla="*/ 0 h 900906"/>
                  <a:gd name="connsiteX18" fmla="*/ 1941949 w 2441576"/>
                  <a:gd name="connsiteY18" fmla="*/ 0 h 900906"/>
                  <a:gd name="connsiteX19" fmla="*/ 2094866 w 2441576"/>
                  <a:gd name="connsiteY19" fmla="*/ 0 h 900906"/>
                  <a:gd name="connsiteX20" fmla="*/ 2176781 w 2441576"/>
                  <a:gd name="connsiteY20" fmla="*/ 0 h 900906"/>
                  <a:gd name="connsiteX21" fmla="*/ 2258696 w 2441576"/>
                  <a:gd name="connsiteY21" fmla="*/ 0 h 900906"/>
                  <a:gd name="connsiteX22" fmla="*/ 2321561 w 2441576"/>
                  <a:gd name="connsiteY22" fmla="*/ 0 h 900906"/>
                  <a:gd name="connsiteX23" fmla="*/ 2403476 w 2441576"/>
                  <a:gd name="connsiteY23" fmla="*/ 0 h 900906"/>
                  <a:gd name="connsiteX24" fmla="*/ 2441576 w 2441576"/>
                  <a:gd name="connsiteY24" fmla="*/ 0 h 900906"/>
                  <a:gd name="connsiteX25" fmla="*/ 2441576 w 2441576"/>
                  <a:gd name="connsiteY25" fmla="*/ 83444 h 900906"/>
                  <a:gd name="connsiteX26" fmla="*/ 2441576 w 2441576"/>
                  <a:gd name="connsiteY26" fmla="*/ 152052 h 900906"/>
                  <a:gd name="connsiteX27" fmla="*/ 2441576 w 2441576"/>
                  <a:gd name="connsiteY27" fmla="*/ 235496 h 900906"/>
                  <a:gd name="connsiteX28" fmla="*/ 2441576 w 2441576"/>
                  <a:gd name="connsiteY28" fmla="*/ 304104 h 900906"/>
                  <a:gd name="connsiteX29" fmla="*/ 2441576 w 2441576"/>
                  <a:gd name="connsiteY29" fmla="*/ 387548 h 900906"/>
                  <a:gd name="connsiteX30" fmla="*/ 2441576 w 2441576"/>
                  <a:gd name="connsiteY30" fmla="*/ 456156 h 900906"/>
                  <a:gd name="connsiteX31" fmla="*/ 2441576 w 2441576"/>
                  <a:gd name="connsiteY31" fmla="*/ 539600 h 900906"/>
                  <a:gd name="connsiteX32" fmla="*/ 2441576 w 2441576"/>
                  <a:gd name="connsiteY32" fmla="*/ 608208 h 900906"/>
                  <a:gd name="connsiteX33" fmla="*/ 2441576 w 2441576"/>
                  <a:gd name="connsiteY33" fmla="*/ 691652 h 900906"/>
                  <a:gd name="connsiteX34" fmla="*/ 2441576 w 2441576"/>
                  <a:gd name="connsiteY34" fmla="*/ 748854 h 900906"/>
                  <a:gd name="connsiteX35" fmla="*/ 2441576 w 2441576"/>
                  <a:gd name="connsiteY35" fmla="*/ 760260 h 900906"/>
                  <a:gd name="connsiteX36" fmla="*/ 2441576 w 2441576"/>
                  <a:gd name="connsiteY36" fmla="*/ 832298 h 900906"/>
                  <a:gd name="connsiteX37" fmla="*/ 2441576 w 2441576"/>
                  <a:gd name="connsiteY37" fmla="*/ 900906 h 900906"/>
                  <a:gd name="connsiteX38" fmla="*/ 2403476 w 2441576"/>
                  <a:gd name="connsiteY38" fmla="*/ 900906 h 900906"/>
                  <a:gd name="connsiteX39" fmla="*/ 2321561 w 2441576"/>
                  <a:gd name="connsiteY39" fmla="*/ 900906 h 900906"/>
                  <a:gd name="connsiteX40" fmla="*/ 2239646 w 2441576"/>
                  <a:gd name="connsiteY40" fmla="*/ 900906 h 900906"/>
                  <a:gd name="connsiteX41" fmla="*/ 2176781 w 2441576"/>
                  <a:gd name="connsiteY41" fmla="*/ 900906 h 900906"/>
                  <a:gd name="connsiteX42" fmla="*/ 2109259 w 2441576"/>
                  <a:gd name="connsiteY42" fmla="*/ 900906 h 900906"/>
                  <a:gd name="connsiteX43" fmla="*/ 1941949 w 2441576"/>
                  <a:gd name="connsiteY43" fmla="*/ 900906 h 900906"/>
                  <a:gd name="connsiteX44" fmla="*/ 1824412 w 2441576"/>
                  <a:gd name="connsiteY44" fmla="*/ 900906 h 900906"/>
                  <a:gd name="connsiteX45" fmla="*/ 1609632 w 2441576"/>
                  <a:gd name="connsiteY45" fmla="*/ 900906 h 900906"/>
                  <a:gd name="connsiteX46" fmla="*/ 1539566 w 2441576"/>
                  <a:gd name="connsiteY46" fmla="*/ 900906 h 900906"/>
                  <a:gd name="connsiteX47" fmla="*/ 1324785 w 2441576"/>
                  <a:gd name="connsiteY47" fmla="*/ 900906 h 900906"/>
                  <a:gd name="connsiteX48" fmla="*/ 1254721 w 2441576"/>
                  <a:gd name="connsiteY48" fmla="*/ 900906 h 900906"/>
                  <a:gd name="connsiteX49" fmla="*/ 1039939 w 2441576"/>
                  <a:gd name="connsiteY49" fmla="*/ 900906 h 900906"/>
                  <a:gd name="connsiteX50" fmla="*/ 969874 w 2441576"/>
                  <a:gd name="connsiteY50" fmla="*/ 900906 h 900906"/>
                  <a:gd name="connsiteX51" fmla="*/ 755093 w 2441576"/>
                  <a:gd name="connsiteY51" fmla="*/ 900906 h 900906"/>
                  <a:gd name="connsiteX52" fmla="*/ 685028 w 2441576"/>
                  <a:gd name="connsiteY52" fmla="*/ 900906 h 900906"/>
                  <a:gd name="connsiteX53" fmla="*/ 581332 w 2441576"/>
                  <a:gd name="connsiteY53" fmla="*/ 900906 h 900906"/>
                  <a:gd name="connsiteX54" fmla="*/ 471351 w 2441576"/>
                  <a:gd name="connsiteY54" fmla="*/ 900906 h 900906"/>
                  <a:gd name="connsiteX55" fmla="*/ 470246 w 2441576"/>
                  <a:gd name="connsiteY55" fmla="*/ 900906 h 900906"/>
                  <a:gd name="connsiteX56" fmla="*/ 377080 w 2441576"/>
                  <a:gd name="connsiteY56" fmla="*/ 900906 h 900906"/>
                  <a:gd name="connsiteX57" fmla="*/ 282811 w 2441576"/>
                  <a:gd name="connsiteY57" fmla="*/ 900906 h 900906"/>
                  <a:gd name="connsiteX58" fmla="*/ 188541 w 2441576"/>
                  <a:gd name="connsiteY58" fmla="*/ 900906 h 900906"/>
                  <a:gd name="connsiteX59" fmla="*/ 185400 w 2441576"/>
                  <a:gd name="connsiteY59" fmla="*/ 900906 h 900906"/>
                  <a:gd name="connsiteX60" fmla="*/ 94270 w 2441576"/>
                  <a:gd name="connsiteY60" fmla="*/ 900906 h 900906"/>
                  <a:gd name="connsiteX61" fmla="*/ 0 w 2441576"/>
                  <a:gd name="connsiteY61" fmla="*/ 900906 h 900906"/>
                  <a:gd name="connsiteX62" fmla="*/ 0 w 2441576"/>
                  <a:gd name="connsiteY62" fmla="*/ 832298 h 900906"/>
                  <a:gd name="connsiteX63" fmla="*/ 0 w 2441576"/>
                  <a:gd name="connsiteY63" fmla="*/ 760260 h 900906"/>
                  <a:gd name="connsiteX64" fmla="*/ 0 w 2441576"/>
                  <a:gd name="connsiteY64" fmla="*/ 748854 h 900906"/>
                  <a:gd name="connsiteX65" fmla="*/ 0 w 2441576"/>
                  <a:gd name="connsiteY65" fmla="*/ 691652 h 900906"/>
                  <a:gd name="connsiteX66" fmla="*/ 0 w 2441576"/>
                  <a:gd name="connsiteY66" fmla="*/ 608208 h 900906"/>
                  <a:gd name="connsiteX67" fmla="*/ 0 w 2441576"/>
                  <a:gd name="connsiteY67" fmla="*/ 539600 h 900906"/>
                  <a:gd name="connsiteX68" fmla="*/ 0 w 2441576"/>
                  <a:gd name="connsiteY68" fmla="*/ 456156 h 900906"/>
                  <a:gd name="connsiteX69" fmla="*/ 0 w 2441576"/>
                  <a:gd name="connsiteY69" fmla="*/ 387548 h 900906"/>
                  <a:gd name="connsiteX70" fmla="*/ 0 w 2441576"/>
                  <a:gd name="connsiteY70" fmla="*/ 304104 h 900906"/>
                  <a:gd name="connsiteX71" fmla="*/ 0 w 2441576"/>
                  <a:gd name="connsiteY71" fmla="*/ 235496 h 900906"/>
                  <a:gd name="connsiteX72" fmla="*/ 0 w 2441576"/>
                  <a:gd name="connsiteY72" fmla="*/ 152052 h 900906"/>
                  <a:gd name="connsiteX73" fmla="*/ 0 w 2441576"/>
                  <a:gd name="connsiteY73" fmla="*/ 83444 h 900906"/>
                  <a:gd name="connsiteX74" fmla="*/ 0 w 2441576"/>
                  <a:gd name="connsiteY74" fmla="*/ 0 h 900906"/>
                  <a:gd name="connsiteX0" fmla="*/ 0 w 2441576"/>
                  <a:gd name="connsiteY0" fmla="*/ 0 h 900906"/>
                  <a:gd name="connsiteX1" fmla="*/ 94270 w 2441576"/>
                  <a:gd name="connsiteY1" fmla="*/ 0 h 900906"/>
                  <a:gd name="connsiteX2" fmla="*/ 185400 w 2441576"/>
                  <a:gd name="connsiteY2" fmla="*/ 0 h 900906"/>
                  <a:gd name="connsiteX3" fmla="*/ 188541 w 2441576"/>
                  <a:gd name="connsiteY3" fmla="*/ 0 h 900906"/>
                  <a:gd name="connsiteX4" fmla="*/ 282811 w 2441576"/>
                  <a:gd name="connsiteY4" fmla="*/ 0 h 900906"/>
                  <a:gd name="connsiteX5" fmla="*/ 377080 w 2441576"/>
                  <a:gd name="connsiteY5" fmla="*/ 0 h 900906"/>
                  <a:gd name="connsiteX6" fmla="*/ 470246 w 2441576"/>
                  <a:gd name="connsiteY6" fmla="*/ 0 h 900906"/>
                  <a:gd name="connsiteX7" fmla="*/ 471351 w 2441576"/>
                  <a:gd name="connsiteY7" fmla="*/ 0 h 900906"/>
                  <a:gd name="connsiteX8" fmla="*/ 581332 w 2441576"/>
                  <a:gd name="connsiteY8" fmla="*/ 0 h 900906"/>
                  <a:gd name="connsiteX9" fmla="*/ 685028 w 2441576"/>
                  <a:gd name="connsiteY9" fmla="*/ 0 h 900906"/>
                  <a:gd name="connsiteX10" fmla="*/ 755093 w 2441576"/>
                  <a:gd name="connsiteY10" fmla="*/ 0 h 900906"/>
                  <a:gd name="connsiteX11" fmla="*/ 969874 w 2441576"/>
                  <a:gd name="connsiteY11" fmla="*/ 0 h 900906"/>
                  <a:gd name="connsiteX12" fmla="*/ 1039939 w 2441576"/>
                  <a:gd name="connsiteY12" fmla="*/ 0 h 900906"/>
                  <a:gd name="connsiteX13" fmla="*/ 1254721 w 2441576"/>
                  <a:gd name="connsiteY13" fmla="*/ 0 h 900906"/>
                  <a:gd name="connsiteX14" fmla="*/ 1324785 w 2441576"/>
                  <a:gd name="connsiteY14" fmla="*/ 0 h 900906"/>
                  <a:gd name="connsiteX15" fmla="*/ 1539566 w 2441576"/>
                  <a:gd name="connsiteY15" fmla="*/ 0 h 900906"/>
                  <a:gd name="connsiteX16" fmla="*/ 1609632 w 2441576"/>
                  <a:gd name="connsiteY16" fmla="*/ 0 h 900906"/>
                  <a:gd name="connsiteX17" fmla="*/ 1824412 w 2441576"/>
                  <a:gd name="connsiteY17" fmla="*/ 0 h 900906"/>
                  <a:gd name="connsiteX18" fmla="*/ 1941949 w 2441576"/>
                  <a:gd name="connsiteY18" fmla="*/ 0 h 900906"/>
                  <a:gd name="connsiteX19" fmla="*/ 2094866 w 2441576"/>
                  <a:gd name="connsiteY19" fmla="*/ 0 h 900906"/>
                  <a:gd name="connsiteX20" fmla="*/ 2176781 w 2441576"/>
                  <a:gd name="connsiteY20" fmla="*/ 0 h 900906"/>
                  <a:gd name="connsiteX21" fmla="*/ 2258696 w 2441576"/>
                  <a:gd name="connsiteY21" fmla="*/ 0 h 900906"/>
                  <a:gd name="connsiteX22" fmla="*/ 2321561 w 2441576"/>
                  <a:gd name="connsiteY22" fmla="*/ 0 h 900906"/>
                  <a:gd name="connsiteX23" fmla="*/ 2441576 w 2441576"/>
                  <a:gd name="connsiteY23" fmla="*/ 0 h 900906"/>
                  <a:gd name="connsiteX24" fmla="*/ 2441576 w 2441576"/>
                  <a:gd name="connsiteY24" fmla="*/ 83444 h 900906"/>
                  <a:gd name="connsiteX25" fmla="*/ 2441576 w 2441576"/>
                  <a:gd name="connsiteY25" fmla="*/ 152052 h 900906"/>
                  <a:gd name="connsiteX26" fmla="*/ 2441576 w 2441576"/>
                  <a:gd name="connsiteY26" fmla="*/ 235496 h 900906"/>
                  <a:gd name="connsiteX27" fmla="*/ 2441576 w 2441576"/>
                  <a:gd name="connsiteY27" fmla="*/ 304104 h 900906"/>
                  <a:gd name="connsiteX28" fmla="*/ 2441576 w 2441576"/>
                  <a:gd name="connsiteY28" fmla="*/ 387548 h 900906"/>
                  <a:gd name="connsiteX29" fmla="*/ 2441576 w 2441576"/>
                  <a:gd name="connsiteY29" fmla="*/ 456156 h 900906"/>
                  <a:gd name="connsiteX30" fmla="*/ 2441576 w 2441576"/>
                  <a:gd name="connsiteY30" fmla="*/ 539600 h 900906"/>
                  <a:gd name="connsiteX31" fmla="*/ 2441576 w 2441576"/>
                  <a:gd name="connsiteY31" fmla="*/ 608208 h 900906"/>
                  <a:gd name="connsiteX32" fmla="*/ 2441576 w 2441576"/>
                  <a:gd name="connsiteY32" fmla="*/ 691652 h 900906"/>
                  <a:gd name="connsiteX33" fmla="*/ 2441576 w 2441576"/>
                  <a:gd name="connsiteY33" fmla="*/ 748854 h 900906"/>
                  <a:gd name="connsiteX34" fmla="*/ 2441576 w 2441576"/>
                  <a:gd name="connsiteY34" fmla="*/ 760260 h 900906"/>
                  <a:gd name="connsiteX35" fmla="*/ 2441576 w 2441576"/>
                  <a:gd name="connsiteY35" fmla="*/ 832298 h 900906"/>
                  <a:gd name="connsiteX36" fmla="*/ 2441576 w 2441576"/>
                  <a:gd name="connsiteY36" fmla="*/ 900906 h 900906"/>
                  <a:gd name="connsiteX37" fmla="*/ 2403476 w 2441576"/>
                  <a:gd name="connsiteY37" fmla="*/ 900906 h 900906"/>
                  <a:gd name="connsiteX38" fmla="*/ 2321561 w 2441576"/>
                  <a:gd name="connsiteY38" fmla="*/ 900906 h 900906"/>
                  <a:gd name="connsiteX39" fmla="*/ 2239646 w 2441576"/>
                  <a:gd name="connsiteY39" fmla="*/ 900906 h 900906"/>
                  <a:gd name="connsiteX40" fmla="*/ 2176781 w 2441576"/>
                  <a:gd name="connsiteY40" fmla="*/ 900906 h 900906"/>
                  <a:gd name="connsiteX41" fmla="*/ 2109259 w 2441576"/>
                  <a:gd name="connsiteY41" fmla="*/ 900906 h 900906"/>
                  <a:gd name="connsiteX42" fmla="*/ 1941949 w 2441576"/>
                  <a:gd name="connsiteY42" fmla="*/ 900906 h 900906"/>
                  <a:gd name="connsiteX43" fmla="*/ 1824412 w 2441576"/>
                  <a:gd name="connsiteY43" fmla="*/ 900906 h 900906"/>
                  <a:gd name="connsiteX44" fmla="*/ 1609632 w 2441576"/>
                  <a:gd name="connsiteY44" fmla="*/ 900906 h 900906"/>
                  <a:gd name="connsiteX45" fmla="*/ 1539566 w 2441576"/>
                  <a:gd name="connsiteY45" fmla="*/ 900906 h 900906"/>
                  <a:gd name="connsiteX46" fmla="*/ 1324785 w 2441576"/>
                  <a:gd name="connsiteY46" fmla="*/ 900906 h 900906"/>
                  <a:gd name="connsiteX47" fmla="*/ 1254721 w 2441576"/>
                  <a:gd name="connsiteY47" fmla="*/ 900906 h 900906"/>
                  <a:gd name="connsiteX48" fmla="*/ 1039939 w 2441576"/>
                  <a:gd name="connsiteY48" fmla="*/ 900906 h 900906"/>
                  <a:gd name="connsiteX49" fmla="*/ 969874 w 2441576"/>
                  <a:gd name="connsiteY49" fmla="*/ 900906 h 900906"/>
                  <a:gd name="connsiteX50" fmla="*/ 755093 w 2441576"/>
                  <a:gd name="connsiteY50" fmla="*/ 900906 h 900906"/>
                  <a:gd name="connsiteX51" fmla="*/ 685028 w 2441576"/>
                  <a:gd name="connsiteY51" fmla="*/ 900906 h 900906"/>
                  <a:gd name="connsiteX52" fmla="*/ 581332 w 2441576"/>
                  <a:gd name="connsiteY52" fmla="*/ 900906 h 900906"/>
                  <a:gd name="connsiteX53" fmla="*/ 471351 w 2441576"/>
                  <a:gd name="connsiteY53" fmla="*/ 900906 h 900906"/>
                  <a:gd name="connsiteX54" fmla="*/ 470246 w 2441576"/>
                  <a:gd name="connsiteY54" fmla="*/ 900906 h 900906"/>
                  <a:gd name="connsiteX55" fmla="*/ 377080 w 2441576"/>
                  <a:gd name="connsiteY55" fmla="*/ 900906 h 900906"/>
                  <a:gd name="connsiteX56" fmla="*/ 282811 w 2441576"/>
                  <a:gd name="connsiteY56" fmla="*/ 900906 h 900906"/>
                  <a:gd name="connsiteX57" fmla="*/ 188541 w 2441576"/>
                  <a:gd name="connsiteY57" fmla="*/ 900906 h 900906"/>
                  <a:gd name="connsiteX58" fmla="*/ 185400 w 2441576"/>
                  <a:gd name="connsiteY58" fmla="*/ 900906 h 900906"/>
                  <a:gd name="connsiteX59" fmla="*/ 94270 w 2441576"/>
                  <a:gd name="connsiteY59" fmla="*/ 900906 h 900906"/>
                  <a:gd name="connsiteX60" fmla="*/ 0 w 2441576"/>
                  <a:gd name="connsiteY60" fmla="*/ 900906 h 900906"/>
                  <a:gd name="connsiteX61" fmla="*/ 0 w 2441576"/>
                  <a:gd name="connsiteY61" fmla="*/ 832298 h 900906"/>
                  <a:gd name="connsiteX62" fmla="*/ 0 w 2441576"/>
                  <a:gd name="connsiteY62" fmla="*/ 760260 h 900906"/>
                  <a:gd name="connsiteX63" fmla="*/ 0 w 2441576"/>
                  <a:gd name="connsiteY63" fmla="*/ 748854 h 900906"/>
                  <a:gd name="connsiteX64" fmla="*/ 0 w 2441576"/>
                  <a:gd name="connsiteY64" fmla="*/ 691652 h 900906"/>
                  <a:gd name="connsiteX65" fmla="*/ 0 w 2441576"/>
                  <a:gd name="connsiteY65" fmla="*/ 608208 h 900906"/>
                  <a:gd name="connsiteX66" fmla="*/ 0 w 2441576"/>
                  <a:gd name="connsiteY66" fmla="*/ 539600 h 900906"/>
                  <a:gd name="connsiteX67" fmla="*/ 0 w 2441576"/>
                  <a:gd name="connsiteY67" fmla="*/ 456156 h 900906"/>
                  <a:gd name="connsiteX68" fmla="*/ 0 w 2441576"/>
                  <a:gd name="connsiteY68" fmla="*/ 387548 h 900906"/>
                  <a:gd name="connsiteX69" fmla="*/ 0 w 2441576"/>
                  <a:gd name="connsiteY69" fmla="*/ 304104 h 900906"/>
                  <a:gd name="connsiteX70" fmla="*/ 0 w 2441576"/>
                  <a:gd name="connsiteY70" fmla="*/ 235496 h 900906"/>
                  <a:gd name="connsiteX71" fmla="*/ 0 w 2441576"/>
                  <a:gd name="connsiteY71" fmla="*/ 152052 h 900906"/>
                  <a:gd name="connsiteX72" fmla="*/ 0 w 2441576"/>
                  <a:gd name="connsiteY72" fmla="*/ 83444 h 900906"/>
                  <a:gd name="connsiteX73" fmla="*/ 0 w 2441576"/>
                  <a:gd name="connsiteY73" fmla="*/ 0 h 900906"/>
                  <a:gd name="connsiteX0" fmla="*/ 0 w 2441576"/>
                  <a:gd name="connsiteY0" fmla="*/ 0 h 900906"/>
                  <a:gd name="connsiteX1" fmla="*/ 94270 w 2441576"/>
                  <a:gd name="connsiteY1" fmla="*/ 0 h 900906"/>
                  <a:gd name="connsiteX2" fmla="*/ 185400 w 2441576"/>
                  <a:gd name="connsiteY2" fmla="*/ 0 h 900906"/>
                  <a:gd name="connsiteX3" fmla="*/ 188541 w 2441576"/>
                  <a:gd name="connsiteY3" fmla="*/ 0 h 900906"/>
                  <a:gd name="connsiteX4" fmla="*/ 282811 w 2441576"/>
                  <a:gd name="connsiteY4" fmla="*/ 0 h 900906"/>
                  <a:gd name="connsiteX5" fmla="*/ 377080 w 2441576"/>
                  <a:gd name="connsiteY5" fmla="*/ 0 h 900906"/>
                  <a:gd name="connsiteX6" fmla="*/ 470246 w 2441576"/>
                  <a:gd name="connsiteY6" fmla="*/ 0 h 900906"/>
                  <a:gd name="connsiteX7" fmla="*/ 471351 w 2441576"/>
                  <a:gd name="connsiteY7" fmla="*/ 0 h 900906"/>
                  <a:gd name="connsiteX8" fmla="*/ 581332 w 2441576"/>
                  <a:gd name="connsiteY8" fmla="*/ 0 h 900906"/>
                  <a:gd name="connsiteX9" fmla="*/ 685028 w 2441576"/>
                  <a:gd name="connsiteY9" fmla="*/ 0 h 900906"/>
                  <a:gd name="connsiteX10" fmla="*/ 755093 w 2441576"/>
                  <a:gd name="connsiteY10" fmla="*/ 0 h 900906"/>
                  <a:gd name="connsiteX11" fmla="*/ 969874 w 2441576"/>
                  <a:gd name="connsiteY11" fmla="*/ 0 h 900906"/>
                  <a:gd name="connsiteX12" fmla="*/ 1039939 w 2441576"/>
                  <a:gd name="connsiteY12" fmla="*/ 0 h 900906"/>
                  <a:gd name="connsiteX13" fmla="*/ 1254721 w 2441576"/>
                  <a:gd name="connsiteY13" fmla="*/ 0 h 900906"/>
                  <a:gd name="connsiteX14" fmla="*/ 1324785 w 2441576"/>
                  <a:gd name="connsiteY14" fmla="*/ 0 h 900906"/>
                  <a:gd name="connsiteX15" fmla="*/ 1539566 w 2441576"/>
                  <a:gd name="connsiteY15" fmla="*/ 0 h 900906"/>
                  <a:gd name="connsiteX16" fmla="*/ 1609632 w 2441576"/>
                  <a:gd name="connsiteY16" fmla="*/ 0 h 900906"/>
                  <a:gd name="connsiteX17" fmla="*/ 1824412 w 2441576"/>
                  <a:gd name="connsiteY17" fmla="*/ 0 h 900906"/>
                  <a:gd name="connsiteX18" fmla="*/ 1941949 w 2441576"/>
                  <a:gd name="connsiteY18" fmla="*/ 0 h 900906"/>
                  <a:gd name="connsiteX19" fmla="*/ 2094866 w 2441576"/>
                  <a:gd name="connsiteY19" fmla="*/ 0 h 900906"/>
                  <a:gd name="connsiteX20" fmla="*/ 2176781 w 2441576"/>
                  <a:gd name="connsiteY20" fmla="*/ 0 h 900906"/>
                  <a:gd name="connsiteX21" fmla="*/ 2258696 w 2441576"/>
                  <a:gd name="connsiteY21" fmla="*/ 0 h 900906"/>
                  <a:gd name="connsiteX22" fmla="*/ 2321561 w 2441576"/>
                  <a:gd name="connsiteY22" fmla="*/ 0 h 900906"/>
                  <a:gd name="connsiteX23" fmla="*/ 2441576 w 2441576"/>
                  <a:gd name="connsiteY23" fmla="*/ 0 h 900906"/>
                  <a:gd name="connsiteX24" fmla="*/ 2441576 w 2441576"/>
                  <a:gd name="connsiteY24" fmla="*/ 83444 h 900906"/>
                  <a:gd name="connsiteX25" fmla="*/ 2441576 w 2441576"/>
                  <a:gd name="connsiteY25" fmla="*/ 152052 h 900906"/>
                  <a:gd name="connsiteX26" fmla="*/ 2441576 w 2441576"/>
                  <a:gd name="connsiteY26" fmla="*/ 235496 h 900906"/>
                  <a:gd name="connsiteX27" fmla="*/ 2441576 w 2441576"/>
                  <a:gd name="connsiteY27" fmla="*/ 304104 h 900906"/>
                  <a:gd name="connsiteX28" fmla="*/ 2441576 w 2441576"/>
                  <a:gd name="connsiteY28" fmla="*/ 387548 h 900906"/>
                  <a:gd name="connsiteX29" fmla="*/ 2441576 w 2441576"/>
                  <a:gd name="connsiteY29" fmla="*/ 456156 h 900906"/>
                  <a:gd name="connsiteX30" fmla="*/ 2441576 w 2441576"/>
                  <a:gd name="connsiteY30" fmla="*/ 539600 h 900906"/>
                  <a:gd name="connsiteX31" fmla="*/ 2441576 w 2441576"/>
                  <a:gd name="connsiteY31" fmla="*/ 608208 h 900906"/>
                  <a:gd name="connsiteX32" fmla="*/ 2441576 w 2441576"/>
                  <a:gd name="connsiteY32" fmla="*/ 691652 h 900906"/>
                  <a:gd name="connsiteX33" fmla="*/ 2441576 w 2441576"/>
                  <a:gd name="connsiteY33" fmla="*/ 748854 h 900906"/>
                  <a:gd name="connsiteX34" fmla="*/ 2441576 w 2441576"/>
                  <a:gd name="connsiteY34" fmla="*/ 760260 h 900906"/>
                  <a:gd name="connsiteX35" fmla="*/ 2441576 w 2441576"/>
                  <a:gd name="connsiteY35" fmla="*/ 832298 h 900906"/>
                  <a:gd name="connsiteX36" fmla="*/ 2441576 w 2441576"/>
                  <a:gd name="connsiteY36" fmla="*/ 900906 h 900906"/>
                  <a:gd name="connsiteX37" fmla="*/ 2321561 w 2441576"/>
                  <a:gd name="connsiteY37" fmla="*/ 900906 h 900906"/>
                  <a:gd name="connsiteX38" fmla="*/ 2239646 w 2441576"/>
                  <a:gd name="connsiteY38" fmla="*/ 900906 h 900906"/>
                  <a:gd name="connsiteX39" fmla="*/ 2176781 w 2441576"/>
                  <a:gd name="connsiteY39" fmla="*/ 900906 h 900906"/>
                  <a:gd name="connsiteX40" fmla="*/ 2109259 w 2441576"/>
                  <a:gd name="connsiteY40" fmla="*/ 900906 h 900906"/>
                  <a:gd name="connsiteX41" fmla="*/ 1941949 w 2441576"/>
                  <a:gd name="connsiteY41" fmla="*/ 900906 h 900906"/>
                  <a:gd name="connsiteX42" fmla="*/ 1824412 w 2441576"/>
                  <a:gd name="connsiteY42" fmla="*/ 900906 h 900906"/>
                  <a:gd name="connsiteX43" fmla="*/ 1609632 w 2441576"/>
                  <a:gd name="connsiteY43" fmla="*/ 900906 h 900906"/>
                  <a:gd name="connsiteX44" fmla="*/ 1539566 w 2441576"/>
                  <a:gd name="connsiteY44" fmla="*/ 900906 h 900906"/>
                  <a:gd name="connsiteX45" fmla="*/ 1324785 w 2441576"/>
                  <a:gd name="connsiteY45" fmla="*/ 900906 h 900906"/>
                  <a:gd name="connsiteX46" fmla="*/ 1254721 w 2441576"/>
                  <a:gd name="connsiteY46" fmla="*/ 900906 h 900906"/>
                  <a:gd name="connsiteX47" fmla="*/ 1039939 w 2441576"/>
                  <a:gd name="connsiteY47" fmla="*/ 900906 h 900906"/>
                  <a:gd name="connsiteX48" fmla="*/ 969874 w 2441576"/>
                  <a:gd name="connsiteY48" fmla="*/ 900906 h 900906"/>
                  <a:gd name="connsiteX49" fmla="*/ 755093 w 2441576"/>
                  <a:gd name="connsiteY49" fmla="*/ 900906 h 900906"/>
                  <a:gd name="connsiteX50" fmla="*/ 685028 w 2441576"/>
                  <a:gd name="connsiteY50" fmla="*/ 900906 h 900906"/>
                  <a:gd name="connsiteX51" fmla="*/ 581332 w 2441576"/>
                  <a:gd name="connsiteY51" fmla="*/ 900906 h 900906"/>
                  <a:gd name="connsiteX52" fmla="*/ 471351 w 2441576"/>
                  <a:gd name="connsiteY52" fmla="*/ 900906 h 900906"/>
                  <a:gd name="connsiteX53" fmla="*/ 470246 w 2441576"/>
                  <a:gd name="connsiteY53" fmla="*/ 900906 h 900906"/>
                  <a:gd name="connsiteX54" fmla="*/ 377080 w 2441576"/>
                  <a:gd name="connsiteY54" fmla="*/ 900906 h 900906"/>
                  <a:gd name="connsiteX55" fmla="*/ 282811 w 2441576"/>
                  <a:gd name="connsiteY55" fmla="*/ 900906 h 900906"/>
                  <a:gd name="connsiteX56" fmla="*/ 188541 w 2441576"/>
                  <a:gd name="connsiteY56" fmla="*/ 900906 h 900906"/>
                  <a:gd name="connsiteX57" fmla="*/ 185400 w 2441576"/>
                  <a:gd name="connsiteY57" fmla="*/ 900906 h 900906"/>
                  <a:gd name="connsiteX58" fmla="*/ 94270 w 2441576"/>
                  <a:gd name="connsiteY58" fmla="*/ 900906 h 900906"/>
                  <a:gd name="connsiteX59" fmla="*/ 0 w 2441576"/>
                  <a:gd name="connsiteY59" fmla="*/ 900906 h 900906"/>
                  <a:gd name="connsiteX60" fmla="*/ 0 w 2441576"/>
                  <a:gd name="connsiteY60" fmla="*/ 832298 h 900906"/>
                  <a:gd name="connsiteX61" fmla="*/ 0 w 2441576"/>
                  <a:gd name="connsiteY61" fmla="*/ 760260 h 900906"/>
                  <a:gd name="connsiteX62" fmla="*/ 0 w 2441576"/>
                  <a:gd name="connsiteY62" fmla="*/ 748854 h 900906"/>
                  <a:gd name="connsiteX63" fmla="*/ 0 w 2441576"/>
                  <a:gd name="connsiteY63" fmla="*/ 691652 h 900906"/>
                  <a:gd name="connsiteX64" fmla="*/ 0 w 2441576"/>
                  <a:gd name="connsiteY64" fmla="*/ 608208 h 900906"/>
                  <a:gd name="connsiteX65" fmla="*/ 0 w 2441576"/>
                  <a:gd name="connsiteY65" fmla="*/ 539600 h 900906"/>
                  <a:gd name="connsiteX66" fmla="*/ 0 w 2441576"/>
                  <a:gd name="connsiteY66" fmla="*/ 456156 h 900906"/>
                  <a:gd name="connsiteX67" fmla="*/ 0 w 2441576"/>
                  <a:gd name="connsiteY67" fmla="*/ 387548 h 900906"/>
                  <a:gd name="connsiteX68" fmla="*/ 0 w 2441576"/>
                  <a:gd name="connsiteY68" fmla="*/ 304104 h 900906"/>
                  <a:gd name="connsiteX69" fmla="*/ 0 w 2441576"/>
                  <a:gd name="connsiteY69" fmla="*/ 235496 h 900906"/>
                  <a:gd name="connsiteX70" fmla="*/ 0 w 2441576"/>
                  <a:gd name="connsiteY70" fmla="*/ 152052 h 900906"/>
                  <a:gd name="connsiteX71" fmla="*/ 0 w 2441576"/>
                  <a:gd name="connsiteY71" fmla="*/ 83444 h 900906"/>
                  <a:gd name="connsiteX72" fmla="*/ 0 w 2441576"/>
                  <a:gd name="connsiteY72" fmla="*/ 0 h 900906"/>
                  <a:gd name="connsiteX0" fmla="*/ 0 w 2441576"/>
                  <a:gd name="connsiteY0" fmla="*/ 0 h 900906"/>
                  <a:gd name="connsiteX1" fmla="*/ 94270 w 2441576"/>
                  <a:gd name="connsiteY1" fmla="*/ 0 h 900906"/>
                  <a:gd name="connsiteX2" fmla="*/ 185400 w 2441576"/>
                  <a:gd name="connsiteY2" fmla="*/ 0 h 900906"/>
                  <a:gd name="connsiteX3" fmla="*/ 188541 w 2441576"/>
                  <a:gd name="connsiteY3" fmla="*/ 0 h 900906"/>
                  <a:gd name="connsiteX4" fmla="*/ 282811 w 2441576"/>
                  <a:gd name="connsiteY4" fmla="*/ 0 h 900906"/>
                  <a:gd name="connsiteX5" fmla="*/ 377080 w 2441576"/>
                  <a:gd name="connsiteY5" fmla="*/ 0 h 900906"/>
                  <a:gd name="connsiteX6" fmla="*/ 470246 w 2441576"/>
                  <a:gd name="connsiteY6" fmla="*/ 0 h 900906"/>
                  <a:gd name="connsiteX7" fmla="*/ 471351 w 2441576"/>
                  <a:gd name="connsiteY7" fmla="*/ 0 h 900906"/>
                  <a:gd name="connsiteX8" fmla="*/ 581332 w 2441576"/>
                  <a:gd name="connsiteY8" fmla="*/ 0 h 900906"/>
                  <a:gd name="connsiteX9" fmla="*/ 685028 w 2441576"/>
                  <a:gd name="connsiteY9" fmla="*/ 0 h 900906"/>
                  <a:gd name="connsiteX10" fmla="*/ 755093 w 2441576"/>
                  <a:gd name="connsiteY10" fmla="*/ 0 h 900906"/>
                  <a:gd name="connsiteX11" fmla="*/ 969874 w 2441576"/>
                  <a:gd name="connsiteY11" fmla="*/ 0 h 900906"/>
                  <a:gd name="connsiteX12" fmla="*/ 1039939 w 2441576"/>
                  <a:gd name="connsiteY12" fmla="*/ 0 h 900906"/>
                  <a:gd name="connsiteX13" fmla="*/ 1254721 w 2441576"/>
                  <a:gd name="connsiteY13" fmla="*/ 0 h 900906"/>
                  <a:gd name="connsiteX14" fmla="*/ 1324785 w 2441576"/>
                  <a:gd name="connsiteY14" fmla="*/ 0 h 900906"/>
                  <a:gd name="connsiteX15" fmla="*/ 1539566 w 2441576"/>
                  <a:gd name="connsiteY15" fmla="*/ 0 h 900906"/>
                  <a:gd name="connsiteX16" fmla="*/ 1609632 w 2441576"/>
                  <a:gd name="connsiteY16" fmla="*/ 0 h 900906"/>
                  <a:gd name="connsiteX17" fmla="*/ 1824412 w 2441576"/>
                  <a:gd name="connsiteY17" fmla="*/ 0 h 900906"/>
                  <a:gd name="connsiteX18" fmla="*/ 1941949 w 2441576"/>
                  <a:gd name="connsiteY18" fmla="*/ 0 h 900906"/>
                  <a:gd name="connsiteX19" fmla="*/ 2094866 w 2441576"/>
                  <a:gd name="connsiteY19" fmla="*/ 0 h 900906"/>
                  <a:gd name="connsiteX20" fmla="*/ 2176781 w 2441576"/>
                  <a:gd name="connsiteY20" fmla="*/ 0 h 900906"/>
                  <a:gd name="connsiteX21" fmla="*/ 2258696 w 2441576"/>
                  <a:gd name="connsiteY21" fmla="*/ 0 h 900906"/>
                  <a:gd name="connsiteX22" fmla="*/ 2321561 w 2441576"/>
                  <a:gd name="connsiteY22" fmla="*/ 0 h 900906"/>
                  <a:gd name="connsiteX23" fmla="*/ 2441576 w 2441576"/>
                  <a:gd name="connsiteY23" fmla="*/ 0 h 900906"/>
                  <a:gd name="connsiteX24" fmla="*/ 2441576 w 2441576"/>
                  <a:gd name="connsiteY24" fmla="*/ 83444 h 900906"/>
                  <a:gd name="connsiteX25" fmla="*/ 2441576 w 2441576"/>
                  <a:gd name="connsiteY25" fmla="*/ 152052 h 900906"/>
                  <a:gd name="connsiteX26" fmla="*/ 2441576 w 2441576"/>
                  <a:gd name="connsiteY26" fmla="*/ 235496 h 900906"/>
                  <a:gd name="connsiteX27" fmla="*/ 2441576 w 2441576"/>
                  <a:gd name="connsiteY27" fmla="*/ 304104 h 900906"/>
                  <a:gd name="connsiteX28" fmla="*/ 2441576 w 2441576"/>
                  <a:gd name="connsiteY28" fmla="*/ 387548 h 900906"/>
                  <a:gd name="connsiteX29" fmla="*/ 2441576 w 2441576"/>
                  <a:gd name="connsiteY29" fmla="*/ 456156 h 900906"/>
                  <a:gd name="connsiteX30" fmla="*/ 2441576 w 2441576"/>
                  <a:gd name="connsiteY30" fmla="*/ 539600 h 900906"/>
                  <a:gd name="connsiteX31" fmla="*/ 2441576 w 2441576"/>
                  <a:gd name="connsiteY31" fmla="*/ 608208 h 900906"/>
                  <a:gd name="connsiteX32" fmla="*/ 2441576 w 2441576"/>
                  <a:gd name="connsiteY32" fmla="*/ 691652 h 900906"/>
                  <a:gd name="connsiteX33" fmla="*/ 2441576 w 2441576"/>
                  <a:gd name="connsiteY33" fmla="*/ 760260 h 900906"/>
                  <a:gd name="connsiteX34" fmla="*/ 2441576 w 2441576"/>
                  <a:gd name="connsiteY34" fmla="*/ 832298 h 900906"/>
                  <a:gd name="connsiteX35" fmla="*/ 2441576 w 2441576"/>
                  <a:gd name="connsiteY35" fmla="*/ 900906 h 900906"/>
                  <a:gd name="connsiteX36" fmla="*/ 2321561 w 2441576"/>
                  <a:gd name="connsiteY36" fmla="*/ 900906 h 900906"/>
                  <a:gd name="connsiteX37" fmla="*/ 2239646 w 2441576"/>
                  <a:gd name="connsiteY37" fmla="*/ 900906 h 900906"/>
                  <a:gd name="connsiteX38" fmla="*/ 2176781 w 2441576"/>
                  <a:gd name="connsiteY38" fmla="*/ 900906 h 900906"/>
                  <a:gd name="connsiteX39" fmla="*/ 2109259 w 2441576"/>
                  <a:gd name="connsiteY39" fmla="*/ 900906 h 900906"/>
                  <a:gd name="connsiteX40" fmla="*/ 1941949 w 2441576"/>
                  <a:gd name="connsiteY40" fmla="*/ 900906 h 900906"/>
                  <a:gd name="connsiteX41" fmla="*/ 1824412 w 2441576"/>
                  <a:gd name="connsiteY41" fmla="*/ 900906 h 900906"/>
                  <a:gd name="connsiteX42" fmla="*/ 1609632 w 2441576"/>
                  <a:gd name="connsiteY42" fmla="*/ 900906 h 900906"/>
                  <a:gd name="connsiteX43" fmla="*/ 1539566 w 2441576"/>
                  <a:gd name="connsiteY43" fmla="*/ 900906 h 900906"/>
                  <a:gd name="connsiteX44" fmla="*/ 1324785 w 2441576"/>
                  <a:gd name="connsiteY44" fmla="*/ 900906 h 900906"/>
                  <a:gd name="connsiteX45" fmla="*/ 1254721 w 2441576"/>
                  <a:gd name="connsiteY45" fmla="*/ 900906 h 900906"/>
                  <a:gd name="connsiteX46" fmla="*/ 1039939 w 2441576"/>
                  <a:gd name="connsiteY46" fmla="*/ 900906 h 900906"/>
                  <a:gd name="connsiteX47" fmla="*/ 969874 w 2441576"/>
                  <a:gd name="connsiteY47" fmla="*/ 900906 h 900906"/>
                  <a:gd name="connsiteX48" fmla="*/ 755093 w 2441576"/>
                  <a:gd name="connsiteY48" fmla="*/ 900906 h 900906"/>
                  <a:gd name="connsiteX49" fmla="*/ 685028 w 2441576"/>
                  <a:gd name="connsiteY49" fmla="*/ 900906 h 900906"/>
                  <a:gd name="connsiteX50" fmla="*/ 581332 w 2441576"/>
                  <a:gd name="connsiteY50" fmla="*/ 900906 h 900906"/>
                  <a:gd name="connsiteX51" fmla="*/ 471351 w 2441576"/>
                  <a:gd name="connsiteY51" fmla="*/ 900906 h 900906"/>
                  <a:gd name="connsiteX52" fmla="*/ 470246 w 2441576"/>
                  <a:gd name="connsiteY52" fmla="*/ 900906 h 900906"/>
                  <a:gd name="connsiteX53" fmla="*/ 377080 w 2441576"/>
                  <a:gd name="connsiteY53" fmla="*/ 900906 h 900906"/>
                  <a:gd name="connsiteX54" fmla="*/ 282811 w 2441576"/>
                  <a:gd name="connsiteY54" fmla="*/ 900906 h 900906"/>
                  <a:gd name="connsiteX55" fmla="*/ 188541 w 2441576"/>
                  <a:gd name="connsiteY55" fmla="*/ 900906 h 900906"/>
                  <a:gd name="connsiteX56" fmla="*/ 185400 w 2441576"/>
                  <a:gd name="connsiteY56" fmla="*/ 900906 h 900906"/>
                  <a:gd name="connsiteX57" fmla="*/ 94270 w 2441576"/>
                  <a:gd name="connsiteY57" fmla="*/ 900906 h 900906"/>
                  <a:gd name="connsiteX58" fmla="*/ 0 w 2441576"/>
                  <a:gd name="connsiteY58" fmla="*/ 900906 h 900906"/>
                  <a:gd name="connsiteX59" fmla="*/ 0 w 2441576"/>
                  <a:gd name="connsiteY59" fmla="*/ 832298 h 900906"/>
                  <a:gd name="connsiteX60" fmla="*/ 0 w 2441576"/>
                  <a:gd name="connsiteY60" fmla="*/ 760260 h 900906"/>
                  <a:gd name="connsiteX61" fmla="*/ 0 w 2441576"/>
                  <a:gd name="connsiteY61" fmla="*/ 748854 h 900906"/>
                  <a:gd name="connsiteX62" fmla="*/ 0 w 2441576"/>
                  <a:gd name="connsiteY62" fmla="*/ 691652 h 900906"/>
                  <a:gd name="connsiteX63" fmla="*/ 0 w 2441576"/>
                  <a:gd name="connsiteY63" fmla="*/ 608208 h 900906"/>
                  <a:gd name="connsiteX64" fmla="*/ 0 w 2441576"/>
                  <a:gd name="connsiteY64" fmla="*/ 539600 h 900906"/>
                  <a:gd name="connsiteX65" fmla="*/ 0 w 2441576"/>
                  <a:gd name="connsiteY65" fmla="*/ 456156 h 900906"/>
                  <a:gd name="connsiteX66" fmla="*/ 0 w 2441576"/>
                  <a:gd name="connsiteY66" fmla="*/ 387548 h 900906"/>
                  <a:gd name="connsiteX67" fmla="*/ 0 w 2441576"/>
                  <a:gd name="connsiteY67" fmla="*/ 304104 h 900906"/>
                  <a:gd name="connsiteX68" fmla="*/ 0 w 2441576"/>
                  <a:gd name="connsiteY68" fmla="*/ 235496 h 900906"/>
                  <a:gd name="connsiteX69" fmla="*/ 0 w 2441576"/>
                  <a:gd name="connsiteY69" fmla="*/ 152052 h 900906"/>
                  <a:gd name="connsiteX70" fmla="*/ 0 w 2441576"/>
                  <a:gd name="connsiteY70" fmla="*/ 83444 h 900906"/>
                  <a:gd name="connsiteX71" fmla="*/ 0 w 2441576"/>
                  <a:gd name="connsiteY71" fmla="*/ 0 h 900906"/>
                  <a:gd name="connsiteX0" fmla="*/ 0 w 2441576"/>
                  <a:gd name="connsiteY0" fmla="*/ 0 h 900906"/>
                  <a:gd name="connsiteX1" fmla="*/ 94270 w 2441576"/>
                  <a:gd name="connsiteY1" fmla="*/ 0 h 900906"/>
                  <a:gd name="connsiteX2" fmla="*/ 185400 w 2441576"/>
                  <a:gd name="connsiteY2" fmla="*/ 0 h 900906"/>
                  <a:gd name="connsiteX3" fmla="*/ 188541 w 2441576"/>
                  <a:gd name="connsiteY3" fmla="*/ 0 h 900906"/>
                  <a:gd name="connsiteX4" fmla="*/ 282811 w 2441576"/>
                  <a:gd name="connsiteY4" fmla="*/ 0 h 900906"/>
                  <a:gd name="connsiteX5" fmla="*/ 377080 w 2441576"/>
                  <a:gd name="connsiteY5" fmla="*/ 0 h 900906"/>
                  <a:gd name="connsiteX6" fmla="*/ 470246 w 2441576"/>
                  <a:gd name="connsiteY6" fmla="*/ 0 h 900906"/>
                  <a:gd name="connsiteX7" fmla="*/ 471351 w 2441576"/>
                  <a:gd name="connsiteY7" fmla="*/ 0 h 900906"/>
                  <a:gd name="connsiteX8" fmla="*/ 581332 w 2441576"/>
                  <a:gd name="connsiteY8" fmla="*/ 0 h 900906"/>
                  <a:gd name="connsiteX9" fmla="*/ 685028 w 2441576"/>
                  <a:gd name="connsiteY9" fmla="*/ 0 h 900906"/>
                  <a:gd name="connsiteX10" fmla="*/ 755093 w 2441576"/>
                  <a:gd name="connsiteY10" fmla="*/ 0 h 900906"/>
                  <a:gd name="connsiteX11" fmla="*/ 969874 w 2441576"/>
                  <a:gd name="connsiteY11" fmla="*/ 0 h 900906"/>
                  <a:gd name="connsiteX12" fmla="*/ 1039939 w 2441576"/>
                  <a:gd name="connsiteY12" fmla="*/ 0 h 900906"/>
                  <a:gd name="connsiteX13" fmla="*/ 1254721 w 2441576"/>
                  <a:gd name="connsiteY13" fmla="*/ 0 h 900906"/>
                  <a:gd name="connsiteX14" fmla="*/ 1324785 w 2441576"/>
                  <a:gd name="connsiteY14" fmla="*/ 0 h 900906"/>
                  <a:gd name="connsiteX15" fmla="*/ 1539566 w 2441576"/>
                  <a:gd name="connsiteY15" fmla="*/ 0 h 900906"/>
                  <a:gd name="connsiteX16" fmla="*/ 1609632 w 2441576"/>
                  <a:gd name="connsiteY16" fmla="*/ 0 h 900906"/>
                  <a:gd name="connsiteX17" fmla="*/ 1824412 w 2441576"/>
                  <a:gd name="connsiteY17" fmla="*/ 0 h 900906"/>
                  <a:gd name="connsiteX18" fmla="*/ 1941949 w 2441576"/>
                  <a:gd name="connsiteY18" fmla="*/ 0 h 900906"/>
                  <a:gd name="connsiteX19" fmla="*/ 2094866 w 2441576"/>
                  <a:gd name="connsiteY19" fmla="*/ 0 h 900906"/>
                  <a:gd name="connsiteX20" fmla="*/ 2176781 w 2441576"/>
                  <a:gd name="connsiteY20" fmla="*/ 0 h 900906"/>
                  <a:gd name="connsiteX21" fmla="*/ 2258696 w 2441576"/>
                  <a:gd name="connsiteY21" fmla="*/ 0 h 900906"/>
                  <a:gd name="connsiteX22" fmla="*/ 2321561 w 2441576"/>
                  <a:gd name="connsiteY22" fmla="*/ 0 h 900906"/>
                  <a:gd name="connsiteX23" fmla="*/ 2441576 w 2441576"/>
                  <a:gd name="connsiteY23" fmla="*/ 0 h 900906"/>
                  <a:gd name="connsiteX24" fmla="*/ 2441576 w 2441576"/>
                  <a:gd name="connsiteY24" fmla="*/ 83444 h 900906"/>
                  <a:gd name="connsiteX25" fmla="*/ 2441576 w 2441576"/>
                  <a:gd name="connsiteY25" fmla="*/ 152052 h 900906"/>
                  <a:gd name="connsiteX26" fmla="*/ 2441576 w 2441576"/>
                  <a:gd name="connsiteY26" fmla="*/ 235496 h 900906"/>
                  <a:gd name="connsiteX27" fmla="*/ 2441576 w 2441576"/>
                  <a:gd name="connsiteY27" fmla="*/ 304104 h 900906"/>
                  <a:gd name="connsiteX28" fmla="*/ 2441576 w 2441576"/>
                  <a:gd name="connsiteY28" fmla="*/ 387548 h 900906"/>
                  <a:gd name="connsiteX29" fmla="*/ 2441576 w 2441576"/>
                  <a:gd name="connsiteY29" fmla="*/ 456156 h 900906"/>
                  <a:gd name="connsiteX30" fmla="*/ 2441576 w 2441576"/>
                  <a:gd name="connsiteY30" fmla="*/ 539600 h 900906"/>
                  <a:gd name="connsiteX31" fmla="*/ 2441576 w 2441576"/>
                  <a:gd name="connsiteY31" fmla="*/ 608208 h 900906"/>
                  <a:gd name="connsiteX32" fmla="*/ 2441576 w 2441576"/>
                  <a:gd name="connsiteY32" fmla="*/ 691652 h 900906"/>
                  <a:gd name="connsiteX33" fmla="*/ 2441576 w 2441576"/>
                  <a:gd name="connsiteY33" fmla="*/ 760260 h 900906"/>
                  <a:gd name="connsiteX34" fmla="*/ 2441576 w 2441576"/>
                  <a:gd name="connsiteY34" fmla="*/ 832298 h 900906"/>
                  <a:gd name="connsiteX35" fmla="*/ 2441576 w 2441576"/>
                  <a:gd name="connsiteY35" fmla="*/ 900906 h 900906"/>
                  <a:gd name="connsiteX36" fmla="*/ 2321561 w 2441576"/>
                  <a:gd name="connsiteY36" fmla="*/ 900906 h 900906"/>
                  <a:gd name="connsiteX37" fmla="*/ 2239646 w 2441576"/>
                  <a:gd name="connsiteY37" fmla="*/ 900906 h 900906"/>
                  <a:gd name="connsiteX38" fmla="*/ 2176781 w 2441576"/>
                  <a:gd name="connsiteY38" fmla="*/ 900906 h 900906"/>
                  <a:gd name="connsiteX39" fmla="*/ 2109259 w 2441576"/>
                  <a:gd name="connsiteY39" fmla="*/ 900906 h 900906"/>
                  <a:gd name="connsiteX40" fmla="*/ 1941949 w 2441576"/>
                  <a:gd name="connsiteY40" fmla="*/ 900906 h 900906"/>
                  <a:gd name="connsiteX41" fmla="*/ 1824412 w 2441576"/>
                  <a:gd name="connsiteY41" fmla="*/ 900906 h 900906"/>
                  <a:gd name="connsiteX42" fmla="*/ 1609632 w 2441576"/>
                  <a:gd name="connsiteY42" fmla="*/ 900906 h 900906"/>
                  <a:gd name="connsiteX43" fmla="*/ 1539566 w 2441576"/>
                  <a:gd name="connsiteY43" fmla="*/ 900906 h 900906"/>
                  <a:gd name="connsiteX44" fmla="*/ 1324785 w 2441576"/>
                  <a:gd name="connsiteY44" fmla="*/ 900906 h 900906"/>
                  <a:gd name="connsiteX45" fmla="*/ 1254721 w 2441576"/>
                  <a:gd name="connsiteY45" fmla="*/ 900906 h 900906"/>
                  <a:gd name="connsiteX46" fmla="*/ 1039939 w 2441576"/>
                  <a:gd name="connsiteY46" fmla="*/ 900906 h 900906"/>
                  <a:gd name="connsiteX47" fmla="*/ 969874 w 2441576"/>
                  <a:gd name="connsiteY47" fmla="*/ 900906 h 900906"/>
                  <a:gd name="connsiteX48" fmla="*/ 755093 w 2441576"/>
                  <a:gd name="connsiteY48" fmla="*/ 900906 h 900906"/>
                  <a:gd name="connsiteX49" fmla="*/ 685028 w 2441576"/>
                  <a:gd name="connsiteY49" fmla="*/ 900906 h 900906"/>
                  <a:gd name="connsiteX50" fmla="*/ 581332 w 2441576"/>
                  <a:gd name="connsiteY50" fmla="*/ 900906 h 900906"/>
                  <a:gd name="connsiteX51" fmla="*/ 471351 w 2441576"/>
                  <a:gd name="connsiteY51" fmla="*/ 900906 h 900906"/>
                  <a:gd name="connsiteX52" fmla="*/ 470246 w 2441576"/>
                  <a:gd name="connsiteY52" fmla="*/ 900906 h 900906"/>
                  <a:gd name="connsiteX53" fmla="*/ 377080 w 2441576"/>
                  <a:gd name="connsiteY53" fmla="*/ 900906 h 900906"/>
                  <a:gd name="connsiteX54" fmla="*/ 282811 w 2441576"/>
                  <a:gd name="connsiteY54" fmla="*/ 900906 h 900906"/>
                  <a:gd name="connsiteX55" fmla="*/ 188541 w 2441576"/>
                  <a:gd name="connsiteY55" fmla="*/ 900906 h 900906"/>
                  <a:gd name="connsiteX56" fmla="*/ 185400 w 2441576"/>
                  <a:gd name="connsiteY56" fmla="*/ 900906 h 900906"/>
                  <a:gd name="connsiteX57" fmla="*/ 94270 w 2441576"/>
                  <a:gd name="connsiteY57" fmla="*/ 900906 h 900906"/>
                  <a:gd name="connsiteX58" fmla="*/ 0 w 2441576"/>
                  <a:gd name="connsiteY58" fmla="*/ 900906 h 900906"/>
                  <a:gd name="connsiteX59" fmla="*/ 0 w 2441576"/>
                  <a:gd name="connsiteY59" fmla="*/ 832298 h 900906"/>
                  <a:gd name="connsiteX60" fmla="*/ 0 w 2441576"/>
                  <a:gd name="connsiteY60" fmla="*/ 760260 h 900906"/>
                  <a:gd name="connsiteX61" fmla="*/ 0 w 2441576"/>
                  <a:gd name="connsiteY61" fmla="*/ 691652 h 900906"/>
                  <a:gd name="connsiteX62" fmla="*/ 0 w 2441576"/>
                  <a:gd name="connsiteY62" fmla="*/ 608208 h 900906"/>
                  <a:gd name="connsiteX63" fmla="*/ 0 w 2441576"/>
                  <a:gd name="connsiteY63" fmla="*/ 539600 h 900906"/>
                  <a:gd name="connsiteX64" fmla="*/ 0 w 2441576"/>
                  <a:gd name="connsiteY64" fmla="*/ 456156 h 900906"/>
                  <a:gd name="connsiteX65" fmla="*/ 0 w 2441576"/>
                  <a:gd name="connsiteY65" fmla="*/ 387548 h 900906"/>
                  <a:gd name="connsiteX66" fmla="*/ 0 w 2441576"/>
                  <a:gd name="connsiteY66" fmla="*/ 304104 h 900906"/>
                  <a:gd name="connsiteX67" fmla="*/ 0 w 2441576"/>
                  <a:gd name="connsiteY67" fmla="*/ 235496 h 900906"/>
                  <a:gd name="connsiteX68" fmla="*/ 0 w 2441576"/>
                  <a:gd name="connsiteY68" fmla="*/ 152052 h 900906"/>
                  <a:gd name="connsiteX69" fmla="*/ 0 w 2441576"/>
                  <a:gd name="connsiteY69" fmla="*/ 83444 h 900906"/>
                  <a:gd name="connsiteX70" fmla="*/ 0 w 2441576"/>
                  <a:gd name="connsiteY70" fmla="*/ 0 h 900906"/>
                  <a:gd name="connsiteX0" fmla="*/ 0 w 2441576"/>
                  <a:gd name="connsiteY0" fmla="*/ 247 h 901153"/>
                  <a:gd name="connsiteX1" fmla="*/ 94270 w 2441576"/>
                  <a:gd name="connsiteY1" fmla="*/ 247 h 901153"/>
                  <a:gd name="connsiteX2" fmla="*/ 185400 w 2441576"/>
                  <a:gd name="connsiteY2" fmla="*/ 247 h 901153"/>
                  <a:gd name="connsiteX3" fmla="*/ 188541 w 2441576"/>
                  <a:gd name="connsiteY3" fmla="*/ 247 h 901153"/>
                  <a:gd name="connsiteX4" fmla="*/ 282811 w 2441576"/>
                  <a:gd name="connsiteY4" fmla="*/ 247 h 901153"/>
                  <a:gd name="connsiteX5" fmla="*/ 377080 w 2441576"/>
                  <a:gd name="connsiteY5" fmla="*/ 247 h 901153"/>
                  <a:gd name="connsiteX6" fmla="*/ 470246 w 2441576"/>
                  <a:gd name="connsiteY6" fmla="*/ 247 h 901153"/>
                  <a:gd name="connsiteX7" fmla="*/ 471351 w 2441576"/>
                  <a:gd name="connsiteY7" fmla="*/ 247 h 901153"/>
                  <a:gd name="connsiteX8" fmla="*/ 581332 w 2441576"/>
                  <a:gd name="connsiteY8" fmla="*/ 247 h 901153"/>
                  <a:gd name="connsiteX9" fmla="*/ 685028 w 2441576"/>
                  <a:gd name="connsiteY9" fmla="*/ 247 h 901153"/>
                  <a:gd name="connsiteX10" fmla="*/ 755093 w 2441576"/>
                  <a:gd name="connsiteY10" fmla="*/ 247 h 901153"/>
                  <a:gd name="connsiteX11" fmla="*/ 969874 w 2441576"/>
                  <a:gd name="connsiteY11" fmla="*/ 247 h 901153"/>
                  <a:gd name="connsiteX12" fmla="*/ 1039939 w 2441576"/>
                  <a:gd name="connsiteY12" fmla="*/ 247 h 901153"/>
                  <a:gd name="connsiteX13" fmla="*/ 1254721 w 2441576"/>
                  <a:gd name="connsiteY13" fmla="*/ 247 h 901153"/>
                  <a:gd name="connsiteX14" fmla="*/ 1324785 w 2441576"/>
                  <a:gd name="connsiteY14" fmla="*/ 247 h 901153"/>
                  <a:gd name="connsiteX15" fmla="*/ 1430031 w 2441576"/>
                  <a:gd name="connsiteY15" fmla="*/ 0 h 901153"/>
                  <a:gd name="connsiteX16" fmla="*/ 1539566 w 2441576"/>
                  <a:gd name="connsiteY16" fmla="*/ 247 h 901153"/>
                  <a:gd name="connsiteX17" fmla="*/ 1609632 w 2441576"/>
                  <a:gd name="connsiteY17" fmla="*/ 247 h 901153"/>
                  <a:gd name="connsiteX18" fmla="*/ 1824412 w 2441576"/>
                  <a:gd name="connsiteY18" fmla="*/ 247 h 901153"/>
                  <a:gd name="connsiteX19" fmla="*/ 1941949 w 2441576"/>
                  <a:gd name="connsiteY19" fmla="*/ 247 h 901153"/>
                  <a:gd name="connsiteX20" fmla="*/ 2094866 w 2441576"/>
                  <a:gd name="connsiteY20" fmla="*/ 247 h 901153"/>
                  <a:gd name="connsiteX21" fmla="*/ 2176781 w 2441576"/>
                  <a:gd name="connsiteY21" fmla="*/ 247 h 901153"/>
                  <a:gd name="connsiteX22" fmla="*/ 2258696 w 2441576"/>
                  <a:gd name="connsiteY22" fmla="*/ 247 h 901153"/>
                  <a:gd name="connsiteX23" fmla="*/ 2321561 w 2441576"/>
                  <a:gd name="connsiteY23" fmla="*/ 247 h 901153"/>
                  <a:gd name="connsiteX24" fmla="*/ 2441576 w 2441576"/>
                  <a:gd name="connsiteY24" fmla="*/ 247 h 901153"/>
                  <a:gd name="connsiteX25" fmla="*/ 2441576 w 2441576"/>
                  <a:gd name="connsiteY25" fmla="*/ 83691 h 901153"/>
                  <a:gd name="connsiteX26" fmla="*/ 2441576 w 2441576"/>
                  <a:gd name="connsiteY26" fmla="*/ 152299 h 901153"/>
                  <a:gd name="connsiteX27" fmla="*/ 2441576 w 2441576"/>
                  <a:gd name="connsiteY27" fmla="*/ 235743 h 901153"/>
                  <a:gd name="connsiteX28" fmla="*/ 2441576 w 2441576"/>
                  <a:gd name="connsiteY28" fmla="*/ 304351 h 901153"/>
                  <a:gd name="connsiteX29" fmla="*/ 2441576 w 2441576"/>
                  <a:gd name="connsiteY29" fmla="*/ 387795 h 901153"/>
                  <a:gd name="connsiteX30" fmla="*/ 2441576 w 2441576"/>
                  <a:gd name="connsiteY30" fmla="*/ 456403 h 901153"/>
                  <a:gd name="connsiteX31" fmla="*/ 2441576 w 2441576"/>
                  <a:gd name="connsiteY31" fmla="*/ 539847 h 901153"/>
                  <a:gd name="connsiteX32" fmla="*/ 2441576 w 2441576"/>
                  <a:gd name="connsiteY32" fmla="*/ 608455 h 901153"/>
                  <a:gd name="connsiteX33" fmla="*/ 2441576 w 2441576"/>
                  <a:gd name="connsiteY33" fmla="*/ 691899 h 901153"/>
                  <a:gd name="connsiteX34" fmla="*/ 2441576 w 2441576"/>
                  <a:gd name="connsiteY34" fmla="*/ 760507 h 901153"/>
                  <a:gd name="connsiteX35" fmla="*/ 2441576 w 2441576"/>
                  <a:gd name="connsiteY35" fmla="*/ 832545 h 901153"/>
                  <a:gd name="connsiteX36" fmla="*/ 2441576 w 2441576"/>
                  <a:gd name="connsiteY36" fmla="*/ 901153 h 901153"/>
                  <a:gd name="connsiteX37" fmla="*/ 2321561 w 2441576"/>
                  <a:gd name="connsiteY37" fmla="*/ 901153 h 901153"/>
                  <a:gd name="connsiteX38" fmla="*/ 2239646 w 2441576"/>
                  <a:gd name="connsiteY38" fmla="*/ 901153 h 901153"/>
                  <a:gd name="connsiteX39" fmla="*/ 2176781 w 2441576"/>
                  <a:gd name="connsiteY39" fmla="*/ 901153 h 901153"/>
                  <a:gd name="connsiteX40" fmla="*/ 2109259 w 2441576"/>
                  <a:gd name="connsiteY40" fmla="*/ 901153 h 901153"/>
                  <a:gd name="connsiteX41" fmla="*/ 1941949 w 2441576"/>
                  <a:gd name="connsiteY41" fmla="*/ 901153 h 901153"/>
                  <a:gd name="connsiteX42" fmla="*/ 1824412 w 2441576"/>
                  <a:gd name="connsiteY42" fmla="*/ 901153 h 901153"/>
                  <a:gd name="connsiteX43" fmla="*/ 1609632 w 2441576"/>
                  <a:gd name="connsiteY43" fmla="*/ 901153 h 901153"/>
                  <a:gd name="connsiteX44" fmla="*/ 1539566 w 2441576"/>
                  <a:gd name="connsiteY44" fmla="*/ 901153 h 901153"/>
                  <a:gd name="connsiteX45" fmla="*/ 1324785 w 2441576"/>
                  <a:gd name="connsiteY45" fmla="*/ 901153 h 901153"/>
                  <a:gd name="connsiteX46" fmla="*/ 1254721 w 2441576"/>
                  <a:gd name="connsiteY46" fmla="*/ 901153 h 901153"/>
                  <a:gd name="connsiteX47" fmla="*/ 1039939 w 2441576"/>
                  <a:gd name="connsiteY47" fmla="*/ 901153 h 901153"/>
                  <a:gd name="connsiteX48" fmla="*/ 969874 w 2441576"/>
                  <a:gd name="connsiteY48" fmla="*/ 901153 h 901153"/>
                  <a:gd name="connsiteX49" fmla="*/ 755093 w 2441576"/>
                  <a:gd name="connsiteY49" fmla="*/ 901153 h 901153"/>
                  <a:gd name="connsiteX50" fmla="*/ 685028 w 2441576"/>
                  <a:gd name="connsiteY50" fmla="*/ 901153 h 901153"/>
                  <a:gd name="connsiteX51" fmla="*/ 581332 w 2441576"/>
                  <a:gd name="connsiteY51" fmla="*/ 901153 h 901153"/>
                  <a:gd name="connsiteX52" fmla="*/ 471351 w 2441576"/>
                  <a:gd name="connsiteY52" fmla="*/ 901153 h 901153"/>
                  <a:gd name="connsiteX53" fmla="*/ 470246 w 2441576"/>
                  <a:gd name="connsiteY53" fmla="*/ 901153 h 901153"/>
                  <a:gd name="connsiteX54" fmla="*/ 377080 w 2441576"/>
                  <a:gd name="connsiteY54" fmla="*/ 901153 h 901153"/>
                  <a:gd name="connsiteX55" fmla="*/ 282811 w 2441576"/>
                  <a:gd name="connsiteY55" fmla="*/ 901153 h 901153"/>
                  <a:gd name="connsiteX56" fmla="*/ 188541 w 2441576"/>
                  <a:gd name="connsiteY56" fmla="*/ 901153 h 901153"/>
                  <a:gd name="connsiteX57" fmla="*/ 185400 w 2441576"/>
                  <a:gd name="connsiteY57" fmla="*/ 901153 h 901153"/>
                  <a:gd name="connsiteX58" fmla="*/ 94270 w 2441576"/>
                  <a:gd name="connsiteY58" fmla="*/ 901153 h 901153"/>
                  <a:gd name="connsiteX59" fmla="*/ 0 w 2441576"/>
                  <a:gd name="connsiteY59" fmla="*/ 901153 h 901153"/>
                  <a:gd name="connsiteX60" fmla="*/ 0 w 2441576"/>
                  <a:gd name="connsiteY60" fmla="*/ 832545 h 901153"/>
                  <a:gd name="connsiteX61" fmla="*/ 0 w 2441576"/>
                  <a:gd name="connsiteY61" fmla="*/ 760507 h 901153"/>
                  <a:gd name="connsiteX62" fmla="*/ 0 w 2441576"/>
                  <a:gd name="connsiteY62" fmla="*/ 691899 h 901153"/>
                  <a:gd name="connsiteX63" fmla="*/ 0 w 2441576"/>
                  <a:gd name="connsiteY63" fmla="*/ 608455 h 901153"/>
                  <a:gd name="connsiteX64" fmla="*/ 0 w 2441576"/>
                  <a:gd name="connsiteY64" fmla="*/ 539847 h 901153"/>
                  <a:gd name="connsiteX65" fmla="*/ 0 w 2441576"/>
                  <a:gd name="connsiteY65" fmla="*/ 456403 h 901153"/>
                  <a:gd name="connsiteX66" fmla="*/ 0 w 2441576"/>
                  <a:gd name="connsiteY66" fmla="*/ 387795 h 901153"/>
                  <a:gd name="connsiteX67" fmla="*/ 0 w 2441576"/>
                  <a:gd name="connsiteY67" fmla="*/ 304351 h 901153"/>
                  <a:gd name="connsiteX68" fmla="*/ 0 w 2441576"/>
                  <a:gd name="connsiteY68" fmla="*/ 235743 h 901153"/>
                  <a:gd name="connsiteX69" fmla="*/ 0 w 2441576"/>
                  <a:gd name="connsiteY69" fmla="*/ 152299 h 901153"/>
                  <a:gd name="connsiteX70" fmla="*/ 0 w 2441576"/>
                  <a:gd name="connsiteY70" fmla="*/ 83691 h 901153"/>
                  <a:gd name="connsiteX71" fmla="*/ 0 w 2441576"/>
                  <a:gd name="connsiteY71" fmla="*/ 247 h 901153"/>
                  <a:gd name="connsiteX0" fmla="*/ 0 w 2441576"/>
                  <a:gd name="connsiteY0" fmla="*/ 247 h 901154"/>
                  <a:gd name="connsiteX1" fmla="*/ 94270 w 2441576"/>
                  <a:gd name="connsiteY1" fmla="*/ 247 h 901154"/>
                  <a:gd name="connsiteX2" fmla="*/ 185400 w 2441576"/>
                  <a:gd name="connsiteY2" fmla="*/ 247 h 901154"/>
                  <a:gd name="connsiteX3" fmla="*/ 188541 w 2441576"/>
                  <a:gd name="connsiteY3" fmla="*/ 247 h 901154"/>
                  <a:gd name="connsiteX4" fmla="*/ 282811 w 2441576"/>
                  <a:gd name="connsiteY4" fmla="*/ 247 h 901154"/>
                  <a:gd name="connsiteX5" fmla="*/ 377080 w 2441576"/>
                  <a:gd name="connsiteY5" fmla="*/ 247 h 901154"/>
                  <a:gd name="connsiteX6" fmla="*/ 470246 w 2441576"/>
                  <a:gd name="connsiteY6" fmla="*/ 247 h 901154"/>
                  <a:gd name="connsiteX7" fmla="*/ 471351 w 2441576"/>
                  <a:gd name="connsiteY7" fmla="*/ 247 h 901154"/>
                  <a:gd name="connsiteX8" fmla="*/ 581332 w 2441576"/>
                  <a:gd name="connsiteY8" fmla="*/ 247 h 901154"/>
                  <a:gd name="connsiteX9" fmla="*/ 685028 w 2441576"/>
                  <a:gd name="connsiteY9" fmla="*/ 247 h 901154"/>
                  <a:gd name="connsiteX10" fmla="*/ 755093 w 2441576"/>
                  <a:gd name="connsiteY10" fmla="*/ 247 h 901154"/>
                  <a:gd name="connsiteX11" fmla="*/ 969874 w 2441576"/>
                  <a:gd name="connsiteY11" fmla="*/ 247 h 901154"/>
                  <a:gd name="connsiteX12" fmla="*/ 1039939 w 2441576"/>
                  <a:gd name="connsiteY12" fmla="*/ 247 h 901154"/>
                  <a:gd name="connsiteX13" fmla="*/ 1254721 w 2441576"/>
                  <a:gd name="connsiteY13" fmla="*/ 247 h 901154"/>
                  <a:gd name="connsiteX14" fmla="*/ 1324785 w 2441576"/>
                  <a:gd name="connsiteY14" fmla="*/ 247 h 901154"/>
                  <a:gd name="connsiteX15" fmla="*/ 1430031 w 2441576"/>
                  <a:gd name="connsiteY15" fmla="*/ 0 h 901154"/>
                  <a:gd name="connsiteX16" fmla="*/ 1539566 w 2441576"/>
                  <a:gd name="connsiteY16" fmla="*/ 247 h 901154"/>
                  <a:gd name="connsiteX17" fmla="*/ 1609632 w 2441576"/>
                  <a:gd name="connsiteY17" fmla="*/ 247 h 901154"/>
                  <a:gd name="connsiteX18" fmla="*/ 1824412 w 2441576"/>
                  <a:gd name="connsiteY18" fmla="*/ 247 h 901154"/>
                  <a:gd name="connsiteX19" fmla="*/ 1941949 w 2441576"/>
                  <a:gd name="connsiteY19" fmla="*/ 247 h 901154"/>
                  <a:gd name="connsiteX20" fmla="*/ 2094866 w 2441576"/>
                  <a:gd name="connsiteY20" fmla="*/ 247 h 901154"/>
                  <a:gd name="connsiteX21" fmla="*/ 2176781 w 2441576"/>
                  <a:gd name="connsiteY21" fmla="*/ 247 h 901154"/>
                  <a:gd name="connsiteX22" fmla="*/ 2258696 w 2441576"/>
                  <a:gd name="connsiteY22" fmla="*/ 247 h 901154"/>
                  <a:gd name="connsiteX23" fmla="*/ 2321561 w 2441576"/>
                  <a:gd name="connsiteY23" fmla="*/ 247 h 901154"/>
                  <a:gd name="connsiteX24" fmla="*/ 2441576 w 2441576"/>
                  <a:gd name="connsiteY24" fmla="*/ 247 h 901154"/>
                  <a:gd name="connsiteX25" fmla="*/ 2441576 w 2441576"/>
                  <a:gd name="connsiteY25" fmla="*/ 83691 h 901154"/>
                  <a:gd name="connsiteX26" fmla="*/ 2441576 w 2441576"/>
                  <a:gd name="connsiteY26" fmla="*/ 152299 h 901154"/>
                  <a:gd name="connsiteX27" fmla="*/ 2441576 w 2441576"/>
                  <a:gd name="connsiteY27" fmla="*/ 235743 h 901154"/>
                  <a:gd name="connsiteX28" fmla="*/ 2441576 w 2441576"/>
                  <a:gd name="connsiteY28" fmla="*/ 304351 h 901154"/>
                  <a:gd name="connsiteX29" fmla="*/ 2441576 w 2441576"/>
                  <a:gd name="connsiteY29" fmla="*/ 387795 h 901154"/>
                  <a:gd name="connsiteX30" fmla="*/ 2441576 w 2441576"/>
                  <a:gd name="connsiteY30" fmla="*/ 456403 h 901154"/>
                  <a:gd name="connsiteX31" fmla="*/ 2441576 w 2441576"/>
                  <a:gd name="connsiteY31" fmla="*/ 539847 h 901154"/>
                  <a:gd name="connsiteX32" fmla="*/ 2441576 w 2441576"/>
                  <a:gd name="connsiteY32" fmla="*/ 608455 h 901154"/>
                  <a:gd name="connsiteX33" fmla="*/ 2441576 w 2441576"/>
                  <a:gd name="connsiteY33" fmla="*/ 691899 h 901154"/>
                  <a:gd name="connsiteX34" fmla="*/ 2441576 w 2441576"/>
                  <a:gd name="connsiteY34" fmla="*/ 760507 h 901154"/>
                  <a:gd name="connsiteX35" fmla="*/ 2441576 w 2441576"/>
                  <a:gd name="connsiteY35" fmla="*/ 832545 h 901154"/>
                  <a:gd name="connsiteX36" fmla="*/ 2441576 w 2441576"/>
                  <a:gd name="connsiteY36" fmla="*/ 901153 h 901154"/>
                  <a:gd name="connsiteX37" fmla="*/ 2321561 w 2441576"/>
                  <a:gd name="connsiteY37" fmla="*/ 901153 h 901154"/>
                  <a:gd name="connsiteX38" fmla="*/ 2239646 w 2441576"/>
                  <a:gd name="connsiteY38" fmla="*/ 901153 h 901154"/>
                  <a:gd name="connsiteX39" fmla="*/ 2176781 w 2441576"/>
                  <a:gd name="connsiteY39" fmla="*/ 901153 h 901154"/>
                  <a:gd name="connsiteX40" fmla="*/ 2109259 w 2441576"/>
                  <a:gd name="connsiteY40" fmla="*/ 901153 h 901154"/>
                  <a:gd name="connsiteX41" fmla="*/ 1941949 w 2441576"/>
                  <a:gd name="connsiteY41" fmla="*/ 901153 h 901154"/>
                  <a:gd name="connsiteX42" fmla="*/ 1824412 w 2441576"/>
                  <a:gd name="connsiteY42" fmla="*/ 901153 h 901154"/>
                  <a:gd name="connsiteX43" fmla="*/ 1609632 w 2441576"/>
                  <a:gd name="connsiteY43" fmla="*/ 901153 h 901154"/>
                  <a:gd name="connsiteX44" fmla="*/ 1539566 w 2441576"/>
                  <a:gd name="connsiteY44" fmla="*/ 901153 h 901154"/>
                  <a:gd name="connsiteX45" fmla="*/ 1324785 w 2441576"/>
                  <a:gd name="connsiteY45" fmla="*/ 901153 h 901154"/>
                  <a:gd name="connsiteX46" fmla="*/ 1254721 w 2441576"/>
                  <a:gd name="connsiteY46" fmla="*/ 901153 h 901154"/>
                  <a:gd name="connsiteX47" fmla="*/ 1039939 w 2441576"/>
                  <a:gd name="connsiteY47" fmla="*/ 901153 h 901154"/>
                  <a:gd name="connsiteX48" fmla="*/ 969874 w 2441576"/>
                  <a:gd name="connsiteY48" fmla="*/ 901153 h 901154"/>
                  <a:gd name="connsiteX49" fmla="*/ 864820 w 2441576"/>
                  <a:gd name="connsiteY49" fmla="*/ 901154 h 901154"/>
                  <a:gd name="connsiteX50" fmla="*/ 755093 w 2441576"/>
                  <a:gd name="connsiteY50" fmla="*/ 901153 h 901154"/>
                  <a:gd name="connsiteX51" fmla="*/ 685028 w 2441576"/>
                  <a:gd name="connsiteY51" fmla="*/ 901153 h 901154"/>
                  <a:gd name="connsiteX52" fmla="*/ 581332 w 2441576"/>
                  <a:gd name="connsiteY52" fmla="*/ 901153 h 901154"/>
                  <a:gd name="connsiteX53" fmla="*/ 471351 w 2441576"/>
                  <a:gd name="connsiteY53" fmla="*/ 901153 h 901154"/>
                  <a:gd name="connsiteX54" fmla="*/ 470246 w 2441576"/>
                  <a:gd name="connsiteY54" fmla="*/ 901153 h 901154"/>
                  <a:gd name="connsiteX55" fmla="*/ 377080 w 2441576"/>
                  <a:gd name="connsiteY55" fmla="*/ 901153 h 901154"/>
                  <a:gd name="connsiteX56" fmla="*/ 282811 w 2441576"/>
                  <a:gd name="connsiteY56" fmla="*/ 901153 h 901154"/>
                  <a:gd name="connsiteX57" fmla="*/ 188541 w 2441576"/>
                  <a:gd name="connsiteY57" fmla="*/ 901153 h 901154"/>
                  <a:gd name="connsiteX58" fmla="*/ 185400 w 2441576"/>
                  <a:gd name="connsiteY58" fmla="*/ 901153 h 901154"/>
                  <a:gd name="connsiteX59" fmla="*/ 94270 w 2441576"/>
                  <a:gd name="connsiteY59" fmla="*/ 901153 h 901154"/>
                  <a:gd name="connsiteX60" fmla="*/ 0 w 2441576"/>
                  <a:gd name="connsiteY60" fmla="*/ 901153 h 901154"/>
                  <a:gd name="connsiteX61" fmla="*/ 0 w 2441576"/>
                  <a:gd name="connsiteY61" fmla="*/ 832545 h 901154"/>
                  <a:gd name="connsiteX62" fmla="*/ 0 w 2441576"/>
                  <a:gd name="connsiteY62" fmla="*/ 760507 h 901154"/>
                  <a:gd name="connsiteX63" fmla="*/ 0 w 2441576"/>
                  <a:gd name="connsiteY63" fmla="*/ 691899 h 901154"/>
                  <a:gd name="connsiteX64" fmla="*/ 0 w 2441576"/>
                  <a:gd name="connsiteY64" fmla="*/ 608455 h 901154"/>
                  <a:gd name="connsiteX65" fmla="*/ 0 w 2441576"/>
                  <a:gd name="connsiteY65" fmla="*/ 539847 h 901154"/>
                  <a:gd name="connsiteX66" fmla="*/ 0 w 2441576"/>
                  <a:gd name="connsiteY66" fmla="*/ 456403 h 901154"/>
                  <a:gd name="connsiteX67" fmla="*/ 0 w 2441576"/>
                  <a:gd name="connsiteY67" fmla="*/ 387795 h 901154"/>
                  <a:gd name="connsiteX68" fmla="*/ 0 w 2441576"/>
                  <a:gd name="connsiteY68" fmla="*/ 304351 h 901154"/>
                  <a:gd name="connsiteX69" fmla="*/ 0 w 2441576"/>
                  <a:gd name="connsiteY69" fmla="*/ 235743 h 901154"/>
                  <a:gd name="connsiteX70" fmla="*/ 0 w 2441576"/>
                  <a:gd name="connsiteY70" fmla="*/ 152299 h 901154"/>
                  <a:gd name="connsiteX71" fmla="*/ 0 w 2441576"/>
                  <a:gd name="connsiteY71" fmla="*/ 83691 h 901154"/>
                  <a:gd name="connsiteX72" fmla="*/ 0 w 2441576"/>
                  <a:gd name="connsiteY72" fmla="*/ 247 h 901154"/>
                  <a:gd name="connsiteX0" fmla="*/ 0 w 2441576"/>
                  <a:gd name="connsiteY0" fmla="*/ 247 h 901154"/>
                  <a:gd name="connsiteX1" fmla="*/ 94270 w 2441576"/>
                  <a:gd name="connsiteY1" fmla="*/ 247 h 901154"/>
                  <a:gd name="connsiteX2" fmla="*/ 185400 w 2441576"/>
                  <a:gd name="connsiteY2" fmla="*/ 247 h 901154"/>
                  <a:gd name="connsiteX3" fmla="*/ 188541 w 2441576"/>
                  <a:gd name="connsiteY3" fmla="*/ 247 h 901154"/>
                  <a:gd name="connsiteX4" fmla="*/ 282811 w 2441576"/>
                  <a:gd name="connsiteY4" fmla="*/ 247 h 901154"/>
                  <a:gd name="connsiteX5" fmla="*/ 377080 w 2441576"/>
                  <a:gd name="connsiteY5" fmla="*/ 247 h 901154"/>
                  <a:gd name="connsiteX6" fmla="*/ 470246 w 2441576"/>
                  <a:gd name="connsiteY6" fmla="*/ 247 h 901154"/>
                  <a:gd name="connsiteX7" fmla="*/ 471351 w 2441576"/>
                  <a:gd name="connsiteY7" fmla="*/ 247 h 901154"/>
                  <a:gd name="connsiteX8" fmla="*/ 581332 w 2441576"/>
                  <a:gd name="connsiteY8" fmla="*/ 247 h 901154"/>
                  <a:gd name="connsiteX9" fmla="*/ 685028 w 2441576"/>
                  <a:gd name="connsiteY9" fmla="*/ 247 h 901154"/>
                  <a:gd name="connsiteX10" fmla="*/ 755093 w 2441576"/>
                  <a:gd name="connsiteY10" fmla="*/ 247 h 901154"/>
                  <a:gd name="connsiteX11" fmla="*/ 969874 w 2441576"/>
                  <a:gd name="connsiteY11" fmla="*/ 247 h 901154"/>
                  <a:gd name="connsiteX12" fmla="*/ 1039939 w 2441576"/>
                  <a:gd name="connsiteY12" fmla="*/ 247 h 901154"/>
                  <a:gd name="connsiteX13" fmla="*/ 1254721 w 2441576"/>
                  <a:gd name="connsiteY13" fmla="*/ 247 h 901154"/>
                  <a:gd name="connsiteX14" fmla="*/ 1324785 w 2441576"/>
                  <a:gd name="connsiteY14" fmla="*/ 247 h 901154"/>
                  <a:gd name="connsiteX15" fmla="*/ 1430031 w 2441576"/>
                  <a:gd name="connsiteY15" fmla="*/ 0 h 901154"/>
                  <a:gd name="connsiteX16" fmla="*/ 1539566 w 2441576"/>
                  <a:gd name="connsiteY16" fmla="*/ 247 h 901154"/>
                  <a:gd name="connsiteX17" fmla="*/ 1609632 w 2441576"/>
                  <a:gd name="connsiteY17" fmla="*/ 247 h 901154"/>
                  <a:gd name="connsiteX18" fmla="*/ 1824412 w 2441576"/>
                  <a:gd name="connsiteY18" fmla="*/ 247 h 901154"/>
                  <a:gd name="connsiteX19" fmla="*/ 1941949 w 2441576"/>
                  <a:gd name="connsiteY19" fmla="*/ 247 h 901154"/>
                  <a:gd name="connsiteX20" fmla="*/ 2094866 w 2441576"/>
                  <a:gd name="connsiteY20" fmla="*/ 247 h 901154"/>
                  <a:gd name="connsiteX21" fmla="*/ 2176781 w 2441576"/>
                  <a:gd name="connsiteY21" fmla="*/ 247 h 901154"/>
                  <a:gd name="connsiteX22" fmla="*/ 2258696 w 2441576"/>
                  <a:gd name="connsiteY22" fmla="*/ 247 h 901154"/>
                  <a:gd name="connsiteX23" fmla="*/ 2321561 w 2441576"/>
                  <a:gd name="connsiteY23" fmla="*/ 247 h 901154"/>
                  <a:gd name="connsiteX24" fmla="*/ 2441576 w 2441576"/>
                  <a:gd name="connsiteY24" fmla="*/ 247 h 901154"/>
                  <a:gd name="connsiteX25" fmla="*/ 2441576 w 2441576"/>
                  <a:gd name="connsiteY25" fmla="*/ 83691 h 901154"/>
                  <a:gd name="connsiteX26" fmla="*/ 2441576 w 2441576"/>
                  <a:gd name="connsiteY26" fmla="*/ 152299 h 901154"/>
                  <a:gd name="connsiteX27" fmla="*/ 2441576 w 2441576"/>
                  <a:gd name="connsiteY27" fmla="*/ 235743 h 901154"/>
                  <a:gd name="connsiteX28" fmla="*/ 2441576 w 2441576"/>
                  <a:gd name="connsiteY28" fmla="*/ 304351 h 901154"/>
                  <a:gd name="connsiteX29" fmla="*/ 2441576 w 2441576"/>
                  <a:gd name="connsiteY29" fmla="*/ 387795 h 901154"/>
                  <a:gd name="connsiteX30" fmla="*/ 2441576 w 2441576"/>
                  <a:gd name="connsiteY30" fmla="*/ 456403 h 901154"/>
                  <a:gd name="connsiteX31" fmla="*/ 2441576 w 2441576"/>
                  <a:gd name="connsiteY31" fmla="*/ 539847 h 901154"/>
                  <a:gd name="connsiteX32" fmla="*/ 2441576 w 2441576"/>
                  <a:gd name="connsiteY32" fmla="*/ 608455 h 901154"/>
                  <a:gd name="connsiteX33" fmla="*/ 2441576 w 2441576"/>
                  <a:gd name="connsiteY33" fmla="*/ 691899 h 901154"/>
                  <a:gd name="connsiteX34" fmla="*/ 2441576 w 2441576"/>
                  <a:gd name="connsiteY34" fmla="*/ 760507 h 901154"/>
                  <a:gd name="connsiteX35" fmla="*/ 2441576 w 2441576"/>
                  <a:gd name="connsiteY35" fmla="*/ 832545 h 901154"/>
                  <a:gd name="connsiteX36" fmla="*/ 2441576 w 2441576"/>
                  <a:gd name="connsiteY36" fmla="*/ 901153 h 901154"/>
                  <a:gd name="connsiteX37" fmla="*/ 2321561 w 2441576"/>
                  <a:gd name="connsiteY37" fmla="*/ 901153 h 901154"/>
                  <a:gd name="connsiteX38" fmla="*/ 2239646 w 2441576"/>
                  <a:gd name="connsiteY38" fmla="*/ 901153 h 901154"/>
                  <a:gd name="connsiteX39" fmla="*/ 2176781 w 2441576"/>
                  <a:gd name="connsiteY39" fmla="*/ 901153 h 901154"/>
                  <a:gd name="connsiteX40" fmla="*/ 2109259 w 2441576"/>
                  <a:gd name="connsiteY40" fmla="*/ 901153 h 901154"/>
                  <a:gd name="connsiteX41" fmla="*/ 1941949 w 2441576"/>
                  <a:gd name="connsiteY41" fmla="*/ 901153 h 901154"/>
                  <a:gd name="connsiteX42" fmla="*/ 1824412 w 2441576"/>
                  <a:gd name="connsiteY42" fmla="*/ 901153 h 901154"/>
                  <a:gd name="connsiteX43" fmla="*/ 1609632 w 2441576"/>
                  <a:gd name="connsiteY43" fmla="*/ 901153 h 901154"/>
                  <a:gd name="connsiteX44" fmla="*/ 1539566 w 2441576"/>
                  <a:gd name="connsiteY44" fmla="*/ 901153 h 901154"/>
                  <a:gd name="connsiteX45" fmla="*/ 1324785 w 2441576"/>
                  <a:gd name="connsiteY45" fmla="*/ 901153 h 901154"/>
                  <a:gd name="connsiteX46" fmla="*/ 1254721 w 2441576"/>
                  <a:gd name="connsiteY46" fmla="*/ 901153 h 901154"/>
                  <a:gd name="connsiteX47" fmla="*/ 1146253 w 2441576"/>
                  <a:gd name="connsiteY47" fmla="*/ 901153 h 901154"/>
                  <a:gd name="connsiteX48" fmla="*/ 1039939 w 2441576"/>
                  <a:gd name="connsiteY48" fmla="*/ 901153 h 901154"/>
                  <a:gd name="connsiteX49" fmla="*/ 969874 w 2441576"/>
                  <a:gd name="connsiteY49" fmla="*/ 901153 h 901154"/>
                  <a:gd name="connsiteX50" fmla="*/ 864820 w 2441576"/>
                  <a:gd name="connsiteY50" fmla="*/ 901154 h 901154"/>
                  <a:gd name="connsiteX51" fmla="*/ 755093 w 2441576"/>
                  <a:gd name="connsiteY51" fmla="*/ 901153 h 901154"/>
                  <a:gd name="connsiteX52" fmla="*/ 685028 w 2441576"/>
                  <a:gd name="connsiteY52" fmla="*/ 901153 h 901154"/>
                  <a:gd name="connsiteX53" fmla="*/ 581332 w 2441576"/>
                  <a:gd name="connsiteY53" fmla="*/ 901153 h 901154"/>
                  <a:gd name="connsiteX54" fmla="*/ 471351 w 2441576"/>
                  <a:gd name="connsiteY54" fmla="*/ 901153 h 901154"/>
                  <a:gd name="connsiteX55" fmla="*/ 470246 w 2441576"/>
                  <a:gd name="connsiteY55" fmla="*/ 901153 h 901154"/>
                  <a:gd name="connsiteX56" fmla="*/ 377080 w 2441576"/>
                  <a:gd name="connsiteY56" fmla="*/ 901153 h 901154"/>
                  <a:gd name="connsiteX57" fmla="*/ 282811 w 2441576"/>
                  <a:gd name="connsiteY57" fmla="*/ 901153 h 901154"/>
                  <a:gd name="connsiteX58" fmla="*/ 188541 w 2441576"/>
                  <a:gd name="connsiteY58" fmla="*/ 901153 h 901154"/>
                  <a:gd name="connsiteX59" fmla="*/ 185400 w 2441576"/>
                  <a:gd name="connsiteY59" fmla="*/ 901153 h 901154"/>
                  <a:gd name="connsiteX60" fmla="*/ 94270 w 2441576"/>
                  <a:gd name="connsiteY60" fmla="*/ 901153 h 901154"/>
                  <a:gd name="connsiteX61" fmla="*/ 0 w 2441576"/>
                  <a:gd name="connsiteY61" fmla="*/ 901153 h 901154"/>
                  <a:gd name="connsiteX62" fmla="*/ 0 w 2441576"/>
                  <a:gd name="connsiteY62" fmla="*/ 832545 h 901154"/>
                  <a:gd name="connsiteX63" fmla="*/ 0 w 2441576"/>
                  <a:gd name="connsiteY63" fmla="*/ 760507 h 901154"/>
                  <a:gd name="connsiteX64" fmla="*/ 0 w 2441576"/>
                  <a:gd name="connsiteY64" fmla="*/ 691899 h 901154"/>
                  <a:gd name="connsiteX65" fmla="*/ 0 w 2441576"/>
                  <a:gd name="connsiteY65" fmla="*/ 608455 h 901154"/>
                  <a:gd name="connsiteX66" fmla="*/ 0 w 2441576"/>
                  <a:gd name="connsiteY66" fmla="*/ 539847 h 901154"/>
                  <a:gd name="connsiteX67" fmla="*/ 0 w 2441576"/>
                  <a:gd name="connsiteY67" fmla="*/ 456403 h 901154"/>
                  <a:gd name="connsiteX68" fmla="*/ 0 w 2441576"/>
                  <a:gd name="connsiteY68" fmla="*/ 387795 h 901154"/>
                  <a:gd name="connsiteX69" fmla="*/ 0 w 2441576"/>
                  <a:gd name="connsiteY69" fmla="*/ 304351 h 901154"/>
                  <a:gd name="connsiteX70" fmla="*/ 0 w 2441576"/>
                  <a:gd name="connsiteY70" fmla="*/ 235743 h 901154"/>
                  <a:gd name="connsiteX71" fmla="*/ 0 w 2441576"/>
                  <a:gd name="connsiteY71" fmla="*/ 152299 h 901154"/>
                  <a:gd name="connsiteX72" fmla="*/ 0 w 2441576"/>
                  <a:gd name="connsiteY72" fmla="*/ 83691 h 901154"/>
                  <a:gd name="connsiteX73" fmla="*/ 0 w 2441576"/>
                  <a:gd name="connsiteY73" fmla="*/ 247 h 901154"/>
                  <a:gd name="connsiteX0" fmla="*/ 0 w 2441576"/>
                  <a:gd name="connsiteY0" fmla="*/ 247 h 901154"/>
                  <a:gd name="connsiteX1" fmla="*/ 94270 w 2441576"/>
                  <a:gd name="connsiteY1" fmla="*/ 247 h 901154"/>
                  <a:gd name="connsiteX2" fmla="*/ 185400 w 2441576"/>
                  <a:gd name="connsiteY2" fmla="*/ 247 h 901154"/>
                  <a:gd name="connsiteX3" fmla="*/ 188541 w 2441576"/>
                  <a:gd name="connsiteY3" fmla="*/ 247 h 901154"/>
                  <a:gd name="connsiteX4" fmla="*/ 282811 w 2441576"/>
                  <a:gd name="connsiteY4" fmla="*/ 247 h 901154"/>
                  <a:gd name="connsiteX5" fmla="*/ 377080 w 2441576"/>
                  <a:gd name="connsiteY5" fmla="*/ 247 h 901154"/>
                  <a:gd name="connsiteX6" fmla="*/ 470246 w 2441576"/>
                  <a:gd name="connsiteY6" fmla="*/ 247 h 901154"/>
                  <a:gd name="connsiteX7" fmla="*/ 471351 w 2441576"/>
                  <a:gd name="connsiteY7" fmla="*/ 247 h 901154"/>
                  <a:gd name="connsiteX8" fmla="*/ 581332 w 2441576"/>
                  <a:gd name="connsiteY8" fmla="*/ 247 h 901154"/>
                  <a:gd name="connsiteX9" fmla="*/ 685028 w 2441576"/>
                  <a:gd name="connsiteY9" fmla="*/ 247 h 901154"/>
                  <a:gd name="connsiteX10" fmla="*/ 755093 w 2441576"/>
                  <a:gd name="connsiteY10" fmla="*/ 247 h 901154"/>
                  <a:gd name="connsiteX11" fmla="*/ 969874 w 2441576"/>
                  <a:gd name="connsiteY11" fmla="*/ 247 h 901154"/>
                  <a:gd name="connsiteX12" fmla="*/ 1039939 w 2441576"/>
                  <a:gd name="connsiteY12" fmla="*/ 247 h 901154"/>
                  <a:gd name="connsiteX13" fmla="*/ 1254721 w 2441576"/>
                  <a:gd name="connsiteY13" fmla="*/ 247 h 901154"/>
                  <a:gd name="connsiteX14" fmla="*/ 1324785 w 2441576"/>
                  <a:gd name="connsiteY14" fmla="*/ 247 h 901154"/>
                  <a:gd name="connsiteX15" fmla="*/ 1430031 w 2441576"/>
                  <a:gd name="connsiteY15" fmla="*/ 0 h 901154"/>
                  <a:gd name="connsiteX16" fmla="*/ 1539566 w 2441576"/>
                  <a:gd name="connsiteY16" fmla="*/ 247 h 901154"/>
                  <a:gd name="connsiteX17" fmla="*/ 1609632 w 2441576"/>
                  <a:gd name="connsiteY17" fmla="*/ 247 h 901154"/>
                  <a:gd name="connsiteX18" fmla="*/ 1824412 w 2441576"/>
                  <a:gd name="connsiteY18" fmla="*/ 247 h 901154"/>
                  <a:gd name="connsiteX19" fmla="*/ 1941949 w 2441576"/>
                  <a:gd name="connsiteY19" fmla="*/ 247 h 901154"/>
                  <a:gd name="connsiteX20" fmla="*/ 2094866 w 2441576"/>
                  <a:gd name="connsiteY20" fmla="*/ 247 h 901154"/>
                  <a:gd name="connsiteX21" fmla="*/ 2176781 w 2441576"/>
                  <a:gd name="connsiteY21" fmla="*/ 247 h 901154"/>
                  <a:gd name="connsiteX22" fmla="*/ 2258696 w 2441576"/>
                  <a:gd name="connsiteY22" fmla="*/ 247 h 901154"/>
                  <a:gd name="connsiteX23" fmla="*/ 2321561 w 2441576"/>
                  <a:gd name="connsiteY23" fmla="*/ 247 h 901154"/>
                  <a:gd name="connsiteX24" fmla="*/ 2441576 w 2441576"/>
                  <a:gd name="connsiteY24" fmla="*/ 247 h 901154"/>
                  <a:gd name="connsiteX25" fmla="*/ 2441576 w 2441576"/>
                  <a:gd name="connsiteY25" fmla="*/ 83691 h 901154"/>
                  <a:gd name="connsiteX26" fmla="*/ 2441576 w 2441576"/>
                  <a:gd name="connsiteY26" fmla="*/ 152299 h 901154"/>
                  <a:gd name="connsiteX27" fmla="*/ 2441576 w 2441576"/>
                  <a:gd name="connsiteY27" fmla="*/ 235743 h 901154"/>
                  <a:gd name="connsiteX28" fmla="*/ 2441576 w 2441576"/>
                  <a:gd name="connsiteY28" fmla="*/ 304351 h 901154"/>
                  <a:gd name="connsiteX29" fmla="*/ 2441576 w 2441576"/>
                  <a:gd name="connsiteY29" fmla="*/ 387795 h 901154"/>
                  <a:gd name="connsiteX30" fmla="*/ 2441576 w 2441576"/>
                  <a:gd name="connsiteY30" fmla="*/ 456403 h 901154"/>
                  <a:gd name="connsiteX31" fmla="*/ 2441576 w 2441576"/>
                  <a:gd name="connsiteY31" fmla="*/ 539847 h 901154"/>
                  <a:gd name="connsiteX32" fmla="*/ 2441576 w 2441576"/>
                  <a:gd name="connsiteY32" fmla="*/ 608455 h 901154"/>
                  <a:gd name="connsiteX33" fmla="*/ 2441576 w 2441576"/>
                  <a:gd name="connsiteY33" fmla="*/ 691899 h 901154"/>
                  <a:gd name="connsiteX34" fmla="*/ 2441576 w 2441576"/>
                  <a:gd name="connsiteY34" fmla="*/ 760507 h 901154"/>
                  <a:gd name="connsiteX35" fmla="*/ 2441576 w 2441576"/>
                  <a:gd name="connsiteY35" fmla="*/ 832545 h 901154"/>
                  <a:gd name="connsiteX36" fmla="*/ 2441576 w 2441576"/>
                  <a:gd name="connsiteY36" fmla="*/ 901153 h 901154"/>
                  <a:gd name="connsiteX37" fmla="*/ 2321561 w 2441576"/>
                  <a:gd name="connsiteY37" fmla="*/ 901153 h 901154"/>
                  <a:gd name="connsiteX38" fmla="*/ 2239646 w 2441576"/>
                  <a:gd name="connsiteY38" fmla="*/ 901153 h 901154"/>
                  <a:gd name="connsiteX39" fmla="*/ 2176781 w 2441576"/>
                  <a:gd name="connsiteY39" fmla="*/ 901153 h 901154"/>
                  <a:gd name="connsiteX40" fmla="*/ 2109259 w 2441576"/>
                  <a:gd name="connsiteY40" fmla="*/ 901153 h 901154"/>
                  <a:gd name="connsiteX41" fmla="*/ 1941949 w 2441576"/>
                  <a:gd name="connsiteY41" fmla="*/ 901153 h 901154"/>
                  <a:gd name="connsiteX42" fmla="*/ 1824412 w 2441576"/>
                  <a:gd name="connsiteY42" fmla="*/ 901153 h 901154"/>
                  <a:gd name="connsiteX43" fmla="*/ 1609632 w 2441576"/>
                  <a:gd name="connsiteY43" fmla="*/ 901153 h 901154"/>
                  <a:gd name="connsiteX44" fmla="*/ 1539566 w 2441576"/>
                  <a:gd name="connsiteY44" fmla="*/ 901153 h 901154"/>
                  <a:gd name="connsiteX45" fmla="*/ 1427685 w 2441576"/>
                  <a:gd name="connsiteY45" fmla="*/ 901153 h 901154"/>
                  <a:gd name="connsiteX46" fmla="*/ 1324785 w 2441576"/>
                  <a:gd name="connsiteY46" fmla="*/ 901153 h 901154"/>
                  <a:gd name="connsiteX47" fmla="*/ 1254721 w 2441576"/>
                  <a:gd name="connsiteY47" fmla="*/ 901153 h 901154"/>
                  <a:gd name="connsiteX48" fmla="*/ 1146253 w 2441576"/>
                  <a:gd name="connsiteY48" fmla="*/ 901153 h 901154"/>
                  <a:gd name="connsiteX49" fmla="*/ 1039939 w 2441576"/>
                  <a:gd name="connsiteY49" fmla="*/ 901153 h 901154"/>
                  <a:gd name="connsiteX50" fmla="*/ 969874 w 2441576"/>
                  <a:gd name="connsiteY50" fmla="*/ 901153 h 901154"/>
                  <a:gd name="connsiteX51" fmla="*/ 864820 w 2441576"/>
                  <a:gd name="connsiteY51" fmla="*/ 901154 h 901154"/>
                  <a:gd name="connsiteX52" fmla="*/ 755093 w 2441576"/>
                  <a:gd name="connsiteY52" fmla="*/ 901153 h 901154"/>
                  <a:gd name="connsiteX53" fmla="*/ 685028 w 2441576"/>
                  <a:gd name="connsiteY53" fmla="*/ 901153 h 901154"/>
                  <a:gd name="connsiteX54" fmla="*/ 581332 w 2441576"/>
                  <a:gd name="connsiteY54" fmla="*/ 901153 h 901154"/>
                  <a:gd name="connsiteX55" fmla="*/ 471351 w 2441576"/>
                  <a:gd name="connsiteY55" fmla="*/ 901153 h 901154"/>
                  <a:gd name="connsiteX56" fmla="*/ 470246 w 2441576"/>
                  <a:gd name="connsiteY56" fmla="*/ 901153 h 901154"/>
                  <a:gd name="connsiteX57" fmla="*/ 377080 w 2441576"/>
                  <a:gd name="connsiteY57" fmla="*/ 901153 h 901154"/>
                  <a:gd name="connsiteX58" fmla="*/ 282811 w 2441576"/>
                  <a:gd name="connsiteY58" fmla="*/ 901153 h 901154"/>
                  <a:gd name="connsiteX59" fmla="*/ 188541 w 2441576"/>
                  <a:gd name="connsiteY59" fmla="*/ 901153 h 901154"/>
                  <a:gd name="connsiteX60" fmla="*/ 185400 w 2441576"/>
                  <a:gd name="connsiteY60" fmla="*/ 901153 h 901154"/>
                  <a:gd name="connsiteX61" fmla="*/ 94270 w 2441576"/>
                  <a:gd name="connsiteY61" fmla="*/ 901153 h 901154"/>
                  <a:gd name="connsiteX62" fmla="*/ 0 w 2441576"/>
                  <a:gd name="connsiteY62" fmla="*/ 901153 h 901154"/>
                  <a:gd name="connsiteX63" fmla="*/ 0 w 2441576"/>
                  <a:gd name="connsiteY63" fmla="*/ 832545 h 901154"/>
                  <a:gd name="connsiteX64" fmla="*/ 0 w 2441576"/>
                  <a:gd name="connsiteY64" fmla="*/ 760507 h 901154"/>
                  <a:gd name="connsiteX65" fmla="*/ 0 w 2441576"/>
                  <a:gd name="connsiteY65" fmla="*/ 691899 h 901154"/>
                  <a:gd name="connsiteX66" fmla="*/ 0 w 2441576"/>
                  <a:gd name="connsiteY66" fmla="*/ 608455 h 901154"/>
                  <a:gd name="connsiteX67" fmla="*/ 0 w 2441576"/>
                  <a:gd name="connsiteY67" fmla="*/ 539847 h 901154"/>
                  <a:gd name="connsiteX68" fmla="*/ 0 w 2441576"/>
                  <a:gd name="connsiteY68" fmla="*/ 456403 h 901154"/>
                  <a:gd name="connsiteX69" fmla="*/ 0 w 2441576"/>
                  <a:gd name="connsiteY69" fmla="*/ 387795 h 901154"/>
                  <a:gd name="connsiteX70" fmla="*/ 0 w 2441576"/>
                  <a:gd name="connsiteY70" fmla="*/ 304351 h 901154"/>
                  <a:gd name="connsiteX71" fmla="*/ 0 w 2441576"/>
                  <a:gd name="connsiteY71" fmla="*/ 235743 h 901154"/>
                  <a:gd name="connsiteX72" fmla="*/ 0 w 2441576"/>
                  <a:gd name="connsiteY72" fmla="*/ 152299 h 901154"/>
                  <a:gd name="connsiteX73" fmla="*/ 0 w 2441576"/>
                  <a:gd name="connsiteY73" fmla="*/ 83691 h 901154"/>
                  <a:gd name="connsiteX74" fmla="*/ 0 w 2441576"/>
                  <a:gd name="connsiteY74" fmla="*/ 247 h 901154"/>
                  <a:gd name="connsiteX0" fmla="*/ 0 w 2441576"/>
                  <a:gd name="connsiteY0" fmla="*/ 247 h 901154"/>
                  <a:gd name="connsiteX1" fmla="*/ 94270 w 2441576"/>
                  <a:gd name="connsiteY1" fmla="*/ 247 h 901154"/>
                  <a:gd name="connsiteX2" fmla="*/ 185400 w 2441576"/>
                  <a:gd name="connsiteY2" fmla="*/ 247 h 901154"/>
                  <a:gd name="connsiteX3" fmla="*/ 188541 w 2441576"/>
                  <a:gd name="connsiteY3" fmla="*/ 247 h 901154"/>
                  <a:gd name="connsiteX4" fmla="*/ 282811 w 2441576"/>
                  <a:gd name="connsiteY4" fmla="*/ 247 h 901154"/>
                  <a:gd name="connsiteX5" fmla="*/ 377080 w 2441576"/>
                  <a:gd name="connsiteY5" fmla="*/ 247 h 901154"/>
                  <a:gd name="connsiteX6" fmla="*/ 470246 w 2441576"/>
                  <a:gd name="connsiteY6" fmla="*/ 247 h 901154"/>
                  <a:gd name="connsiteX7" fmla="*/ 471351 w 2441576"/>
                  <a:gd name="connsiteY7" fmla="*/ 247 h 901154"/>
                  <a:gd name="connsiteX8" fmla="*/ 581332 w 2441576"/>
                  <a:gd name="connsiteY8" fmla="*/ 247 h 901154"/>
                  <a:gd name="connsiteX9" fmla="*/ 685028 w 2441576"/>
                  <a:gd name="connsiteY9" fmla="*/ 247 h 901154"/>
                  <a:gd name="connsiteX10" fmla="*/ 755093 w 2441576"/>
                  <a:gd name="connsiteY10" fmla="*/ 247 h 901154"/>
                  <a:gd name="connsiteX11" fmla="*/ 969874 w 2441576"/>
                  <a:gd name="connsiteY11" fmla="*/ 247 h 901154"/>
                  <a:gd name="connsiteX12" fmla="*/ 1039939 w 2441576"/>
                  <a:gd name="connsiteY12" fmla="*/ 247 h 901154"/>
                  <a:gd name="connsiteX13" fmla="*/ 1254721 w 2441576"/>
                  <a:gd name="connsiteY13" fmla="*/ 247 h 901154"/>
                  <a:gd name="connsiteX14" fmla="*/ 1324785 w 2441576"/>
                  <a:gd name="connsiteY14" fmla="*/ 247 h 901154"/>
                  <a:gd name="connsiteX15" fmla="*/ 1430031 w 2441576"/>
                  <a:gd name="connsiteY15" fmla="*/ 0 h 901154"/>
                  <a:gd name="connsiteX16" fmla="*/ 1539566 w 2441576"/>
                  <a:gd name="connsiteY16" fmla="*/ 247 h 901154"/>
                  <a:gd name="connsiteX17" fmla="*/ 1609632 w 2441576"/>
                  <a:gd name="connsiteY17" fmla="*/ 247 h 901154"/>
                  <a:gd name="connsiteX18" fmla="*/ 1824412 w 2441576"/>
                  <a:gd name="connsiteY18" fmla="*/ 247 h 901154"/>
                  <a:gd name="connsiteX19" fmla="*/ 1941949 w 2441576"/>
                  <a:gd name="connsiteY19" fmla="*/ 247 h 901154"/>
                  <a:gd name="connsiteX20" fmla="*/ 2094866 w 2441576"/>
                  <a:gd name="connsiteY20" fmla="*/ 247 h 901154"/>
                  <a:gd name="connsiteX21" fmla="*/ 2176781 w 2441576"/>
                  <a:gd name="connsiteY21" fmla="*/ 247 h 901154"/>
                  <a:gd name="connsiteX22" fmla="*/ 2258696 w 2441576"/>
                  <a:gd name="connsiteY22" fmla="*/ 247 h 901154"/>
                  <a:gd name="connsiteX23" fmla="*/ 2321561 w 2441576"/>
                  <a:gd name="connsiteY23" fmla="*/ 247 h 901154"/>
                  <a:gd name="connsiteX24" fmla="*/ 2441576 w 2441576"/>
                  <a:gd name="connsiteY24" fmla="*/ 247 h 901154"/>
                  <a:gd name="connsiteX25" fmla="*/ 2441576 w 2441576"/>
                  <a:gd name="connsiteY25" fmla="*/ 83691 h 901154"/>
                  <a:gd name="connsiteX26" fmla="*/ 2441576 w 2441576"/>
                  <a:gd name="connsiteY26" fmla="*/ 152299 h 901154"/>
                  <a:gd name="connsiteX27" fmla="*/ 2441576 w 2441576"/>
                  <a:gd name="connsiteY27" fmla="*/ 235743 h 901154"/>
                  <a:gd name="connsiteX28" fmla="*/ 2441576 w 2441576"/>
                  <a:gd name="connsiteY28" fmla="*/ 304351 h 901154"/>
                  <a:gd name="connsiteX29" fmla="*/ 2441576 w 2441576"/>
                  <a:gd name="connsiteY29" fmla="*/ 387795 h 901154"/>
                  <a:gd name="connsiteX30" fmla="*/ 2441576 w 2441576"/>
                  <a:gd name="connsiteY30" fmla="*/ 456403 h 901154"/>
                  <a:gd name="connsiteX31" fmla="*/ 2441576 w 2441576"/>
                  <a:gd name="connsiteY31" fmla="*/ 539847 h 901154"/>
                  <a:gd name="connsiteX32" fmla="*/ 2441576 w 2441576"/>
                  <a:gd name="connsiteY32" fmla="*/ 608455 h 901154"/>
                  <a:gd name="connsiteX33" fmla="*/ 2441576 w 2441576"/>
                  <a:gd name="connsiteY33" fmla="*/ 691899 h 901154"/>
                  <a:gd name="connsiteX34" fmla="*/ 2441576 w 2441576"/>
                  <a:gd name="connsiteY34" fmla="*/ 760507 h 901154"/>
                  <a:gd name="connsiteX35" fmla="*/ 2441576 w 2441576"/>
                  <a:gd name="connsiteY35" fmla="*/ 832545 h 901154"/>
                  <a:gd name="connsiteX36" fmla="*/ 2441576 w 2441576"/>
                  <a:gd name="connsiteY36" fmla="*/ 901153 h 901154"/>
                  <a:gd name="connsiteX37" fmla="*/ 2321561 w 2441576"/>
                  <a:gd name="connsiteY37" fmla="*/ 901153 h 901154"/>
                  <a:gd name="connsiteX38" fmla="*/ 2239646 w 2441576"/>
                  <a:gd name="connsiteY38" fmla="*/ 901153 h 901154"/>
                  <a:gd name="connsiteX39" fmla="*/ 2176781 w 2441576"/>
                  <a:gd name="connsiteY39" fmla="*/ 901153 h 901154"/>
                  <a:gd name="connsiteX40" fmla="*/ 2109259 w 2441576"/>
                  <a:gd name="connsiteY40" fmla="*/ 901153 h 901154"/>
                  <a:gd name="connsiteX41" fmla="*/ 1941949 w 2441576"/>
                  <a:gd name="connsiteY41" fmla="*/ 901153 h 901154"/>
                  <a:gd name="connsiteX42" fmla="*/ 1824412 w 2441576"/>
                  <a:gd name="connsiteY42" fmla="*/ 901153 h 901154"/>
                  <a:gd name="connsiteX43" fmla="*/ 1720844 w 2441576"/>
                  <a:gd name="connsiteY43" fmla="*/ 901153 h 901154"/>
                  <a:gd name="connsiteX44" fmla="*/ 1609632 w 2441576"/>
                  <a:gd name="connsiteY44" fmla="*/ 901153 h 901154"/>
                  <a:gd name="connsiteX45" fmla="*/ 1539566 w 2441576"/>
                  <a:gd name="connsiteY45" fmla="*/ 901153 h 901154"/>
                  <a:gd name="connsiteX46" fmla="*/ 1427685 w 2441576"/>
                  <a:gd name="connsiteY46" fmla="*/ 901153 h 901154"/>
                  <a:gd name="connsiteX47" fmla="*/ 1324785 w 2441576"/>
                  <a:gd name="connsiteY47" fmla="*/ 901153 h 901154"/>
                  <a:gd name="connsiteX48" fmla="*/ 1254721 w 2441576"/>
                  <a:gd name="connsiteY48" fmla="*/ 901153 h 901154"/>
                  <a:gd name="connsiteX49" fmla="*/ 1146253 w 2441576"/>
                  <a:gd name="connsiteY49" fmla="*/ 901153 h 901154"/>
                  <a:gd name="connsiteX50" fmla="*/ 1039939 w 2441576"/>
                  <a:gd name="connsiteY50" fmla="*/ 901153 h 901154"/>
                  <a:gd name="connsiteX51" fmla="*/ 969874 w 2441576"/>
                  <a:gd name="connsiteY51" fmla="*/ 901153 h 901154"/>
                  <a:gd name="connsiteX52" fmla="*/ 864820 w 2441576"/>
                  <a:gd name="connsiteY52" fmla="*/ 901154 h 901154"/>
                  <a:gd name="connsiteX53" fmla="*/ 755093 w 2441576"/>
                  <a:gd name="connsiteY53" fmla="*/ 901153 h 901154"/>
                  <a:gd name="connsiteX54" fmla="*/ 685028 w 2441576"/>
                  <a:gd name="connsiteY54" fmla="*/ 901153 h 901154"/>
                  <a:gd name="connsiteX55" fmla="*/ 581332 w 2441576"/>
                  <a:gd name="connsiteY55" fmla="*/ 901153 h 901154"/>
                  <a:gd name="connsiteX56" fmla="*/ 471351 w 2441576"/>
                  <a:gd name="connsiteY56" fmla="*/ 901153 h 901154"/>
                  <a:gd name="connsiteX57" fmla="*/ 470246 w 2441576"/>
                  <a:gd name="connsiteY57" fmla="*/ 901153 h 901154"/>
                  <a:gd name="connsiteX58" fmla="*/ 377080 w 2441576"/>
                  <a:gd name="connsiteY58" fmla="*/ 901153 h 901154"/>
                  <a:gd name="connsiteX59" fmla="*/ 282811 w 2441576"/>
                  <a:gd name="connsiteY59" fmla="*/ 901153 h 901154"/>
                  <a:gd name="connsiteX60" fmla="*/ 188541 w 2441576"/>
                  <a:gd name="connsiteY60" fmla="*/ 901153 h 901154"/>
                  <a:gd name="connsiteX61" fmla="*/ 185400 w 2441576"/>
                  <a:gd name="connsiteY61" fmla="*/ 901153 h 901154"/>
                  <a:gd name="connsiteX62" fmla="*/ 94270 w 2441576"/>
                  <a:gd name="connsiteY62" fmla="*/ 901153 h 901154"/>
                  <a:gd name="connsiteX63" fmla="*/ 0 w 2441576"/>
                  <a:gd name="connsiteY63" fmla="*/ 901153 h 901154"/>
                  <a:gd name="connsiteX64" fmla="*/ 0 w 2441576"/>
                  <a:gd name="connsiteY64" fmla="*/ 832545 h 901154"/>
                  <a:gd name="connsiteX65" fmla="*/ 0 w 2441576"/>
                  <a:gd name="connsiteY65" fmla="*/ 760507 h 901154"/>
                  <a:gd name="connsiteX66" fmla="*/ 0 w 2441576"/>
                  <a:gd name="connsiteY66" fmla="*/ 691899 h 901154"/>
                  <a:gd name="connsiteX67" fmla="*/ 0 w 2441576"/>
                  <a:gd name="connsiteY67" fmla="*/ 608455 h 901154"/>
                  <a:gd name="connsiteX68" fmla="*/ 0 w 2441576"/>
                  <a:gd name="connsiteY68" fmla="*/ 539847 h 901154"/>
                  <a:gd name="connsiteX69" fmla="*/ 0 w 2441576"/>
                  <a:gd name="connsiteY69" fmla="*/ 456403 h 901154"/>
                  <a:gd name="connsiteX70" fmla="*/ 0 w 2441576"/>
                  <a:gd name="connsiteY70" fmla="*/ 387795 h 901154"/>
                  <a:gd name="connsiteX71" fmla="*/ 0 w 2441576"/>
                  <a:gd name="connsiteY71" fmla="*/ 304351 h 901154"/>
                  <a:gd name="connsiteX72" fmla="*/ 0 w 2441576"/>
                  <a:gd name="connsiteY72" fmla="*/ 235743 h 901154"/>
                  <a:gd name="connsiteX73" fmla="*/ 0 w 2441576"/>
                  <a:gd name="connsiteY73" fmla="*/ 152299 h 901154"/>
                  <a:gd name="connsiteX74" fmla="*/ 0 w 2441576"/>
                  <a:gd name="connsiteY74" fmla="*/ 83691 h 901154"/>
                  <a:gd name="connsiteX75" fmla="*/ 0 w 2441576"/>
                  <a:gd name="connsiteY75" fmla="*/ 247 h 901154"/>
                  <a:gd name="connsiteX0" fmla="*/ 0 w 2441576"/>
                  <a:gd name="connsiteY0" fmla="*/ 247 h 901154"/>
                  <a:gd name="connsiteX1" fmla="*/ 94270 w 2441576"/>
                  <a:gd name="connsiteY1" fmla="*/ 247 h 901154"/>
                  <a:gd name="connsiteX2" fmla="*/ 185400 w 2441576"/>
                  <a:gd name="connsiteY2" fmla="*/ 247 h 901154"/>
                  <a:gd name="connsiteX3" fmla="*/ 188541 w 2441576"/>
                  <a:gd name="connsiteY3" fmla="*/ 247 h 901154"/>
                  <a:gd name="connsiteX4" fmla="*/ 282811 w 2441576"/>
                  <a:gd name="connsiteY4" fmla="*/ 247 h 901154"/>
                  <a:gd name="connsiteX5" fmla="*/ 377080 w 2441576"/>
                  <a:gd name="connsiteY5" fmla="*/ 247 h 901154"/>
                  <a:gd name="connsiteX6" fmla="*/ 470246 w 2441576"/>
                  <a:gd name="connsiteY6" fmla="*/ 247 h 901154"/>
                  <a:gd name="connsiteX7" fmla="*/ 471351 w 2441576"/>
                  <a:gd name="connsiteY7" fmla="*/ 247 h 901154"/>
                  <a:gd name="connsiteX8" fmla="*/ 581332 w 2441576"/>
                  <a:gd name="connsiteY8" fmla="*/ 247 h 901154"/>
                  <a:gd name="connsiteX9" fmla="*/ 685028 w 2441576"/>
                  <a:gd name="connsiteY9" fmla="*/ 247 h 901154"/>
                  <a:gd name="connsiteX10" fmla="*/ 755093 w 2441576"/>
                  <a:gd name="connsiteY10" fmla="*/ 247 h 901154"/>
                  <a:gd name="connsiteX11" fmla="*/ 969874 w 2441576"/>
                  <a:gd name="connsiteY11" fmla="*/ 247 h 901154"/>
                  <a:gd name="connsiteX12" fmla="*/ 1039939 w 2441576"/>
                  <a:gd name="connsiteY12" fmla="*/ 247 h 901154"/>
                  <a:gd name="connsiteX13" fmla="*/ 1254721 w 2441576"/>
                  <a:gd name="connsiteY13" fmla="*/ 247 h 901154"/>
                  <a:gd name="connsiteX14" fmla="*/ 1324785 w 2441576"/>
                  <a:gd name="connsiteY14" fmla="*/ 247 h 901154"/>
                  <a:gd name="connsiteX15" fmla="*/ 1430031 w 2441576"/>
                  <a:gd name="connsiteY15" fmla="*/ 0 h 901154"/>
                  <a:gd name="connsiteX16" fmla="*/ 1539566 w 2441576"/>
                  <a:gd name="connsiteY16" fmla="*/ 247 h 901154"/>
                  <a:gd name="connsiteX17" fmla="*/ 1609632 w 2441576"/>
                  <a:gd name="connsiteY17" fmla="*/ 247 h 901154"/>
                  <a:gd name="connsiteX18" fmla="*/ 1824412 w 2441576"/>
                  <a:gd name="connsiteY18" fmla="*/ 247 h 901154"/>
                  <a:gd name="connsiteX19" fmla="*/ 1941949 w 2441576"/>
                  <a:gd name="connsiteY19" fmla="*/ 247 h 901154"/>
                  <a:gd name="connsiteX20" fmla="*/ 2094866 w 2441576"/>
                  <a:gd name="connsiteY20" fmla="*/ 247 h 901154"/>
                  <a:gd name="connsiteX21" fmla="*/ 2176781 w 2441576"/>
                  <a:gd name="connsiteY21" fmla="*/ 247 h 901154"/>
                  <a:gd name="connsiteX22" fmla="*/ 2258696 w 2441576"/>
                  <a:gd name="connsiteY22" fmla="*/ 247 h 901154"/>
                  <a:gd name="connsiteX23" fmla="*/ 2321561 w 2441576"/>
                  <a:gd name="connsiteY23" fmla="*/ 247 h 901154"/>
                  <a:gd name="connsiteX24" fmla="*/ 2441576 w 2441576"/>
                  <a:gd name="connsiteY24" fmla="*/ 247 h 901154"/>
                  <a:gd name="connsiteX25" fmla="*/ 2441576 w 2441576"/>
                  <a:gd name="connsiteY25" fmla="*/ 83691 h 901154"/>
                  <a:gd name="connsiteX26" fmla="*/ 2441576 w 2441576"/>
                  <a:gd name="connsiteY26" fmla="*/ 152299 h 901154"/>
                  <a:gd name="connsiteX27" fmla="*/ 2441576 w 2441576"/>
                  <a:gd name="connsiteY27" fmla="*/ 235743 h 901154"/>
                  <a:gd name="connsiteX28" fmla="*/ 2441576 w 2441576"/>
                  <a:gd name="connsiteY28" fmla="*/ 304351 h 901154"/>
                  <a:gd name="connsiteX29" fmla="*/ 2441576 w 2441576"/>
                  <a:gd name="connsiteY29" fmla="*/ 387795 h 901154"/>
                  <a:gd name="connsiteX30" fmla="*/ 2441576 w 2441576"/>
                  <a:gd name="connsiteY30" fmla="*/ 456403 h 901154"/>
                  <a:gd name="connsiteX31" fmla="*/ 2441576 w 2441576"/>
                  <a:gd name="connsiteY31" fmla="*/ 539847 h 901154"/>
                  <a:gd name="connsiteX32" fmla="*/ 2441576 w 2441576"/>
                  <a:gd name="connsiteY32" fmla="*/ 608455 h 901154"/>
                  <a:gd name="connsiteX33" fmla="*/ 2441576 w 2441576"/>
                  <a:gd name="connsiteY33" fmla="*/ 691899 h 901154"/>
                  <a:gd name="connsiteX34" fmla="*/ 2441576 w 2441576"/>
                  <a:gd name="connsiteY34" fmla="*/ 760507 h 901154"/>
                  <a:gd name="connsiteX35" fmla="*/ 2441576 w 2441576"/>
                  <a:gd name="connsiteY35" fmla="*/ 832545 h 901154"/>
                  <a:gd name="connsiteX36" fmla="*/ 2441576 w 2441576"/>
                  <a:gd name="connsiteY36" fmla="*/ 901153 h 901154"/>
                  <a:gd name="connsiteX37" fmla="*/ 2321561 w 2441576"/>
                  <a:gd name="connsiteY37" fmla="*/ 901153 h 901154"/>
                  <a:gd name="connsiteX38" fmla="*/ 2239646 w 2441576"/>
                  <a:gd name="connsiteY38" fmla="*/ 901153 h 901154"/>
                  <a:gd name="connsiteX39" fmla="*/ 2176781 w 2441576"/>
                  <a:gd name="connsiteY39" fmla="*/ 901153 h 901154"/>
                  <a:gd name="connsiteX40" fmla="*/ 2109259 w 2441576"/>
                  <a:gd name="connsiteY40" fmla="*/ 901153 h 901154"/>
                  <a:gd name="connsiteX41" fmla="*/ 2025730 w 2441576"/>
                  <a:gd name="connsiteY41" fmla="*/ 901153 h 901154"/>
                  <a:gd name="connsiteX42" fmla="*/ 1941949 w 2441576"/>
                  <a:gd name="connsiteY42" fmla="*/ 901153 h 901154"/>
                  <a:gd name="connsiteX43" fmla="*/ 1824412 w 2441576"/>
                  <a:gd name="connsiteY43" fmla="*/ 901153 h 901154"/>
                  <a:gd name="connsiteX44" fmla="*/ 1720844 w 2441576"/>
                  <a:gd name="connsiteY44" fmla="*/ 901153 h 901154"/>
                  <a:gd name="connsiteX45" fmla="*/ 1609632 w 2441576"/>
                  <a:gd name="connsiteY45" fmla="*/ 901153 h 901154"/>
                  <a:gd name="connsiteX46" fmla="*/ 1539566 w 2441576"/>
                  <a:gd name="connsiteY46" fmla="*/ 901153 h 901154"/>
                  <a:gd name="connsiteX47" fmla="*/ 1427685 w 2441576"/>
                  <a:gd name="connsiteY47" fmla="*/ 901153 h 901154"/>
                  <a:gd name="connsiteX48" fmla="*/ 1324785 w 2441576"/>
                  <a:gd name="connsiteY48" fmla="*/ 901153 h 901154"/>
                  <a:gd name="connsiteX49" fmla="*/ 1254721 w 2441576"/>
                  <a:gd name="connsiteY49" fmla="*/ 901153 h 901154"/>
                  <a:gd name="connsiteX50" fmla="*/ 1146253 w 2441576"/>
                  <a:gd name="connsiteY50" fmla="*/ 901153 h 901154"/>
                  <a:gd name="connsiteX51" fmla="*/ 1039939 w 2441576"/>
                  <a:gd name="connsiteY51" fmla="*/ 901153 h 901154"/>
                  <a:gd name="connsiteX52" fmla="*/ 969874 w 2441576"/>
                  <a:gd name="connsiteY52" fmla="*/ 901153 h 901154"/>
                  <a:gd name="connsiteX53" fmla="*/ 864820 w 2441576"/>
                  <a:gd name="connsiteY53" fmla="*/ 901154 h 901154"/>
                  <a:gd name="connsiteX54" fmla="*/ 755093 w 2441576"/>
                  <a:gd name="connsiteY54" fmla="*/ 901153 h 901154"/>
                  <a:gd name="connsiteX55" fmla="*/ 685028 w 2441576"/>
                  <a:gd name="connsiteY55" fmla="*/ 901153 h 901154"/>
                  <a:gd name="connsiteX56" fmla="*/ 581332 w 2441576"/>
                  <a:gd name="connsiteY56" fmla="*/ 901153 h 901154"/>
                  <a:gd name="connsiteX57" fmla="*/ 471351 w 2441576"/>
                  <a:gd name="connsiteY57" fmla="*/ 901153 h 901154"/>
                  <a:gd name="connsiteX58" fmla="*/ 470246 w 2441576"/>
                  <a:gd name="connsiteY58" fmla="*/ 901153 h 901154"/>
                  <a:gd name="connsiteX59" fmla="*/ 377080 w 2441576"/>
                  <a:gd name="connsiteY59" fmla="*/ 901153 h 901154"/>
                  <a:gd name="connsiteX60" fmla="*/ 282811 w 2441576"/>
                  <a:gd name="connsiteY60" fmla="*/ 901153 h 901154"/>
                  <a:gd name="connsiteX61" fmla="*/ 188541 w 2441576"/>
                  <a:gd name="connsiteY61" fmla="*/ 901153 h 901154"/>
                  <a:gd name="connsiteX62" fmla="*/ 185400 w 2441576"/>
                  <a:gd name="connsiteY62" fmla="*/ 901153 h 901154"/>
                  <a:gd name="connsiteX63" fmla="*/ 94270 w 2441576"/>
                  <a:gd name="connsiteY63" fmla="*/ 901153 h 901154"/>
                  <a:gd name="connsiteX64" fmla="*/ 0 w 2441576"/>
                  <a:gd name="connsiteY64" fmla="*/ 901153 h 901154"/>
                  <a:gd name="connsiteX65" fmla="*/ 0 w 2441576"/>
                  <a:gd name="connsiteY65" fmla="*/ 832545 h 901154"/>
                  <a:gd name="connsiteX66" fmla="*/ 0 w 2441576"/>
                  <a:gd name="connsiteY66" fmla="*/ 760507 h 901154"/>
                  <a:gd name="connsiteX67" fmla="*/ 0 w 2441576"/>
                  <a:gd name="connsiteY67" fmla="*/ 691899 h 901154"/>
                  <a:gd name="connsiteX68" fmla="*/ 0 w 2441576"/>
                  <a:gd name="connsiteY68" fmla="*/ 608455 h 901154"/>
                  <a:gd name="connsiteX69" fmla="*/ 0 w 2441576"/>
                  <a:gd name="connsiteY69" fmla="*/ 539847 h 901154"/>
                  <a:gd name="connsiteX70" fmla="*/ 0 w 2441576"/>
                  <a:gd name="connsiteY70" fmla="*/ 456403 h 901154"/>
                  <a:gd name="connsiteX71" fmla="*/ 0 w 2441576"/>
                  <a:gd name="connsiteY71" fmla="*/ 387795 h 901154"/>
                  <a:gd name="connsiteX72" fmla="*/ 0 w 2441576"/>
                  <a:gd name="connsiteY72" fmla="*/ 304351 h 901154"/>
                  <a:gd name="connsiteX73" fmla="*/ 0 w 2441576"/>
                  <a:gd name="connsiteY73" fmla="*/ 235743 h 901154"/>
                  <a:gd name="connsiteX74" fmla="*/ 0 w 2441576"/>
                  <a:gd name="connsiteY74" fmla="*/ 152299 h 901154"/>
                  <a:gd name="connsiteX75" fmla="*/ 0 w 2441576"/>
                  <a:gd name="connsiteY75" fmla="*/ 83691 h 901154"/>
                  <a:gd name="connsiteX76" fmla="*/ 0 w 2441576"/>
                  <a:gd name="connsiteY76" fmla="*/ 247 h 901154"/>
                  <a:gd name="connsiteX0" fmla="*/ 0 w 2441576"/>
                  <a:gd name="connsiteY0" fmla="*/ 247 h 901154"/>
                  <a:gd name="connsiteX1" fmla="*/ 94270 w 2441576"/>
                  <a:gd name="connsiteY1" fmla="*/ 247 h 901154"/>
                  <a:gd name="connsiteX2" fmla="*/ 185400 w 2441576"/>
                  <a:gd name="connsiteY2" fmla="*/ 247 h 901154"/>
                  <a:gd name="connsiteX3" fmla="*/ 188541 w 2441576"/>
                  <a:gd name="connsiteY3" fmla="*/ 247 h 901154"/>
                  <a:gd name="connsiteX4" fmla="*/ 282811 w 2441576"/>
                  <a:gd name="connsiteY4" fmla="*/ 247 h 901154"/>
                  <a:gd name="connsiteX5" fmla="*/ 377080 w 2441576"/>
                  <a:gd name="connsiteY5" fmla="*/ 247 h 901154"/>
                  <a:gd name="connsiteX6" fmla="*/ 470246 w 2441576"/>
                  <a:gd name="connsiteY6" fmla="*/ 247 h 901154"/>
                  <a:gd name="connsiteX7" fmla="*/ 471351 w 2441576"/>
                  <a:gd name="connsiteY7" fmla="*/ 247 h 901154"/>
                  <a:gd name="connsiteX8" fmla="*/ 581332 w 2441576"/>
                  <a:gd name="connsiteY8" fmla="*/ 247 h 901154"/>
                  <a:gd name="connsiteX9" fmla="*/ 685028 w 2441576"/>
                  <a:gd name="connsiteY9" fmla="*/ 247 h 901154"/>
                  <a:gd name="connsiteX10" fmla="*/ 755093 w 2441576"/>
                  <a:gd name="connsiteY10" fmla="*/ 247 h 901154"/>
                  <a:gd name="connsiteX11" fmla="*/ 969874 w 2441576"/>
                  <a:gd name="connsiteY11" fmla="*/ 247 h 901154"/>
                  <a:gd name="connsiteX12" fmla="*/ 1039939 w 2441576"/>
                  <a:gd name="connsiteY12" fmla="*/ 247 h 901154"/>
                  <a:gd name="connsiteX13" fmla="*/ 1254721 w 2441576"/>
                  <a:gd name="connsiteY13" fmla="*/ 247 h 901154"/>
                  <a:gd name="connsiteX14" fmla="*/ 1324785 w 2441576"/>
                  <a:gd name="connsiteY14" fmla="*/ 247 h 901154"/>
                  <a:gd name="connsiteX15" fmla="*/ 1430031 w 2441576"/>
                  <a:gd name="connsiteY15" fmla="*/ 0 h 901154"/>
                  <a:gd name="connsiteX16" fmla="*/ 1539566 w 2441576"/>
                  <a:gd name="connsiteY16" fmla="*/ 247 h 901154"/>
                  <a:gd name="connsiteX17" fmla="*/ 1609632 w 2441576"/>
                  <a:gd name="connsiteY17" fmla="*/ 247 h 901154"/>
                  <a:gd name="connsiteX18" fmla="*/ 1707946 w 2441576"/>
                  <a:gd name="connsiteY18" fmla="*/ 1 h 901154"/>
                  <a:gd name="connsiteX19" fmla="*/ 1824412 w 2441576"/>
                  <a:gd name="connsiteY19" fmla="*/ 247 h 901154"/>
                  <a:gd name="connsiteX20" fmla="*/ 1941949 w 2441576"/>
                  <a:gd name="connsiteY20" fmla="*/ 247 h 901154"/>
                  <a:gd name="connsiteX21" fmla="*/ 2094866 w 2441576"/>
                  <a:gd name="connsiteY21" fmla="*/ 247 h 901154"/>
                  <a:gd name="connsiteX22" fmla="*/ 2176781 w 2441576"/>
                  <a:gd name="connsiteY22" fmla="*/ 247 h 901154"/>
                  <a:gd name="connsiteX23" fmla="*/ 2258696 w 2441576"/>
                  <a:gd name="connsiteY23" fmla="*/ 247 h 901154"/>
                  <a:gd name="connsiteX24" fmla="*/ 2321561 w 2441576"/>
                  <a:gd name="connsiteY24" fmla="*/ 247 h 901154"/>
                  <a:gd name="connsiteX25" fmla="*/ 2441576 w 2441576"/>
                  <a:gd name="connsiteY25" fmla="*/ 247 h 901154"/>
                  <a:gd name="connsiteX26" fmla="*/ 2441576 w 2441576"/>
                  <a:gd name="connsiteY26" fmla="*/ 83691 h 901154"/>
                  <a:gd name="connsiteX27" fmla="*/ 2441576 w 2441576"/>
                  <a:gd name="connsiteY27" fmla="*/ 152299 h 901154"/>
                  <a:gd name="connsiteX28" fmla="*/ 2441576 w 2441576"/>
                  <a:gd name="connsiteY28" fmla="*/ 235743 h 901154"/>
                  <a:gd name="connsiteX29" fmla="*/ 2441576 w 2441576"/>
                  <a:gd name="connsiteY29" fmla="*/ 304351 h 901154"/>
                  <a:gd name="connsiteX30" fmla="*/ 2441576 w 2441576"/>
                  <a:gd name="connsiteY30" fmla="*/ 387795 h 901154"/>
                  <a:gd name="connsiteX31" fmla="*/ 2441576 w 2441576"/>
                  <a:gd name="connsiteY31" fmla="*/ 456403 h 901154"/>
                  <a:gd name="connsiteX32" fmla="*/ 2441576 w 2441576"/>
                  <a:gd name="connsiteY32" fmla="*/ 539847 h 901154"/>
                  <a:gd name="connsiteX33" fmla="*/ 2441576 w 2441576"/>
                  <a:gd name="connsiteY33" fmla="*/ 608455 h 901154"/>
                  <a:gd name="connsiteX34" fmla="*/ 2441576 w 2441576"/>
                  <a:gd name="connsiteY34" fmla="*/ 691899 h 901154"/>
                  <a:gd name="connsiteX35" fmla="*/ 2441576 w 2441576"/>
                  <a:gd name="connsiteY35" fmla="*/ 760507 h 901154"/>
                  <a:gd name="connsiteX36" fmla="*/ 2441576 w 2441576"/>
                  <a:gd name="connsiteY36" fmla="*/ 832545 h 901154"/>
                  <a:gd name="connsiteX37" fmla="*/ 2441576 w 2441576"/>
                  <a:gd name="connsiteY37" fmla="*/ 901153 h 901154"/>
                  <a:gd name="connsiteX38" fmla="*/ 2321561 w 2441576"/>
                  <a:gd name="connsiteY38" fmla="*/ 901153 h 901154"/>
                  <a:gd name="connsiteX39" fmla="*/ 2239646 w 2441576"/>
                  <a:gd name="connsiteY39" fmla="*/ 901153 h 901154"/>
                  <a:gd name="connsiteX40" fmla="*/ 2176781 w 2441576"/>
                  <a:gd name="connsiteY40" fmla="*/ 901153 h 901154"/>
                  <a:gd name="connsiteX41" fmla="*/ 2109259 w 2441576"/>
                  <a:gd name="connsiteY41" fmla="*/ 901153 h 901154"/>
                  <a:gd name="connsiteX42" fmla="*/ 2025730 w 2441576"/>
                  <a:gd name="connsiteY42" fmla="*/ 901153 h 901154"/>
                  <a:gd name="connsiteX43" fmla="*/ 1941949 w 2441576"/>
                  <a:gd name="connsiteY43" fmla="*/ 901153 h 901154"/>
                  <a:gd name="connsiteX44" fmla="*/ 1824412 w 2441576"/>
                  <a:gd name="connsiteY44" fmla="*/ 901153 h 901154"/>
                  <a:gd name="connsiteX45" fmla="*/ 1720844 w 2441576"/>
                  <a:gd name="connsiteY45" fmla="*/ 901153 h 901154"/>
                  <a:gd name="connsiteX46" fmla="*/ 1609632 w 2441576"/>
                  <a:gd name="connsiteY46" fmla="*/ 901153 h 901154"/>
                  <a:gd name="connsiteX47" fmla="*/ 1539566 w 2441576"/>
                  <a:gd name="connsiteY47" fmla="*/ 901153 h 901154"/>
                  <a:gd name="connsiteX48" fmla="*/ 1427685 w 2441576"/>
                  <a:gd name="connsiteY48" fmla="*/ 901153 h 901154"/>
                  <a:gd name="connsiteX49" fmla="*/ 1324785 w 2441576"/>
                  <a:gd name="connsiteY49" fmla="*/ 901153 h 901154"/>
                  <a:gd name="connsiteX50" fmla="*/ 1254721 w 2441576"/>
                  <a:gd name="connsiteY50" fmla="*/ 901153 h 901154"/>
                  <a:gd name="connsiteX51" fmla="*/ 1146253 w 2441576"/>
                  <a:gd name="connsiteY51" fmla="*/ 901153 h 901154"/>
                  <a:gd name="connsiteX52" fmla="*/ 1039939 w 2441576"/>
                  <a:gd name="connsiteY52" fmla="*/ 901153 h 901154"/>
                  <a:gd name="connsiteX53" fmla="*/ 969874 w 2441576"/>
                  <a:gd name="connsiteY53" fmla="*/ 901153 h 901154"/>
                  <a:gd name="connsiteX54" fmla="*/ 864820 w 2441576"/>
                  <a:gd name="connsiteY54" fmla="*/ 901154 h 901154"/>
                  <a:gd name="connsiteX55" fmla="*/ 755093 w 2441576"/>
                  <a:gd name="connsiteY55" fmla="*/ 901153 h 901154"/>
                  <a:gd name="connsiteX56" fmla="*/ 685028 w 2441576"/>
                  <a:gd name="connsiteY56" fmla="*/ 901153 h 901154"/>
                  <a:gd name="connsiteX57" fmla="*/ 581332 w 2441576"/>
                  <a:gd name="connsiteY57" fmla="*/ 901153 h 901154"/>
                  <a:gd name="connsiteX58" fmla="*/ 471351 w 2441576"/>
                  <a:gd name="connsiteY58" fmla="*/ 901153 h 901154"/>
                  <a:gd name="connsiteX59" fmla="*/ 470246 w 2441576"/>
                  <a:gd name="connsiteY59" fmla="*/ 901153 h 901154"/>
                  <a:gd name="connsiteX60" fmla="*/ 377080 w 2441576"/>
                  <a:gd name="connsiteY60" fmla="*/ 901153 h 901154"/>
                  <a:gd name="connsiteX61" fmla="*/ 282811 w 2441576"/>
                  <a:gd name="connsiteY61" fmla="*/ 901153 h 901154"/>
                  <a:gd name="connsiteX62" fmla="*/ 188541 w 2441576"/>
                  <a:gd name="connsiteY62" fmla="*/ 901153 h 901154"/>
                  <a:gd name="connsiteX63" fmla="*/ 185400 w 2441576"/>
                  <a:gd name="connsiteY63" fmla="*/ 901153 h 901154"/>
                  <a:gd name="connsiteX64" fmla="*/ 94270 w 2441576"/>
                  <a:gd name="connsiteY64" fmla="*/ 901153 h 901154"/>
                  <a:gd name="connsiteX65" fmla="*/ 0 w 2441576"/>
                  <a:gd name="connsiteY65" fmla="*/ 901153 h 901154"/>
                  <a:gd name="connsiteX66" fmla="*/ 0 w 2441576"/>
                  <a:gd name="connsiteY66" fmla="*/ 832545 h 901154"/>
                  <a:gd name="connsiteX67" fmla="*/ 0 w 2441576"/>
                  <a:gd name="connsiteY67" fmla="*/ 760507 h 901154"/>
                  <a:gd name="connsiteX68" fmla="*/ 0 w 2441576"/>
                  <a:gd name="connsiteY68" fmla="*/ 691899 h 901154"/>
                  <a:gd name="connsiteX69" fmla="*/ 0 w 2441576"/>
                  <a:gd name="connsiteY69" fmla="*/ 608455 h 901154"/>
                  <a:gd name="connsiteX70" fmla="*/ 0 w 2441576"/>
                  <a:gd name="connsiteY70" fmla="*/ 539847 h 901154"/>
                  <a:gd name="connsiteX71" fmla="*/ 0 w 2441576"/>
                  <a:gd name="connsiteY71" fmla="*/ 456403 h 901154"/>
                  <a:gd name="connsiteX72" fmla="*/ 0 w 2441576"/>
                  <a:gd name="connsiteY72" fmla="*/ 387795 h 901154"/>
                  <a:gd name="connsiteX73" fmla="*/ 0 w 2441576"/>
                  <a:gd name="connsiteY73" fmla="*/ 304351 h 901154"/>
                  <a:gd name="connsiteX74" fmla="*/ 0 w 2441576"/>
                  <a:gd name="connsiteY74" fmla="*/ 235743 h 901154"/>
                  <a:gd name="connsiteX75" fmla="*/ 0 w 2441576"/>
                  <a:gd name="connsiteY75" fmla="*/ 152299 h 901154"/>
                  <a:gd name="connsiteX76" fmla="*/ 0 w 2441576"/>
                  <a:gd name="connsiteY76" fmla="*/ 83691 h 901154"/>
                  <a:gd name="connsiteX77" fmla="*/ 0 w 2441576"/>
                  <a:gd name="connsiteY77" fmla="*/ 247 h 901154"/>
                  <a:gd name="connsiteX0" fmla="*/ 0 w 2441576"/>
                  <a:gd name="connsiteY0" fmla="*/ 247 h 901154"/>
                  <a:gd name="connsiteX1" fmla="*/ 94270 w 2441576"/>
                  <a:gd name="connsiteY1" fmla="*/ 247 h 901154"/>
                  <a:gd name="connsiteX2" fmla="*/ 185400 w 2441576"/>
                  <a:gd name="connsiteY2" fmla="*/ 247 h 901154"/>
                  <a:gd name="connsiteX3" fmla="*/ 188541 w 2441576"/>
                  <a:gd name="connsiteY3" fmla="*/ 247 h 901154"/>
                  <a:gd name="connsiteX4" fmla="*/ 282811 w 2441576"/>
                  <a:gd name="connsiteY4" fmla="*/ 247 h 901154"/>
                  <a:gd name="connsiteX5" fmla="*/ 377080 w 2441576"/>
                  <a:gd name="connsiteY5" fmla="*/ 247 h 901154"/>
                  <a:gd name="connsiteX6" fmla="*/ 470246 w 2441576"/>
                  <a:gd name="connsiteY6" fmla="*/ 247 h 901154"/>
                  <a:gd name="connsiteX7" fmla="*/ 471351 w 2441576"/>
                  <a:gd name="connsiteY7" fmla="*/ 247 h 901154"/>
                  <a:gd name="connsiteX8" fmla="*/ 581332 w 2441576"/>
                  <a:gd name="connsiteY8" fmla="*/ 247 h 901154"/>
                  <a:gd name="connsiteX9" fmla="*/ 685028 w 2441576"/>
                  <a:gd name="connsiteY9" fmla="*/ 247 h 901154"/>
                  <a:gd name="connsiteX10" fmla="*/ 755093 w 2441576"/>
                  <a:gd name="connsiteY10" fmla="*/ 247 h 901154"/>
                  <a:gd name="connsiteX11" fmla="*/ 969874 w 2441576"/>
                  <a:gd name="connsiteY11" fmla="*/ 247 h 901154"/>
                  <a:gd name="connsiteX12" fmla="*/ 1039939 w 2441576"/>
                  <a:gd name="connsiteY12" fmla="*/ 247 h 901154"/>
                  <a:gd name="connsiteX13" fmla="*/ 1146839 w 2441576"/>
                  <a:gd name="connsiteY13" fmla="*/ 1 h 901154"/>
                  <a:gd name="connsiteX14" fmla="*/ 1254721 w 2441576"/>
                  <a:gd name="connsiteY14" fmla="*/ 247 h 901154"/>
                  <a:gd name="connsiteX15" fmla="*/ 1324785 w 2441576"/>
                  <a:gd name="connsiteY15" fmla="*/ 247 h 901154"/>
                  <a:gd name="connsiteX16" fmla="*/ 1430031 w 2441576"/>
                  <a:gd name="connsiteY16" fmla="*/ 0 h 901154"/>
                  <a:gd name="connsiteX17" fmla="*/ 1539566 w 2441576"/>
                  <a:gd name="connsiteY17" fmla="*/ 247 h 901154"/>
                  <a:gd name="connsiteX18" fmla="*/ 1609632 w 2441576"/>
                  <a:gd name="connsiteY18" fmla="*/ 247 h 901154"/>
                  <a:gd name="connsiteX19" fmla="*/ 1707946 w 2441576"/>
                  <a:gd name="connsiteY19" fmla="*/ 1 h 901154"/>
                  <a:gd name="connsiteX20" fmla="*/ 1824412 w 2441576"/>
                  <a:gd name="connsiteY20" fmla="*/ 247 h 901154"/>
                  <a:gd name="connsiteX21" fmla="*/ 1941949 w 2441576"/>
                  <a:gd name="connsiteY21" fmla="*/ 247 h 901154"/>
                  <a:gd name="connsiteX22" fmla="*/ 2094866 w 2441576"/>
                  <a:gd name="connsiteY22" fmla="*/ 247 h 901154"/>
                  <a:gd name="connsiteX23" fmla="*/ 2176781 w 2441576"/>
                  <a:gd name="connsiteY23" fmla="*/ 247 h 901154"/>
                  <a:gd name="connsiteX24" fmla="*/ 2258696 w 2441576"/>
                  <a:gd name="connsiteY24" fmla="*/ 247 h 901154"/>
                  <a:gd name="connsiteX25" fmla="*/ 2321561 w 2441576"/>
                  <a:gd name="connsiteY25" fmla="*/ 247 h 901154"/>
                  <a:gd name="connsiteX26" fmla="*/ 2441576 w 2441576"/>
                  <a:gd name="connsiteY26" fmla="*/ 247 h 901154"/>
                  <a:gd name="connsiteX27" fmla="*/ 2441576 w 2441576"/>
                  <a:gd name="connsiteY27" fmla="*/ 83691 h 901154"/>
                  <a:gd name="connsiteX28" fmla="*/ 2441576 w 2441576"/>
                  <a:gd name="connsiteY28" fmla="*/ 152299 h 901154"/>
                  <a:gd name="connsiteX29" fmla="*/ 2441576 w 2441576"/>
                  <a:gd name="connsiteY29" fmla="*/ 235743 h 901154"/>
                  <a:gd name="connsiteX30" fmla="*/ 2441576 w 2441576"/>
                  <a:gd name="connsiteY30" fmla="*/ 304351 h 901154"/>
                  <a:gd name="connsiteX31" fmla="*/ 2441576 w 2441576"/>
                  <a:gd name="connsiteY31" fmla="*/ 387795 h 901154"/>
                  <a:gd name="connsiteX32" fmla="*/ 2441576 w 2441576"/>
                  <a:gd name="connsiteY32" fmla="*/ 456403 h 901154"/>
                  <a:gd name="connsiteX33" fmla="*/ 2441576 w 2441576"/>
                  <a:gd name="connsiteY33" fmla="*/ 539847 h 901154"/>
                  <a:gd name="connsiteX34" fmla="*/ 2441576 w 2441576"/>
                  <a:gd name="connsiteY34" fmla="*/ 608455 h 901154"/>
                  <a:gd name="connsiteX35" fmla="*/ 2441576 w 2441576"/>
                  <a:gd name="connsiteY35" fmla="*/ 691899 h 901154"/>
                  <a:gd name="connsiteX36" fmla="*/ 2441576 w 2441576"/>
                  <a:gd name="connsiteY36" fmla="*/ 760507 h 901154"/>
                  <a:gd name="connsiteX37" fmla="*/ 2441576 w 2441576"/>
                  <a:gd name="connsiteY37" fmla="*/ 832545 h 901154"/>
                  <a:gd name="connsiteX38" fmla="*/ 2441576 w 2441576"/>
                  <a:gd name="connsiteY38" fmla="*/ 901153 h 901154"/>
                  <a:gd name="connsiteX39" fmla="*/ 2321561 w 2441576"/>
                  <a:gd name="connsiteY39" fmla="*/ 901153 h 901154"/>
                  <a:gd name="connsiteX40" fmla="*/ 2239646 w 2441576"/>
                  <a:gd name="connsiteY40" fmla="*/ 901153 h 901154"/>
                  <a:gd name="connsiteX41" fmla="*/ 2176781 w 2441576"/>
                  <a:gd name="connsiteY41" fmla="*/ 901153 h 901154"/>
                  <a:gd name="connsiteX42" fmla="*/ 2109259 w 2441576"/>
                  <a:gd name="connsiteY42" fmla="*/ 901153 h 901154"/>
                  <a:gd name="connsiteX43" fmla="*/ 2025730 w 2441576"/>
                  <a:gd name="connsiteY43" fmla="*/ 901153 h 901154"/>
                  <a:gd name="connsiteX44" fmla="*/ 1941949 w 2441576"/>
                  <a:gd name="connsiteY44" fmla="*/ 901153 h 901154"/>
                  <a:gd name="connsiteX45" fmla="*/ 1824412 w 2441576"/>
                  <a:gd name="connsiteY45" fmla="*/ 901153 h 901154"/>
                  <a:gd name="connsiteX46" fmla="*/ 1720844 w 2441576"/>
                  <a:gd name="connsiteY46" fmla="*/ 901153 h 901154"/>
                  <a:gd name="connsiteX47" fmla="*/ 1609632 w 2441576"/>
                  <a:gd name="connsiteY47" fmla="*/ 901153 h 901154"/>
                  <a:gd name="connsiteX48" fmla="*/ 1539566 w 2441576"/>
                  <a:gd name="connsiteY48" fmla="*/ 901153 h 901154"/>
                  <a:gd name="connsiteX49" fmla="*/ 1427685 w 2441576"/>
                  <a:gd name="connsiteY49" fmla="*/ 901153 h 901154"/>
                  <a:gd name="connsiteX50" fmla="*/ 1324785 w 2441576"/>
                  <a:gd name="connsiteY50" fmla="*/ 901153 h 901154"/>
                  <a:gd name="connsiteX51" fmla="*/ 1254721 w 2441576"/>
                  <a:gd name="connsiteY51" fmla="*/ 901153 h 901154"/>
                  <a:gd name="connsiteX52" fmla="*/ 1146253 w 2441576"/>
                  <a:gd name="connsiteY52" fmla="*/ 901153 h 901154"/>
                  <a:gd name="connsiteX53" fmla="*/ 1039939 w 2441576"/>
                  <a:gd name="connsiteY53" fmla="*/ 901153 h 901154"/>
                  <a:gd name="connsiteX54" fmla="*/ 969874 w 2441576"/>
                  <a:gd name="connsiteY54" fmla="*/ 901153 h 901154"/>
                  <a:gd name="connsiteX55" fmla="*/ 864820 w 2441576"/>
                  <a:gd name="connsiteY55" fmla="*/ 901154 h 901154"/>
                  <a:gd name="connsiteX56" fmla="*/ 755093 w 2441576"/>
                  <a:gd name="connsiteY56" fmla="*/ 901153 h 901154"/>
                  <a:gd name="connsiteX57" fmla="*/ 685028 w 2441576"/>
                  <a:gd name="connsiteY57" fmla="*/ 901153 h 901154"/>
                  <a:gd name="connsiteX58" fmla="*/ 581332 w 2441576"/>
                  <a:gd name="connsiteY58" fmla="*/ 901153 h 901154"/>
                  <a:gd name="connsiteX59" fmla="*/ 471351 w 2441576"/>
                  <a:gd name="connsiteY59" fmla="*/ 901153 h 901154"/>
                  <a:gd name="connsiteX60" fmla="*/ 470246 w 2441576"/>
                  <a:gd name="connsiteY60" fmla="*/ 901153 h 901154"/>
                  <a:gd name="connsiteX61" fmla="*/ 377080 w 2441576"/>
                  <a:gd name="connsiteY61" fmla="*/ 901153 h 901154"/>
                  <a:gd name="connsiteX62" fmla="*/ 282811 w 2441576"/>
                  <a:gd name="connsiteY62" fmla="*/ 901153 h 901154"/>
                  <a:gd name="connsiteX63" fmla="*/ 188541 w 2441576"/>
                  <a:gd name="connsiteY63" fmla="*/ 901153 h 901154"/>
                  <a:gd name="connsiteX64" fmla="*/ 185400 w 2441576"/>
                  <a:gd name="connsiteY64" fmla="*/ 901153 h 901154"/>
                  <a:gd name="connsiteX65" fmla="*/ 94270 w 2441576"/>
                  <a:gd name="connsiteY65" fmla="*/ 901153 h 901154"/>
                  <a:gd name="connsiteX66" fmla="*/ 0 w 2441576"/>
                  <a:gd name="connsiteY66" fmla="*/ 901153 h 901154"/>
                  <a:gd name="connsiteX67" fmla="*/ 0 w 2441576"/>
                  <a:gd name="connsiteY67" fmla="*/ 832545 h 901154"/>
                  <a:gd name="connsiteX68" fmla="*/ 0 w 2441576"/>
                  <a:gd name="connsiteY68" fmla="*/ 760507 h 901154"/>
                  <a:gd name="connsiteX69" fmla="*/ 0 w 2441576"/>
                  <a:gd name="connsiteY69" fmla="*/ 691899 h 901154"/>
                  <a:gd name="connsiteX70" fmla="*/ 0 w 2441576"/>
                  <a:gd name="connsiteY70" fmla="*/ 608455 h 901154"/>
                  <a:gd name="connsiteX71" fmla="*/ 0 w 2441576"/>
                  <a:gd name="connsiteY71" fmla="*/ 539847 h 901154"/>
                  <a:gd name="connsiteX72" fmla="*/ 0 w 2441576"/>
                  <a:gd name="connsiteY72" fmla="*/ 456403 h 901154"/>
                  <a:gd name="connsiteX73" fmla="*/ 0 w 2441576"/>
                  <a:gd name="connsiteY73" fmla="*/ 387795 h 901154"/>
                  <a:gd name="connsiteX74" fmla="*/ 0 w 2441576"/>
                  <a:gd name="connsiteY74" fmla="*/ 304351 h 901154"/>
                  <a:gd name="connsiteX75" fmla="*/ 0 w 2441576"/>
                  <a:gd name="connsiteY75" fmla="*/ 235743 h 901154"/>
                  <a:gd name="connsiteX76" fmla="*/ 0 w 2441576"/>
                  <a:gd name="connsiteY76" fmla="*/ 152299 h 901154"/>
                  <a:gd name="connsiteX77" fmla="*/ 0 w 2441576"/>
                  <a:gd name="connsiteY77" fmla="*/ 83691 h 901154"/>
                  <a:gd name="connsiteX78" fmla="*/ 0 w 2441576"/>
                  <a:gd name="connsiteY78" fmla="*/ 247 h 901154"/>
                  <a:gd name="connsiteX0" fmla="*/ 0 w 2441576"/>
                  <a:gd name="connsiteY0" fmla="*/ 247 h 901154"/>
                  <a:gd name="connsiteX1" fmla="*/ 94270 w 2441576"/>
                  <a:gd name="connsiteY1" fmla="*/ 247 h 901154"/>
                  <a:gd name="connsiteX2" fmla="*/ 185400 w 2441576"/>
                  <a:gd name="connsiteY2" fmla="*/ 247 h 901154"/>
                  <a:gd name="connsiteX3" fmla="*/ 188541 w 2441576"/>
                  <a:gd name="connsiteY3" fmla="*/ 247 h 901154"/>
                  <a:gd name="connsiteX4" fmla="*/ 282811 w 2441576"/>
                  <a:gd name="connsiteY4" fmla="*/ 247 h 901154"/>
                  <a:gd name="connsiteX5" fmla="*/ 377080 w 2441576"/>
                  <a:gd name="connsiteY5" fmla="*/ 247 h 901154"/>
                  <a:gd name="connsiteX6" fmla="*/ 470246 w 2441576"/>
                  <a:gd name="connsiteY6" fmla="*/ 247 h 901154"/>
                  <a:gd name="connsiteX7" fmla="*/ 471351 w 2441576"/>
                  <a:gd name="connsiteY7" fmla="*/ 247 h 901154"/>
                  <a:gd name="connsiteX8" fmla="*/ 581332 w 2441576"/>
                  <a:gd name="connsiteY8" fmla="*/ 247 h 901154"/>
                  <a:gd name="connsiteX9" fmla="*/ 685028 w 2441576"/>
                  <a:gd name="connsiteY9" fmla="*/ 247 h 901154"/>
                  <a:gd name="connsiteX10" fmla="*/ 755093 w 2441576"/>
                  <a:gd name="connsiteY10" fmla="*/ 247 h 901154"/>
                  <a:gd name="connsiteX11" fmla="*/ 860129 w 2441576"/>
                  <a:gd name="connsiteY11" fmla="*/ 1 h 901154"/>
                  <a:gd name="connsiteX12" fmla="*/ 969874 w 2441576"/>
                  <a:gd name="connsiteY12" fmla="*/ 247 h 901154"/>
                  <a:gd name="connsiteX13" fmla="*/ 1039939 w 2441576"/>
                  <a:gd name="connsiteY13" fmla="*/ 247 h 901154"/>
                  <a:gd name="connsiteX14" fmla="*/ 1146839 w 2441576"/>
                  <a:gd name="connsiteY14" fmla="*/ 1 h 901154"/>
                  <a:gd name="connsiteX15" fmla="*/ 1254721 w 2441576"/>
                  <a:gd name="connsiteY15" fmla="*/ 247 h 901154"/>
                  <a:gd name="connsiteX16" fmla="*/ 1324785 w 2441576"/>
                  <a:gd name="connsiteY16" fmla="*/ 247 h 901154"/>
                  <a:gd name="connsiteX17" fmla="*/ 1430031 w 2441576"/>
                  <a:gd name="connsiteY17" fmla="*/ 0 h 901154"/>
                  <a:gd name="connsiteX18" fmla="*/ 1539566 w 2441576"/>
                  <a:gd name="connsiteY18" fmla="*/ 247 h 901154"/>
                  <a:gd name="connsiteX19" fmla="*/ 1609632 w 2441576"/>
                  <a:gd name="connsiteY19" fmla="*/ 247 h 901154"/>
                  <a:gd name="connsiteX20" fmla="*/ 1707946 w 2441576"/>
                  <a:gd name="connsiteY20" fmla="*/ 1 h 901154"/>
                  <a:gd name="connsiteX21" fmla="*/ 1824412 w 2441576"/>
                  <a:gd name="connsiteY21" fmla="*/ 247 h 901154"/>
                  <a:gd name="connsiteX22" fmla="*/ 1941949 w 2441576"/>
                  <a:gd name="connsiteY22" fmla="*/ 247 h 901154"/>
                  <a:gd name="connsiteX23" fmla="*/ 2094866 w 2441576"/>
                  <a:gd name="connsiteY23" fmla="*/ 247 h 901154"/>
                  <a:gd name="connsiteX24" fmla="*/ 2176781 w 2441576"/>
                  <a:gd name="connsiteY24" fmla="*/ 247 h 901154"/>
                  <a:gd name="connsiteX25" fmla="*/ 2258696 w 2441576"/>
                  <a:gd name="connsiteY25" fmla="*/ 247 h 901154"/>
                  <a:gd name="connsiteX26" fmla="*/ 2321561 w 2441576"/>
                  <a:gd name="connsiteY26" fmla="*/ 247 h 901154"/>
                  <a:gd name="connsiteX27" fmla="*/ 2441576 w 2441576"/>
                  <a:gd name="connsiteY27" fmla="*/ 247 h 901154"/>
                  <a:gd name="connsiteX28" fmla="*/ 2441576 w 2441576"/>
                  <a:gd name="connsiteY28" fmla="*/ 83691 h 901154"/>
                  <a:gd name="connsiteX29" fmla="*/ 2441576 w 2441576"/>
                  <a:gd name="connsiteY29" fmla="*/ 152299 h 901154"/>
                  <a:gd name="connsiteX30" fmla="*/ 2441576 w 2441576"/>
                  <a:gd name="connsiteY30" fmla="*/ 235743 h 901154"/>
                  <a:gd name="connsiteX31" fmla="*/ 2441576 w 2441576"/>
                  <a:gd name="connsiteY31" fmla="*/ 304351 h 901154"/>
                  <a:gd name="connsiteX32" fmla="*/ 2441576 w 2441576"/>
                  <a:gd name="connsiteY32" fmla="*/ 387795 h 901154"/>
                  <a:gd name="connsiteX33" fmla="*/ 2441576 w 2441576"/>
                  <a:gd name="connsiteY33" fmla="*/ 456403 h 901154"/>
                  <a:gd name="connsiteX34" fmla="*/ 2441576 w 2441576"/>
                  <a:gd name="connsiteY34" fmla="*/ 539847 h 901154"/>
                  <a:gd name="connsiteX35" fmla="*/ 2441576 w 2441576"/>
                  <a:gd name="connsiteY35" fmla="*/ 608455 h 901154"/>
                  <a:gd name="connsiteX36" fmla="*/ 2441576 w 2441576"/>
                  <a:gd name="connsiteY36" fmla="*/ 691899 h 901154"/>
                  <a:gd name="connsiteX37" fmla="*/ 2441576 w 2441576"/>
                  <a:gd name="connsiteY37" fmla="*/ 760507 h 901154"/>
                  <a:gd name="connsiteX38" fmla="*/ 2441576 w 2441576"/>
                  <a:gd name="connsiteY38" fmla="*/ 832545 h 901154"/>
                  <a:gd name="connsiteX39" fmla="*/ 2441576 w 2441576"/>
                  <a:gd name="connsiteY39" fmla="*/ 901153 h 901154"/>
                  <a:gd name="connsiteX40" fmla="*/ 2321561 w 2441576"/>
                  <a:gd name="connsiteY40" fmla="*/ 901153 h 901154"/>
                  <a:gd name="connsiteX41" fmla="*/ 2239646 w 2441576"/>
                  <a:gd name="connsiteY41" fmla="*/ 901153 h 901154"/>
                  <a:gd name="connsiteX42" fmla="*/ 2176781 w 2441576"/>
                  <a:gd name="connsiteY42" fmla="*/ 901153 h 901154"/>
                  <a:gd name="connsiteX43" fmla="*/ 2109259 w 2441576"/>
                  <a:gd name="connsiteY43" fmla="*/ 901153 h 901154"/>
                  <a:gd name="connsiteX44" fmla="*/ 2025730 w 2441576"/>
                  <a:gd name="connsiteY44" fmla="*/ 901153 h 901154"/>
                  <a:gd name="connsiteX45" fmla="*/ 1941949 w 2441576"/>
                  <a:gd name="connsiteY45" fmla="*/ 901153 h 901154"/>
                  <a:gd name="connsiteX46" fmla="*/ 1824412 w 2441576"/>
                  <a:gd name="connsiteY46" fmla="*/ 901153 h 901154"/>
                  <a:gd name="connsiteX47" fmla="*/ 1720844 w 2441576"/>
                  <a:gd name="connsiteY47" fmla="*/ 901153 h 901154"/>
                  <a:gd name="connsiteX48" fmla="*/ 1609632 w 2441576"/>
                  <a:gd name="connsiteY48" fmla="*/ 901153 h 901154"/>
                  <a:gd name="connsiteX49" fmla="*/ 1539566 w 2441576"/>
                  <a:gd name="connsiteY49" fmla="*/ 901153 h 901154"/>
                  <a:gd name="connsiteX50" fmla="*/ 1427685 w 2441576"/>
                  <a:gd name="connsiteY50" fmla="*/ 901153 h 901154"/>
                  <a:gd name="connsiteX51" fmla="*/ 1324785 w 2441576"/>
                  <a:gd name="connsiteY51" fmla="*/ 901153 h 901154"/>
                  <a:gd name="connsiteX52" fmla="*/ 1254721 w 2441576"/>
                  <a:gd name="connsiteY52" fmla="*/ 901153 h 901154"/>
                  <a:gd name="connsiteX53" fmla="*/ 1146253 w 2441576"/>
                  <a:gd name="connsiteY53" fmla="*/ 901153 h 901154"/>
                  <a:gd name="connsiteX54" fmla="*/ 1039939 w 2441576"/>
                  <a:gd name="connsiteY54" fmla="*/ 901153 h 901154"/>
                  <a:gd name="connsiteX55" fmla="*/ 969874 w 2441576"/>
                  <a:gd name="connsiteY55" fmla="*/ 901153 h 901154"/>
                  <a:gd name="connsiteX56" fmla="*/ 864820 w 2441576"/>
                  <a:gd name="connsiteY56" fmla="*/ 901154 h 901154"/>
                  <a:gd name="connsiteX57" fmla="*/ 755093 w 2441576"/>
                  <a:gd name="connsiteY57" fmla="*/ 901153 h 901154"/>
                  <a:gd name="connsiteX58" fmla="*/ 685028 w 2441576"/>
                  <a:gd name="connsiteY58" fmla="*/ 901153 h 901154"/>
                  <a:gd name="connsiteX59" fmla="*/ 581332 w 2441576"/>
                  <a:gd name="connsiteY59" fmla="*/ 901153 h 901154"/>
                  <a:gd name="connsiteX60" fmla="*/ 471351 w 2441576"/>
                  <a:gd name="connsiteY60" fmla="*/ 901153 h 901154"/>
                  <a:gd name="connsiteX61" fmla="*/ 470246 w 2441576"/>
                  <a:gd name="connsiteY61" fmla="*/ 901153 h 901154"/>
                  <a:gd name="connsiteX62" fmla="*/ 377080 w 2441576"/>
                  <a:gd name="connsiteY62" fmla="*/ 901153 h 901154"/>
                  <a:gd name="connsiteX63" fmla="*/ 282811 w 2441576"/>
                  <a:gd name="connsiteY63" fmla="*/ 901153 h 901154"/>
                  <a:gd name="connsiteX64" fmla="*/ 188541 w 2441576"/>
                  <a:gd name="connsiteY64" fmla="*/ 901153 h 901154"/>
                  <a:gd name="connsiteX65" fmla="*/ 185400 w 2441576"/>
                  <a:gd name="connsiteY65" fmla="*/ 901153 h 901154"/>
                  <a:gd name="connsiteX66" fmla="*/ 94270 w 2441576"/>
                  <a:gd name="connsiteY66" fmla="*/ 901153 h 901154"/>
                  <a:gd name="connsiteX67" fmla="*/ 0 w 2441576"/>
                  <a:gd name="connsiteY67" fmla="*/ 901153 h 901154"/>
                  <a:gd name="connsiteX68" fmla="*/ 0 w 2441576"/>
                  <a:gd name="connsiteY68" fmla="*/ 832545 h 901154"/>
                  <a:gd name="connsiteX69" fmla="*/ 0 w 2441576"/>
                  <a:gd name="connsiteY69" fmla="*/ 760507 h 901154"/>
                  <a:gd name="connsiteX70" fmla="*/ 0 w 2441576"/>
                  <a:gd name="connsiteY70" fmla="*/ 691899 h 901154"/>
                  <a:gd name="connsiteX71" fmla="*/ 0 w 2441576"/>
                  <a:gd name="connsiteY71" fmla="*/ 608455 h 901154"/>
                  <a:gd name="connsiteX72" fmla="*/ 0 w 2441576"/>
                  <a:gd name="connsiteY72" fmla="*/ 539847 h 901154"/>
                  <a:gd name="connsiteX73" fmla="*/ 0 w 2441576"/>
                  <a:gd name="connsiteY73" fmla="*/ 456403 h 901154"/>
                  <a:gd name="connsiteX74" fmla="*/ 0 w 2441576"/>
                  <a:gd name="connsiteY74" fmla="*/ 387795 h 901154"/>
                  <a:gd name="connsiteX75" fmla="*/ 0 w 2441576"/>
                  <a:gd name="connsiteY75" fmla="*/ 304351 h 901154"/>
                  <a:gd name="connsiteX76" fmla="*/ 0 w 2441576"/>
                  <a:gd name="connsiteY76" fmla="*/ 235743 h 901154"/>
                  <a:gd name="connsiteX77" fmla="*/ 0 w 2441576"/>
                  <a:gd name="connsiteY77" fmla="*/ 152299 h 901154"/>
                  <a:gd name="connsiteX78" fmla="*/ 0 w 2441576"/>
                  <a:gd name="connsiteY78" fmla="*/ 83691 h 901154"/>
                  <a:gd name="connsiteX79" fmla="*/ 0 w 2441576"/>
                  <a:gd name="connsiteY79" fmla="*/ 247 h 901154"/>
                  <a:gd name="connsiteX0" fmla="*/ 0 w 2441576"/>
                  <a:gd name="connsiteY0" fmla="*/ 247 h 901154"/>
                  <a:gd name="connsiteX1" fmla="*/ 94270 w 2441576"/>
                  <a:gd name="connsiteY1" fmla="*/ 247 h 901154"/>
                  <a:gd name="connsiteX2" fmla="*/ 185400 w 2441576"/>
                  <a:gd name="connsiteY2" fmla="*/ 247 h 901154"/>
                  <a:gd name="connsiteX3" fmla="*/ 188541 w 2441576"/>
                  <a:gd name="connsiteY3" fmla="*/ 247 h 901154"/>
                  <a:gd name="connsiteX4" fmla="*/ 282811 w 2441576"/>
                  <a:gd name="connsiteY4" fmla="*/ 247 h 901154"/>
                  <a:gd name="connsiteX5" fmla="*/ 377080 w 2441576"/>
                  <a:gd name="connsiteY5" fmla="*/ 247 h 901154"/>
                  <a:gd name="connsiteX6" fmla="*/ 470246 w 2441576"/>
                  <a:gd name="connsiteY6" fmla="*/ 247 h 901154"/>
                  <a:gd name="connsiteX7" fmla="*/ 581332 w 2441576"/>
                  <a:gd name="connsiteY7" fmla="*/ 247 h 901154"/>
                  <a:gd name="connsiteX8" fmla="*/ 685028 w 2441576"/>
                  <a:gd name="connsiteY8" fmla="*/ 247 h 901154"/>
                  <a:gd name="connsiteX9" fmla="*/ 755093 w 2441576"/>
                  <a:gd name="connsiteY9" fmla="*/ 247 h 901154"/>
                  <a:gd name="connsiteX10" fmla="*/ 860129 w 2441576"/>
                  <a:gd name="connsiteY10" fmla="*/ 1 h 901154"/>
                  <a:gd name="connsiteX11" fmla="*/ 969874 w 2441576"/>
                  <a:gd name="connsiteY11" fmla="*/ 247 h 901154"/>
                  <a:gd name="connsiteX12" fmla="*/ 1039939 w 2441576"/>
                  <a:gd name="connsiteY12" fmla="*/ 247 h 901154"/>
                  <a:gd name="connsiteX13" fmla="*/ 1146839 w 2441576"/>
                  <a:gd name="connsiteY13" fmla="*/ 1 h 901154"/>
                  <a:gd name="connsiteX14" fmla="*/ 1254721 w 2441576"/>
                  <a:gd name="connsiteY14" fmla="*/ 247 h 901154"/>
                  <a:gd name="connsiteX15" fmla="*/ 1324785 w 2441576"/>
                  <a:gd name="connsiteY15" fmla="*/ 247 h 901154"/>
                  <a:gd name="connsiteX16" fmla="*/ 1430031 w 2441576"/>
                  <a:gd name="connsiteY16" fmla="*/ 0 h 901154"/>
                  <a:gd name="connsiteX17" fmla="*/ 1539566 w 2441576"/>
                  <a:gd name="connsiteY17" fmla="*/ 247 h 901154"/>
                  <a:gd name="connsiteX18" fmla="*/ 1609632 w 2441576"/>
                  <a:gd name="connsiteY18" fmla="*/ 247 h 901154"/>
                  <a:gd name="connsiteX19" fmla="*/ 1707946 w 2441576"/>
                  <a:gd name="connsiteY19" fmla="*/ 1 h 901154"/>
                  <a:gd name="connsiteX20" fmla="*/ 1824412 w 2441576"/>
                  <a:gd name="connsiteY20" fmla="*/ 247 h 901154"/>
                  <a:gd name="connsiteX21" fmla="*/ 1941949 w 2441576"/>
                  <a:gd name="connsiteY21" fmla="*/ 247 h 901154"/>
                  <a:gd name="connsiteX22" fmla="*/ 2094866 w 2441576"/>
                  <a:gd name="connsiteY22" fmla="*/ 247 h 901154"/>
                  <a:gd name="connsiteX23" fmla="*/ 2176781 w 2441576"/>
                  <a:gd name="connsiteY23" fmla="*/ 247 h 901154"/>
                  <a:gd name="connsiteX24" fmla="*/ 2258696 w 2441576"/>
                  <a:gd name="connsiteY24" fmla="*/ 247 h 901154"/>
                  <a:gd name="connsiteX25" fmla="*/ 2321561 w 2441576"/>
                  <a:gd name="connsiteY25" fmla="*/ 247 h 901154"/>
                  <a:gd name="connsiteX26" fmla="*/ 2441576 w 2441576"/>
                  <a:gd name="connsiteY26" fmla="*/ 247 h 901154"/>
                  <a:gd name="connsiteX27" fmla="*/ 2441576 w 2441576"/>
                  <a:gd name="connsiteY27" fmla="*/ 83691 h 901154"/>
                  <a:gd name="connsiteX28" fmla="*/ 2441576 w 2441576"/>
                  <a:gd name="connsiteY28" fmla="*/ 152299 h 901154"/>
                  <a:gd name="connsiteX29" fmla="*/ 2441576 w 2441576"/>
                  <a:gd name="connsiteY29" fmla="*/ 235743 h 901154"/>
                  <a:gd name="connsiteX30" fmla="*/ 2441576 w 2441576"/>
                  <a:gd name="connsiteY30" fmla="*/ 304351 h 901154"/>
                  <a:gd name="connsiteX31" fmla="*/ 2441576 w 2441576"/>
                  <a:gd name="connsiteY31" fmla="*/ 387795 h 901154"/>
                  <a:gd name="connsiteX32" fmla="*/ 2441576 w 2441576"/>
                  <a:gd name="connsiteY32" fmla="*/ 456403 h 901154"/>
                  <a:gd name="connsiteX33" fmla="*/ 2441576 w 2441576"/>
                  <a:gd name="connsiteY33" fmla="*/ 539847 h 901154"/>
                  <a:gd name="connsiteX34" fmla="*/ 2441576 w 2441576"/>
                  <a:gd name="connsiteY34" fmla="*/ 608455 h 901154"/>
                  <a:gd name="connsiteX35" fmla="*/ 2441576 w 2441576"/>
                  <a:gd name="connsiteY35" fmla="*/ 691899 h 901154"/>
                  <a:gd name="connsiteX36" fmla="*/ 2441576 w 2441576"/>
                  <a:gd name="connsiteY36" fmla="*/ 760507 h 901154"/>
                  <a:gd name="connsiteX37" fmla="*/ 2441576 w 2441576"/>
                  <a:gd name="connsiteY37" fmla="*/ 832545 h 901154"/>
                  <a:gd name="connsiteX38" fmla="*/ 2441576 w 2441576"/>
                  <a:gd name="connsiteY38" fmla="*/ 901153 h 901154"/>
                  <a:gd name="connsiteX39" fmla="*/ 2321561 w 2441576"/>
                  <a:gd name="connsiteY39" fmla="*/ 901153 h 901154"/>
                  <a:gd name="connsiteX40" fmla="*/ 2239646 w 2441576"/>
                  <a:gd name="connsiteY40" fmla="*/ 901153 h 901154"/>
                  <a:gd name="connsiteX41" fmla="*/ 2176781 w 2441576"/>
                  <a:gd name="connsiteY41" fmla="*/ 901153 h 901154"/>
                  <a:gd name="connsiteX42" fmla="*/ 2109259 w 2441576"/>
                  <a:gd name="connsiteY42" fmla="*/ 901153 h 901154"/>
                  <a:gd name="connsiteX43" fmla="*/ 2025730 w 2441576"/>
                  <a:gd name="connsiteY43" fmla="*/ 901153 h 901154"/>
                  <a:gd name="connsiteX44" fmla="*/ 1941949 w 2441576"/>
                  <a:gd name="connsiteY44" fmla="*/ 901153 h 901154"/>
                  <a:gd name="connsiteX45" fmla="*/ 1824412 w 2441576"/>
                  <a:gd name="connsiteY45" fmla="*/ 901153 h 901154"/>
                  <a:gd name="connsiteX46" fmla="*/ 1720844 w 2441576"/>
                  <a:gd name="connsiteY46" fmla="*/ 901153 h 901154"/>
                  <a:gd name="connsiteX47" fmla="*/ 1609632 w 2441576"/>
                  <a:gd name="connsiteY47" fmla="*/ 901153 h 901154"/>
                  <a:gd name="connsiteX48" fmla="*/ 1539566 w 2441576"/>
                  <a:gd name="connsiteY48" fmla="*/ 901153 h 901154"/>
                  <a:gd name="connsiteX49" fmla="*/ 1427685 w 2441576"/>
                  <a:gd name="connsiteY49" fmla="*/ 901153 h 901154"/>
                  <a:gd name="connsiteX50" fmla="*/ 1324785 w 2441576"/>
                  <a:gd name="connsiteY50" fmla="*/ 901153 h 901154"/>
                  <a:gd name="connsiteX51" fmla="*/ 1254721 w 2441576"/>
                  <a:gd name="connsiteY51" fmla="*/ 901153 h 901154"/>
                  <a:gd name="connsiteX52" fmla="*/ 1146253 w 2441576"/>
                  <a:gd name="connsiteY52" fmla="*/ 901153 h 901154"/>
                  <a:gd name="connsiteX53" fmla="*/ 1039939 w 2441576"/>
                  <a:gd name="connsiteY53" fmla="*/ 901153 h 901154"/>
                  <a:gd name="connsiteX54" fmla="*/ 969874 w 2441576"/>
                  <a:gd name="connsiteY54" fmla="*/ 901153 h 901154"/>
                  <a:gd name="connsiteX55" fmla="*/ 864820 w 2441576"/>
                  <a:gd name="connsiteY55" fmla="*/ 901154 h 901154"/>
                  <a:gd name="connsiteX56" fmla="*/ 755093 w 2441576"/>
                  <a:gd name="connsiteY56" fmla="*/ 901153 h 901154"/>
                  <a:gd name="connsiteX57" fmla="*/ 685028 w 2441576"/>
                  <a:gd name="connsiteY57" fmla="*/ 901153 h 901154"/>
                  <a:gd name="connsiteX58" fmla="*/ 581332 w 2441576"/>
                  <a:gd name="connsiteY58" fmla="*/ 901153 h 901154"/>
                  <a:gd name="connsiteX59" fmla="*/ 471351 w 2441576"/>
                  <a:gd name="connsiteY59" fmla="*/ 901153 h 901154"/>
                  <a:gd name="connsiteX60" fmla="*/ 470246 w 2441576"/>
                  <a:gd name="connsiteY60" fmla="*/ 901153 h 901154"/>
                  <a:gd name="connsiteX61" fmla="*/ 377080 w 2441576"/>
                  <a:gd name="connsiteY61" fmla="*/ 901153 h 901154"/>
                  <a:gd name="connsiteX62" fmla="*/ 282811 w 2441576"/>
                  <a:gd name="connsiteY62" fmla="*/ 901153 h 901154"/>
                  <a:gd name="connsiteX63" fmla="*/ 188541 w 2441576"/>
                  <a:gd name="connsiteY63" fmla="*/ 901153 h 901154"/>
                  <a:gd name="connsiteX64" fmla="*/ 185400 w 2441576"/>
                  <a:gd name="connsiteY64" fmla="*/ 901153 h 901154"/>
                  <a:gd name="connsiteX65" fmla="*/ 94270 w 2441576"/>
                  <a:gd name="connsiteY65" fmla="*/ 901153 h 901154"/>
                  <a:gd name="connsiteX66" fmla="*/ 0 w 2441576"/>
                  <a:gd name="connsiteY66" fmla="*/ 901153 h 901154"/>
                  <a:gd name="connsiteX67" fmla="*/ 0 w 2441576"/>
                  <a:gd name="connsiteY67" fmla="*/ 832545 h 901154"/>
                  <a:gd name="connsiteX68" fmla="*/ 0 w 2441576"/>
                  <a:gd name="connsiteY68" fmla="*/ 760507 h 901154"/>
                  <a:gd name="connsiteX69" fmla="*/ 0 w 2441576"/>
                  <a:gd name="connsiteY69" fmla="*/ 691899 h 901154"/>
                  <a:gd name="connsiteX70" fmla="*/ 0 w 2441576"/>
                  <a:gd name="connsiteY70" fmla="*/ 608455 h 901154"/>
                  <a:gd name="connsiteX71" fmla="*/ 0 w 2441576"/>
                  <a:gd name="connsiteY71" fmla="*/ 539847 h 901154"/>
                  <a:gd name="connsiteX72" fmla="*/ 0 w 2441576"/>
                  <a:gd name="connsiteY72" fmla="*/ 456403 h 901154"/>
                  <a:gd name="connsiteX73" fmla="*/ 0 w 2441576"/>
                  <a:gd name="connsiteY73" fmla="*/ 387795 h 901154"/>
                  <a:gd name="connsiteX74" fmla="*/ 0 w 2441576"/>
                  <a:gd name="connsiteY74" fmla="*/ 304351 h 901154"/>
                  <a:gd name="connsiteX75" fmla="*/ 0 w 2441576"/>
                  <a:gd name="connsiteY75" fmla="*/ 235743 h 901154"/>
                  <a:gd name="connsiteX76" fmla="*/ 0 w 2441576"/>
                  <a:gd name="connsiteY76" fmla="*/ 152299 h 901154"/>
                  <a:gd name="connsiteX77" fmla="*/ 0 w 2441576"/>
                  <a:gd name="connsiteY77" fmla="*/ 83691 h 901154"/>
                  <a:gd name="connsiteX78" fmla="*/ 0 w 2441576"/>
                  <a:gd name="connsiteY78" fmla="*/ 247 h 901154"/>
                  <a:gd name="connsiteX0" fmla="*/ 0 w 2441576"/>
                  <a:gd name="connsiteY0" fmla="*/ 247 h 901154"/>
                  <a:gd name="connsiteX1" fmla="*/ 94270 w 2441576"/>
                  <a:gd name="connsiteY1" fmla="*/ 247 h 901154"/>
                  <a:gd name="connsiteX2" fmla="*/ 185400 w 2441576"/>
                  <a:gd name="connsiteY2" fmla="*/ 247 h 901154"/>
                  <a:gd name="connsiteX3" fmla="*/ 282811 w 2441576"/>
                  <a:gd name="connsiteY3" fmla="*/ 247 h 901154"/>
                  <a:gd name="connsiteX4" fmla="*/ 377080 w 2441576"/>
                  <a:gd name="connsiteY4" fmla="*/ 247 h 901154"/>
                  <a:gd name="connsiteX5" fmla="*/ 470246 w 2441576"/>
                  <a:gd name="connsiteY5" fmla="*/ 247 h 901154"/>
                  <a:gd name="connsiteX6" fmla="*/ 581332 w 2441576"/>
                  <a:gd name="connsiteY6" fmla="*/ 247 h 901154"/>
                  <a:gd name="connsiteX7" fmla="*/ 685028 w 2441576"/>
                  <a:gd name="connsiteY7" fmla="*/ 247 h 901154"/>
                  <a:gd name="connsiteX8" fmla="*/ 755093 w 2441576"/>
                  <a:gd name="connsiteY8" fmla="*/ 247 h 901154"/>
                  <a:gd name="connsiteX9" fmla="*/ 860129 w 2441576"/>
                  <a:gd name="connsiteY9" fmla="*/ 1 h 901154"/>
                  <a:gd name="connsiteX10" fmla="*/ 969874 w 2441576"/>
                  <a:gd name="connsiteY10" fmla="*/ 247 h 901154"/>
                  <a:gd name="connsiteX11" fmla="*/ 1039939 w 2441576"/>
                  <a:gd name="connsiteY11" fmla="*/ 247 h 901154"/>
                  <a:gd name="connsiteX12" fmla="*/ 1146839 w 2441576"/>
                  <a:gd name="connsiteY12" fmla="*/ 1 h 901154"/>
                  <a:gd name="connsiteX13" fmla="*/ 1254721 w 2441576"/>
                  <a:gd name="connsiteY13" fmla="*/ 247 h 901154"/>
                  <a:gd name="connsiteX14" fmla="*/ 1324785 w 2441576"/>
                  <a:gd name="connsiteY14" fmla="*/ 247 h 901154"/>
                  <a:gd name="connsiteX15" fmla="*/ 1430031 w 2441576"/>
                  <a:gd name="connsiteY15" fmla="*/ 0 h 901154"/>
                  <a:gd name="connsiteX16" fmla="*/ 1539566 w 2441576"/>
                  <a:gd name="connsiteY16" fmla="*/ 247 h 901154"/>
                  <a:gd name="connsiteX17" fmla="*/ 1609632 w 2441576"/>
                  <a:gd name="connsiteY17" fmla="*/ 247 h 901154"/>
                  <a:gd name="connsiteX18" fmla="*/ 1707946 w 2441576"/>
                  <a:gd name="connsiteY18" fmla="*/ 1 h 901154"/>
                  <a:gd name="connsiteX19" fmla="*/ 1824412 w 2441576"/>
                  <a:gd name="connsiteY19" fmla="*/ 247 h 901154"/>
                  <a:gd name="connsiteX20" fmla="*/ 1941949 w 2441576"/>
                  <a:gd name="connsiteY20" fmla="*/ 247 h 901154"/>
                  <a:gd name="connsiteX21" fmla="*/ 2094866 w 2441576"/>
                  <a:gd name="connsiteY21" fmla="*/ 247 h 901154"/>
                  <a:gd name="connsiteX22" fmla="*/ 2176781 w 2441576"/>
                  <a:gd name="connsiteY22" fmla="*/ 247 h 901154"/>
                  <a:gd name="connsiteX23" fmla="*/ 2258696 w 2441576"/>
                  <a:gd name="connsiteY23" fmla="*/ 247 h 901154"/>
                  <a:gd name="connsiteX24" fmla="*/ 2321561 w 2441576"/>
                  <a:gd name="connsiteY24" fmla="*/ 247 h 901154"/>
                  <a:gd name="connsiteX25" fmla="*/ 2441576 w 2441576"/>
                  <a:gd name="connsiteY25" fmla="*/ 247 h 901154"/>
                  <a:gd name="connsiteX26" fmla="*/ 2441576 w 2441576"/>
                  <a:gd name="connsiteY26" fmla="*/ 83691 h 901154"/>
                  <a:gd name="connsiteX27" fmla="*/ 2441576 w 2441576"/>
                  <a:gd name="connsiteY27" fmla="*/ 152299 h 901154"/>
                  <a:gd name="connsiteX28" fmla="*/ 2441576 w 2441576"/>
                  <a:gd name="connsiteY28" fmla="*/ 235743 h 901154"/>
                  <a:gd name="connsiteX29" fmla="*/ 2441576 w 2441576"/>
                  <a:gd name="connsiteY29" fmla="*/ 304351 h 901154"/>
                  <a:gd name="connsiteX30" fmla="*/ 2441576 w 2441576"/>
                  <a:gd name="connsiteY30" fmla="*/ 387795 h 901154"/>
                  <a:gd name="connsiteX31" fmla="*/ 2441576 w 2441576"/>
                  <a:gd name="connsiteY31" fmla="*/ 456403 h 901154"/>
                  <a:gd name="connsiteX32" fmla="*/ 2441576 w 2441576"/>
                  <a:gd name="connsiteY32" fmla="*/ 539847 h 901154"/>
                  <a:gd name="connsiteX33" fmla="*/ 2441576 w 2441576"/>
                  <a:gd name="connsiteY33" fmla="*/ 608455 h 901154"/>
                  <a:gd name="connsiteX34" fmla="*/ 2441576 w 2441576"/>
                  <a:gd name="connsiteY34" fmla="*/ 691899 h 901154"/>
                  <a:gd name="connsiteX35" fmla="*/ 2441576 w 2441576"/>
                  <a:gd name="connsiteY35" fmla="*/ 760507 h 901154"/>
                  <a:gd name="connsiteX36" fmla="*/ 2441576 w 2441576"/>
                  <a:gd name="connsiteY36" fmla="*/ 832545 h 901154"/>
                  <a:gd name="connsiteX37" fmla="*/ 2441576 w 2441576"/>
                  <a:gd name="connsiteY37" fmla="*/ 901153 h 901154"/>
                  <a:gd name="connsiteX38" fmla="*/ 2321561 w 2441576"/>
                  <a:gd name="connsiteY38" fmla="*/ 901153 h 901154"/>
                  <a:gd name="connsiteX39" fmla="*/ 2239646 w 2441576"/>
                  <a:gd name="connsiteY39" fmla="*/ 901153 h 901154"/>
                  <a:gd name="connsiteX40" fmla="*/ 2176781 w 2441576"/>
                  <a:gd name="connsiteY40" fmla="*/ 901153 h 901154"/>
                  <a:gd name="connsiteX41" fmla="*/ 2109259 w 2441576"/>
                  <a:gd name="connsiteY41" fmla="*/ 901153 h 901154"/>
                  <a:gd name="connsiteX42" fmla="*/ 2025730 w 2441576"/>
                  <a:gd name="connsiteY42" fmla="*/ 901153 h 901154"/>
                  <a:gd name="connsiteX43" fmla="*/ 1941949 w 2441576"/>
                  <a:gd name="connsiteY43" fmla="*/ 901153 h 901154"/>
                  <a:gd name="connsiteX44" fmla="*/ 1824412 w 2441576"/>
                  <a:gd name="connsiteY44" fmla="*/ 901153 h 901154"/>
                  <a:gd name="connsiteX45" fmla="*/ 1720844 w 2441576"/>
                  <a:gd name="connsiteY45" fmla="*/ 901153 h 901154"/>
                  <a:gd name="connsiteX46" fmla="*/ 1609632 w 2441576"/>
                  <a:gd name="connsiteY46" fmla="*/ 901153 h 901154"/>
                  <a:gd name="connsiteX47" fmla="*/ 1539566 w 2441576"/>
                  <a:gd name="connsiteY47" fmla="*/ 901153 h 901154"/>
                  <a:gd name="connsiteX48" fmla="*/ 1427685 w 2441576"/>
                  <a:gd name="connsiteY48" fmla="*/ 901153 h 901154"/>
                  <a:gd name="connsiteX49" fmla="*/ 1324785 w 2441576"/>
                  <a:gd name="connsiteY49" fmla="*/ 901153 h 901154"/>
                  <a:gd name="connsiteX50" fmla="*/ 1254721 w 2441576"/>
                  <a:gd name="connsiteY50" fmla="*/ 901153 h 901154"/>
                  <a:gd name="connsiteX51" fmla="*/ 1146253 w 2441576"/>
                  <a:gd name="connsiteY51" fmla="*/ 901153 h 901154"/>
                  <a:gd name="connsiteX52" fmla="*/ 1039939 w 2441576"/>
                  <a:gd name="connsiteY52" fmla="*/ 901153 h 901154"/>
                  <a:gd name="connsiteX53" fmla="*/ 969874 w 2441576"/>
                  <a:gd name="connsiteY53" fmla="*/ 901153 h 901154"/>
                  <a:gd name="connsiteX54" fmla="*/ 864820 w 2441576"/>
                  <a:gd name="connsiteY54" fmla="*/ 901154 h 901154"/>
                  <a:gd name="connsiteX55" fmla="*/ 755093 w 2441576"/>
                  <a:gd name="connsiteY55" fmla="*/ 901153 h 901154"/>
                  <a:gd name="connsiteX56" fmla="*/ 685028 w 2441576"/>
                  <a:gd name="connsiteY56" fmla="*/ 901153 h 901154"/>
                  <a:gd name="connsiteX57" fmla="*/ 581332 w 2441576"/>
                  <a:gd name="connsiteY57" fmla="*/ 901153 h 901154"/>
                  <a:gd name="connsiteX58" fmla="*/ 471351 w 2441576"/>
                  <a:gd name="connsiteY58" fmla="*/ 901153 h 901154"/>
                  <a:gd name="connsiteX59" fmla="*/ 470246 w 2441576"/>
                  <a:gd name="connsiteY59" fmla="*/ 901153 h 901154"/>
                  <a:gd name="connsiteX60" fmla="*/ 377080 w 2441576"/>
                  <a:gd name="connsiteY60" fmla="*/ 901153 h 901154"/>
                  <a:gd name="connsiteX61" fmla="*/ 282811 w 2441576"/>
                  <a:gd name="connsiteY61" fmla="*/ 901153 h 901154"/>
                  <a:gd name="connsiteX62" fmla="*/ 188541 w 2441576"/>
                  <a:gd name="connsiteY62" fmla="*/ 901153 h 901154"/>
                  <a:gd name="connsiteX63" fmla="*/ 185400 w 2441576"/>
                  <a:gd name="connsiteY63" fmla="*/ 901153 h 901154"/>
                  <a:gd name="connsiteX64" fmla="*/ 94270 w 2441576"/>
                  <a:gd name="connsiteY64" fmla="*/ 901153 h 901154"/>
                  <a:gd name="connsiteX65" fmla="*/ 0 w 2441576"/>
                  <a:gd name="connsiteY65" fmla="*/ 901153 h 901154"/>
                  <a:gd name="connsiteX66" fmla="*/ 0 w 2441576"/>
                  <a:gd name="connsiteY66" fmla="*/ 832545 h 901154"/>
                  <a:gd name="connsiteX67" fmla="*/ 0 w 2441576"/>
                  <a:gd name="connsiteY67" fmla="*/ 760507 h 901154"/>
                  <a:gd name="connsiteX68" fmla="*/ 0 w 2441576"/>
                  <a:gd name="connsiteY68" fmla="*/ 691899 h 901154"/>
                  <a:gd name="connsiteX69" fmla="*/ 0 w 2441576"/>
                  <a:gd name="connsiteY69" fmla="*/ 608455 h 901154"/>
                  <a:gd name="connsiteX70" fmla="*/ 0 w 2441576"/>
                  <a:gd name="connsiteY70" fmla="*/ 539847 h 901154"/>
                  <a:gd name="connsiteX71" fmla="*/ 0 w 2441576"/>
                  <a:gd name="connsiteY71" fmla="*/ 456403 h 901154"/>
                  <a:gd name="connsiteX72" fmla="*/ 0 w 2441576"/>
                  <a:gd name="connsiteY72" fmla="*/ 387795 h 901154"/>
                  <a:gd name="connsiteX73" fmla="*/ 0 w 2441576"/>
                  <a:gd name="connsiteY73" fmla="*/ 304351 h 901154"/>
                  <a:gd name="connsiteX74" fmla="*/ 0 w 2441576"/>
                  <a:gd name="connsiteY74" fmla="*/ 235743 h 901154"/>
                  <a:gd name="connsiteX75" fmla="*/ 0 w 2441576"/>
                  <a:gd name="connsiteY75" fmla="*/ 152299 h 901154"/>
                  <a:gd name="connsiteX76" fmla="*/ 0 w 2441576"/>
                  <a:gd name="connsiteY76" fmla="*/ 83691 h 901154"/>
                  <a:gd name="connsiteX77" fmla="*/ 0 w 2441576"/>
                  <a:gd name="connsiteY77" fmla="*/ 247 h 901154"/>
                  <a:gd name="connsiteX0" fmla="*/ 0 w 2441576"/>
                  <a:gd name="connsiteY0" fmla="*/ 247 h 901154"/>
                  <a:gd name="connsiteX1" fmla="*/ 94270 w 2441576"/>
                  <a:gd name="connsiteY1" fmla="*/ 247 h 901154"/>
                  <a:gd name="connsiteX2" fmla="*/ 185400 w 2441576"/>
                  <a:gd name="connsiteY2" fmla="*/ 247 h 901154"/>
                  <a:gd name="connsiteX3" fmla="*/ 282811 w 2441576"/>
                  <a:gd name="connsiteY3" fmla="*/ 247 h 901154"/>
                  <a:gd name="connsiteX4" fmla="*/ 377080 w 2441576"/>
                  <a:gd name="connsiteY4" fmla="*/ 247 h 901154"/>
                  <a:gd name="connsiteX5" fmla="*/ 470246 w 2441576"/>
                  <a:gd name="connsiteY5" fmla="*/ 247 h 901154"/>
                  <a:gd name="connsiteX6" fmla="*/ 581332 w 2441576"/>
                  <a:gd name="connsiteY6" fmla="*/ 247 h 901154"/>
                  <a:gd name="connsiteX7" fmla="*/ 685028 w 2441576"/>
                  <a:gd name="connsiteY7" fmla="*/ 247 h 901154"/>
                  <a:gd name="connsiteX8" fmla="*/ 755093 w 2441576"/>
                  <a:gd name="connsiteY8" fmla="*/ 247 h 901154"/>
                  <a:gd name="connsiteX9" fmla="*/ 860129 w 2441576"/>
                  <a:gd name="connsiteY9" fmla="*/ 1 h 901154"/>
                  <a:gd name="connsiteX10" fmla="*/ 969874 w 2441576"/>
                  <a:gd name="connsiteY10" fmla="*/ 247 h 901154"/>
                  <a:gd name="connsiteX11" fmla="*/ 1039939 w 2441576"/>
                  <a:gd name="connsiteY11" fmla="*/ 247 h 901154"/>
                  <a:gd name="connsiteX12" fmla="*/ 1146839 w 2441576"/>
                  <a:gd name="connsiteY12" fmla="*/ 1 h 901154"/>
                  <a:gd name="connsiteX13" fmla="*/ 1254721 w 2441576"/>
                  <a:gd name="connsiteY13" fmla="*/ 247 h 901154"/>
                  <a:gd name="connsiteX14" fmla="*/ 1324785 w 2441576"/>
                  <a:gd name="connsiteY14" fmla="*/ 247 h 901154"/>
                  <a:gd name="connsiteX15" fmla="*/ 1430031 w 2441576"/>
                  <a:gd name="connsiteY15" fmla="*/ 0 h 901154"/>
                  <a:gd name="connsiteX16" fmla="*/ 1539566 w 2441576"/>
                  <a:gd name="connsiteY16" fmla="*/ 247 h 901154"/>
                  <a:gd name="connsiteX17" fmla="*/ 1609632 w 2441576"/>
                  <a:gd name="connsiteY17" fmla="*/ 247 h 901154"/>
                  <a:gd name="connsiteX18" fmla="*/ 1707946 w 2441576"/>
                  <a:gd name="connsiteY18" fmla="*/ 1 h 901154"/>
                  <a:gd name="connsiteX19" fmla="*/ 1824412 w 2441576"/>
                  <a:gd name="connsiteY19" fmla="*/ 247 h 901154"/>
                  <a:gd name="connsiteX20" fmla="*/ 1941949 w 2441576"/>
                  <a:gd name="connsiteY20" fmla="*/ 247 h 901154"/>
                  <a:gd name="connsiteX21" fmla="*/ 2094866 w 2441576"/>
                  <a:gd name="connsiteY21" fmla="*/ 247 h 901154"/>
                  <a:gd name="connsiteX22" fmla="*/ 2176781 w 2441576"/>
                  <a:gd name="connsiteY22" fmla="*/ 247 h 901154"/>
                  <a:gd name="connsiteX23" fmla="*/ 2258696 w 2441576"/>
                  <a:gd name="connsiteY23" fmla="*/ 247 h 901154"/>
                  <a:gd name="connsiteX24" fmla="*/ 2321561 w 2441576"/>
                  <a:gd name="connsiteY24" fmla="*/ 247 h 901154"/>
                  <a:gd name="connsiteX25" fmla="*/ 2441576 w 2441576"/>
                  <a:gd name="connsiteY25" fmla="*/ 247 h 901154"/>
                  <a:gd name="connsiteX26" fmla="*/ 2441576 w 2441576"/>
                  <a:gd name="connsiteY26" fmla="*/ 83691 h 901154"/>
                  <a:gd name="connsiteX27" fmla="*/ 2441576 w 2441576"/>
                  <a:gd name="connsiteY27" fmla="*/ 152299 h 901154"/>
                  <a:gd name="connsiteX28" fmla="*/ 2441576 w 2441576"/>
                  <a:gd name="connsiteY28" fmla="*/ 235743 h 901154"/>
                  <a:gd name="connsiteX29" fmla="*/ 2441576 w 2441576"/>
                  <a:gd name="connsiteY29" fmla="*/ 304351 h 901154"/>
                  <a:gd name="connsiteX30" fmla="*/ 2441576 w 2441576"/>
                  <a:gd name="connsiteY30" fmla="*/ 387795 h 901154"/>
                  <a:gd name="connsiteX31" fmla="*/ 2441576 w 2441576"/>
                  <a:gd name="connsiteY31" fmla="*/ 456403 h 901154"/>
                  <a:gd name="connsiteX32" fmla="*/ 2441576 w 2441576"/>
                  <a:gd name="connsiteY32" fmla="*/ 539847 h 901154"/>
                  <a:gd name="connsiteX33" fmla="*/ 2441576 w 2441576"/>
                  <a:gd name="connsiteY33" fmla="*/ 608455 h 901154"/>
                  <a:gd name="connsiteX34" fmla="*/ 2441576 w 2441576"/>
                  <a:gd name="connsiteY34" fmla="*/ 691899 h 901154"/>
                  <a:gd name="connsiteX35" fmla="*/ 2441576 w 2441576"/>
                  <a:gd name="connsiteY35" fmla="*/ 760507 h 901154"/>
                  <a:gd name="connsiteX36" fmla="*/ 2441576 w 2441576"/>
                  <a:gd name="connsiteY36" fmla="*/ 832545 h 901154"/>
                  <a:gd name="connsiteX37" fmla="*/ 2441576 w 2441576"/>
                  <a:gd name="connsiteY37" fmla="*/ 901153 h 901154"/>
                  <a:gd name="connsiteX38" fmla="*/ 2321561 w 2441576"/>
                  <a:gd name="connsiteY38" fmla="*/ 901153 h 901154"/>
                  <a:gd name="connsiteX39" fmla="*/ 2239646 w 2441576"/>
                  <a:gd name="connsiteY39" fmla="*/ 901153 h 901154"/>
                  <a:gd name="connsiteX40" fmla="*/ 2176781 w 2441576"/>
                  <a:gd name="connsiteY40" fmla="*/ 901153 h 901154"/>
                  <a:gd name="connsiteX41" fmla="*/ 2109259 w 2441576"/>
                  <a:gd name="connsiteY41" fmla="*/ 901153 h 901154"/>
                  <a:gd name="connsiteX42" fmla="*/ 2025730 w 2441576"/>
                  <a:gd name="connsiteY42" fmla="*/ 901153 h 901154"/>
                  <a:gd name="connsiteX43" fmla="*/ 1941949 w 2441576"/>
                  <a:gd name="connsiteY43" fmla="*/ 901153 h 901154"/>
                  <a:gd name="connsiteX44" fmla="*/ 1824412 w 2441576"/>
                  <a:gd name="connsiteY44" fmla="*/ 901153 h 901154"/>
                  <a:gd name="connsiteX45" fmla="*/ 1720844 w 2441576"/>
                  <a:gd name="connsiteY45" fmla="*/ 901153 h 901154"/>
                  <a:gd name="connsiteX46" fmla="*/ 1609632 w 2441576"/>
                  <a:gd name="connsiteY46" fmla="*/ 901153 h 901154"/>
                  <a:gd name="connsiteX47" fmla="*/ 1539566 w 2441576"/>
                  <a:gd name="connsiteY47" fmla="*/ 901153 h 901154"/>
                  <a:gd name="connsiteX48" fmla="*/ 1427685 w 2441576"/>
                  <a:gd name="connsiteY48" fmla="*/ 901153 h 901154"/>
                  <a:gd name="connsiteX49" fmla="*/ 1324785 w 2441576"/>
                  <a:gd name="connsiteY49" fmla="*/ 901153 h 901154"/>
                  <a:gd name="connsiteX50" fmla="*/ 1254721 w 2441576"/>
                  <a:gd name="connsiteY50" fmla="*/ 901153 h 901154"/>
                  <a:gd name="connsiteX51" fmla="*/ 1146253 w 2441576"/>
                  <a:gd name="connsiteY51" fmla="*/ 901153 h 901154"/>
                  <a:gd name="connsiteX52" fmla="*/ 1039939 w 2441576"/>
                  <a:gd name="connsiteY52" fmla="*/ 901153 h 901154"/>
                  <a:gd name="connsiteX53" fmla="*/ 969874 w 2441576"/>
                  <a:gd name="connsiteY53" fmla="*/ 901153 h 901154"/>
                  <a:gd name="connsiteX54" fmla="*/ 864820 w 2441576"/>
                  <a:gd name="connsiteY54" fmla="*/ 901154 h 901154"/>
                  <a:gd name="connsiteX55" fmla="*/ 755093 w 2441576"/>
                  <a:gd name="connsiteY55" fmla="*/ 901153 h 901154"/>
                  <a:gd name="connsiteX56" fmla="*/ 685028 w 2441576"/>
                  <a:gd name="connsiteY56" fmla="*/ 901153 h 901154"/>
                  <a:gd name="connsiteX57" fmla="*/ 581332 w 2441576"/>
                  <a:gd name="connsiteY57" fmla="*/ 901153 h 901154"/>
                  <a:gd name="connsiteX58" fmla="*/ 471351 w 2441576"/>
                  <a:gd name="connsiteY58" fmla="*/ 901153 h 901154"/>
                  <a:gd name="connsiteX59" fmla="*/ 470246 w 2441576"/>
                  <a:gd name="connsiteY59" fmla="*/ 901153 h 901154"/>
                  <a:gd name="connsiteX60" fmla="*/ 377080 w 2441576"/>
                  <a:gd name="connsiteY60" fmla="*/ 901153 h 901154"/>
                  <a:gd name="connsiteX61" fmla="*/ 282811 w 2441576"/>
                  <a:gd name="connsiteY61" fmla="*/ 901153 h 901154"/>
                  <a:gd name="connsiteX62" fmla="*/ 185400 w 2441576"/>
                  <a:gd name="connsiteY62" fmla="*/ 901153 h 901154"/>
                  <a:gd name="connsiteX63" fmla="*/ 94270 w 2441576"/>
                  <a:gd name="connsiteY63" fmla="*/ 901153 h 901154"/>
                  <a:gd name="connsiteX64" fmla="*/ 0 w 2441576"/>
                  <a:gd name="connsiteY64" fmla="*/ 901153 h 901154"/>
                  <a:gd name="connsiteX65" fmla="*/ 0 w 2441576"/>
                  <a:gd name="connsiteY65" fmla="*/ 832545 h 901154"/>
                  <a:gd name="connsiteX66" fmla="*/ 0 w 2441576"/>
                  <a:gd name="connsiteY66" fmla="*/ 760507 h 901154"/>
                  <a:gd name="connsiteX67" fmla="*/ 0 w 2441576"/>
                  <a:gd name="connsiteY67" fmla="*/ 691899 h 901154"/>
                  <a:gd name="connsiteX68" fmla="*/ 0 w 2441576"/>
                  <a:gd name="connsiteY68" fmla="*/ 608455 h 901154"/>
                  <a:gd name="connsiteX69" fmla="*/ 0 w 2441576"/>
                  <a:gd name="connsiteY69" fmla="*/ 539847 h 901154"/>
                  <a:gd name="connsiteX70" fmla="*/ 0 w 2441576"/>
                  <a:gd name="connsiteY70" fmla="*/ 456403 h 901154"/>
                  <a:gd name="connsiteX71" fmla="*/ 0 w 2441576"/>
                  <a:gd name="connsiteY71" fmla="*/ 387795 h 901154"/>
                  <a:gd name="connsiteX72" fmla="*/ 0 w 2441576"/>
                  <a:gd name="connsiteY72" fmla="*/ 304351 h 901154"/>
                  <a:gd name="connsiteX73" fmla="*/ 0 w 2441576"/>
                  <a:gd name="connsiteY73" fmla="*/ 235743 h 901154"/>
                  <a:gd name="connsiteX74" fmla="*/ 0 w 2441576"/>
                  <a:gd name="connsiteY74" fmla="*/ 152299 h 901154"/>
                  <a:gd name="connsiteX75" fmla="*/ 0 w 2441576"/>
                  <a:gd name="connsiteY75" fmla="*/ 83691 h 901154"/>
                  <a:gd name="connsiteX76" fmla="*/ 0 w 2441576"/>
                  <a:gd name="connsiteY76" fmla="*/ 247 h 901154"/>
                  <a:gd name="connsiteX0" fmla="*/ 0 w 2441576"/>
                  <a:gd name="connsiteY0" fmla="*/ 247 h 1193517"/>
                  <a:gd name="connsiteX1" fmla="*/ 94270 w 2441576"/>
                  <a:gd name="connsiteY1" fmla="*/ 247 h 1193517"/>
                  <a:gd name="connsiteX2" fmla="*/ 185400 w 2441576"/>
                  <a:gd name="connsiteY2" fmla="*/ 247 h 1193517"/>
                  <a:gd name="connsiteX3" fmla="*/ 282811 w 2441576"/>
                  <a:gd name="connsiteY3" fmla="*/ 247 h 1193517"/>
                  <a:gd name="connsiteX4" fmla="*/ 377080 w 2441576"/>
                  <a:gd name="connsiteY4" fmla="*/ 247 h 1193517"/>
                  <a:gd name="connsiteX5" fmla="*/ 470246 w 2441576"/>
                  <a:gd name="connsiteY5" fmla="*/ 247 h 1193517"/>
                  <a:gd name="connsiteX6" fmla="*/ 581332 w 2441576"/>
                  <a:gd name="connsiteY6" fmla="*/ 247 h 1193517"/>
                  <a:gd name="connsiteX7" fmla="*/ 685028 w 2441576"/>
                  <a:gd name="connsiteY7" fmla="*/ 247 h 1193517"/>
                  <a:gd name="connsiteX8" fmla="*/ 755093 w 2441576"/>
                  <a:gd name="connsiteY8" fmla="*/ 247 h 1193517"/>
                  <a:gd name="connsiteX9" fmla="*/ 860129 w 2441576"/>
                  <a:gd name="connsiteY9" fmla="*/ 1 h 1193517"/>
                  <a:gd name="connsiteX10" fmla="*/ 969874 w 2441576"/>
                  <a:gd name="connsiteY10" fmla="*/ 247 h 1193517"/>
                  <a:gd name="connsiteX11" fmla="*/ 1039939 w 2441576"/>
                  <a:gd name="connsiteY11" fmla="*/ 247 h 1193517"/>
                  <a:gd name="connsiteX12" fmla="*/ 1146839 w 2441576"/>
                  <a:gd name="connsiteY12" fmla="*/ 1 h 1193517"/>
                  <a:gd name="connsiteX13" fmla="*/ 1254721 w 2441576"/>
                  <a:gd name="connsiteY13" fmla="*/ 247 h 1193517"/>
                  <a:gd name="connsiteX14" fmla="*/ 1324785 w 2441576"/>
                  <a:gd name="connsiteY14" fmla="*/ 247 h 1193517"/>
                  <a:gd name="connsiteX15" fmla="*/ 1430031 w 2441576"/>
                  <a:gd name="connsiteY15" fmla="*/ 0 h 1193517"/>
                  <a:gd name="connsiteX16" fmla="*/ 1539566 w 2441576"/>
                  <a:gd name="connsiteY16" fmla="*/ 247 h 1193517"/>
                  <a:gd name="connsiteX17" fmla="*/ 1609632 w 2441576"/>
                  <a:gd name="connsiteY17" fmla="*/ 247 h 1193517"/>
                  <a:gd name="connsiteX18" fmla="*/ 1707946 w 2441576"/>
                  <a:gd name="connsiteY18" fmla="*/ 1 h 1193517"/>
                  <a:gd name="connsiteX19" fmla="*/ 1824412 w 2441576"/>
                  <a:gd name="connsiteY19" fmla="*/ 247 h 1193517"/>
                  <a:gd name="connsiteX20" fmla="*/ 1941949 w 2441576"/>
                  <a:gd name="connsiteY20" fmla="*/ 247 h 1193517"/>
                  <a:gd name="connsiteX21" fmla="*/ 2094866 w 2441576"/>
                  <a:gd name="connsiteY21" fmla="*/ 247 h 1193517"/>
                  <a:gd name="connsiteX22" fmla="*/ 2176781 w 2441576"/>
                  <a:gd name="connsiteY22" fmla="*/ 247 h 1193517"/>
                  <a:gd name="connsiteX23" fmla="*/ 2258696 w 2441576"/>
                  <a:gd name="connsiteY23" fmla="*/ 247 h 1193517"/>
                  <a:gd name="connsiteX24" fmla="*/ 2321561 w 2441576"/>
                  <a:gd name="connsiteY24" fmla="*/ 247 h 1193517"/>
                  <a:gd name="connsiteX25" fmla="*/ 2441576 w 2441576"/>
                  <a:gd name="connsiteY25" fmla="*/ 247 h 1193517"/>
                  <a:gd name="connsiteX26" fmla="*/ 2441576 w 2441576"/>
                  <a:gd name="connsiteY26" fmla="*/ 83691 h 1193517"/>
                  <a:gd name="connsiteX27" fmla="*/ 2441576 w 2441576"/>
                  <a:gd name="connsiteY27" fmla="*/ 152299 h 1193517"/>
                  <a:gd name="connsiteX28" fmla="*/ 2441576 w 2441576"/>
                  <a:gd name="connsiteY28" fmla="*/ 235743 h 1193517"/>
                  <a:gd name="connsiteX29" fmla="*/ 2441576 w 2441576"/>
                  <a:gd name="connsiteY29" fmla="*/ 304351 h 1193517"/>
                  <a:gd name="connsiteX30" fmla="*/ 2441576 w 2441576"/>
                  <a:gd name="connsiteY30" fmla="*/ 387795 h 1193517"/>
                  <a:gd name="connsiteX31" fmla="*/ 2441576 w 2441576"/>
                  <a:gd name="connsiteY31" fmla="*/ 456403 h 1193517"/>
                  <a:gd name="connsiteX32" fmla="*/ 2441576 w 2441576"/>
                  <a:gd name="connsiteY32" fmla="*/ 539847 h 1193517"/>
                  <a:gd name="connsiteX33" fmla="*/ 2441576 w 2441576"/>
                  <a:gd name="connsiteY33" fmla="*/ 608455 h 1193517"/>
                  <a:gd name="connsiteX34" fmla="*/ 2441576 w 2441576"/>
                  <a:gd name="connsiteY34" fmla="*/ 691899 h 1193517"/>
                  <a:gd name="connsiteX35" fmla="*/ 2441576 w 2441576"/>
                  <a:gd name="connsiteY35" fmla="*/ 760507 h 1193517"/>
                  <a:gd name="connsiteX36" fmla="*/ 2441576 w 2441576"/>
                  <a:gd name="connsiteY36" fmla="*/ 832545 h 1193517"/>
                  <a:gd name="connsiteX37" fmla="*/ 2441576 w 2441576"/>
                  <a:gd name="connsiteY37" fmla="*/ 901153 h 1193517"/>
                  <a:gd name="connsiteX38" fmla="*/ 2321561 w 2441576"/>
                  <a:gd name="connsiteY38" fmla="*/ 901153 h 1193517"/>
                  <a:gd name="connsiteX39" fmla="*/ 2239646 w 2441576"/>
                  <a:gd name="connsiteY39" fmla="*/ 901153 h 1193517"/>
                  <a:gd name="connsiteX40" fmla="*/ 2176781 w 2441576"/>
                  <a:gd name="connsiteY40" fmla="*/ 901153 h 1193517"/>
                  <a:gd name="connsiteX41" fmla="*/ 2109259 w 2441576"/>
                  <a:gd name="connsiteY41" fmla="*/ 901153 h 1193517"/>
                  <a:gd name="connsiteX42" fmla="*/ 2025730 w 2441576"/>
                  <a:gd name="connsiteY42" fmla="*/ 901153 h 1193517"/>
                  <a:gd name="connsiteX43" fmla="*/ 1941949 w 2441576"/>
                  <a:gd name="connsiteY43" fmla="*/ 901153 h 1193517"/>
                  <a:gd name="connsiteX44" fmla="*/ 1824412 w 2441576"/>
                  <a:gd name="connsiteY44" fmla="*/ 901153 h 1193517"/>
                  <a:gd name="connsiteX45" fmla="*/ 1720844 w 2441576"/>
                  <a:gd name="connsiteY45" fmla="*/ 901153 h 1193517"/>
                  <a:gd name="connsiteX46" fmla="*/ 1829119 w 2441576"/>
                  <a:gd name="connsiteY46" fmla="*/ 1193517 h 1193517"/>
                  <a:gd name="connsiteX47" fmla="*/ 1539566 w 2441576"/>
                  <a:gd name="connsiteY47" fmla="*/ 901153 h 1193517"/>
                  <a:gd name="connsiteX48" fmla="*/ 1427685 w 2441576"/>
                  <a:gd name="connsiteY48" fmla="*/ 901153 h 1193517"/>
                  <a:gd name="connsiteX49" fmla="*/ 1324785 w 2441576"/>
                  <a:gd name="connsiteY49" fmla="*/ 901153 h 1193517"/>
                  <a:gd name="connsiteX50" fmla="*/ 1254721 w 2441576"/>
                  <a:gd name="connsiteY50" fmla="*/ 901153 h 1193517"/>
                  <a:gd name="connsiteX51" fmla="*/ 1146253 w 2441576"/>
                  <a:gd name="connsiteY51" fmla="*/ 901153 h 1193517"/>
                  <a:gd name="connsiteX52" fmla="*/ 1039939 w 2441576"/>
                  <a:gd name="connsiteY52" fmla="*/ 901153 h 1193517"/>
                  <a:gd name="connsiteX53" fmla="*/ 969874 w 2441576"/>
                  <a:gd name="connsiteY53" fmla="*/ 901153 h 1193517"/>
                  <a:gd name="connsiteX54" fmla="*/ 864820 w 2441576"/>
                  <a:gd name="connsiteY54" fmla="*/ 901154 h 1193517"/>
                  <a:gd name="connsiteX55" fmla="*/ 755093 w 2441576"/>
                  <a:gd name="connsiteY55" fmla="*/ 901153 h 1193517"/>
                  <a:gd name="connsiteX56" fmla="*/ 685028 w 2441576"/>
                  <a:gd name="connsiteY56" fmla="*/ 901153 h 1193517"/>
                  <a:gd name="connsiteX57" fmla="*/ 581332 w 2441576"/>
                  <a:gd name="connsiteY57" fmla="*/ 901153 h 1193517"/>
                  <a:gd name="connsiteX58" fmla="*/ 471351 w 2441576"/>
                  <a:gd name="connsiteY58" fmla="*/ 901153 h 1193517"/>
                  <a:gd name="connsiteX59" fmla="*/ 470246 w 2441576"/>
                  <a:gd name="connsiteY59" fmla="*/ 901153 h 1193517"/>
                  <a:gd name="connsiteX60" fmla="*/ 377080 w 2441576"/>
                  <a:gd name="connsiteY60" fmla="*/ 901153 h 1193517"/>
                  <a:gd name="connsiteX61" fmla="*/ 282811 w 2441576"/>
                  <a:gd name="connsiteY61" fmla="*/ 901153 h 1193517"/>
                  <a:gd name="connsiteX62" fmla="*/ 185400 w 2441576"/>
                  <a:gd name="connsiteY62" fmla="*/ 901153 h 1193517"/>
                  <a:gd name="connsiteX63" fmla="*/ 94270 w 2441576"/>
                  <a:gd name="connsiteY63" fmla="*/ 901153 h 1193517"/>
                  <a:gd name="connsiteX64" fmla="*/ 0 w 2441576"/>
                  <a:gd name="connsiteY64" fmla="*/ 901153 h 1193517"/>
                  <a:gd name="connsiteX65" fmla="*/ 0 w 2441576"/>
                  <a:gd name="connsiteY65" fmla="*/ 832545 h 1193517"/>
                  <a:gd name="connsiteX66" fmla="*/ 0 w 2441576"/>
                  <a:gd name="connsiteY66" fmla="*/ 760507 h 1193517"/>
                  <a:gd name="connsiteX67" fmla="*/ 0 w 2441576"/>
                  <a:gd name="connsiteY67" fmla="*/ 691899 h 1193517"/>
                  <a:gd name="connsiteX68" fmla="*/ 0 w 2441576"/>
                  <a:gd name="connsiteY68" fmla="*/ 608455 h 1193517"/>
                  <a:gd name="connsiteX69" fmla="*/ 0 w 2441576"/>
                  <a:gd name="connsiteY69" fmla="*/ 539847 h 1193517"/>
                  <a:gd name="connsiteX70" fmla="*/ 0 w 2441576"/>
                  <a:gd name="connsiteY70" fmla="*/ 456403 h 1193517"/>
                  <a:gd name="connsiteX71" fmla="*/ 0 w 2441576"/>
                  <a:gd name="connsiteY71" fmla="*/ 387795 h 1193517"/>
                  <a:gd name="connsiteX72" fmla="*/ 0 w 2441576"/>
                  <a:gd name="connsiteY72" fmla="*/ 304351 h 1193517"/>
                  <a:gd name="connsiteX73" fmla="*/ 0 w 2441576"/>
                  <a:gd name="connsiteY73" fmla="*/ 235743 h 1193517"/>
                  <a:gd name="connsiteX74" fmla="*/ 0 w 2441576"/>
                  <a:gd name="connsiteY74" fmla="*/ 152299 h 1193517"/>
                  <a:gd name="connsiteX75" fmla="*/ 0 w 2441576"/>
                  <a:gd name="connsiteY75" fmla="*/ 83691 h 1193517"/>
                  <a:gd name="connsiteX76" fmla="*/ 0 w 2441576"/>
                  <a:gd name="connsiteY76" fmla="*/ 247 h 11935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</a:cxnLst>
                <a:rect l="l" t="t" r="r" b="b"/>
                <a:pathLst>
                  <a:path w="2441576" h="1193517">
                    <a:moveTo>
                      <a:pt x="0" y="247"/>
                    </a:moveTo>
                    <a:lnTo>
                      <a:pt x="94270" y="247"/>
                    </a:lnTo>
                    <a:lnTo>
                      <a:pt x="185400" y="247"/>
                    </a:lnTo>
                    <a:lnTo>
                      <a:pt x="282811" y="247"/>
                    </a:lnTo>
                    <a:lnTo>
                      <a:pt x="377080" y="247"/>
                    </a:lnTo>
                    <a:lnTo>
                      <a:pt x="470246" y="247"/>
                    </a:lnTo>
                    <a:lnTo>
                      <a:pt x="581332" y="247"/>
                    </a:lnTo>
                    <a:lnTo>
                      <a:pt x="685028" y="247"/>
                    </a:lnTo>
                    <a:lnTo>
                      <a:pt x="755093" y="247"/>
                    </a:lnTo>
                    <a:lnTo>
                      <a:pt x="860129" y="1"/>
                    </a:lnTo>
                    <a:lnTo>
                      <a:pt x="969874" y="247"/>
                    </a:lnTo>
                    <a:lnTo>
                      <a:pt x="1039939" y="247"/>
                    </a:lnTo>
                    <a:lnTo>
                      <a:pt x="1146839" y="1"/>
                    </a:lnTo>
                    <a:lnTo>
                      <a:pt x="1254721" y="247"/>
                    </a:lnTo>
                    <a:lnTo>
                      <a:pt x="1324785" y="247"/>
                    </a:lnTo>
                    <a:lnTo>
                      <a:pt x="1430031" y="0"/>
                    </a:lnTo>
                    <a:lnTo>
                      <a:pt x="1539566" y="247"/>
                    </a:lnTo>
                    <a:lnTo>
                      <a:pt x="1609632" y="247"/>
                    </a:lnTo>
                    <a:lnTo>
                      <a:pt x="1707946" y="1"/>
                    </a:lnTo>
                    <a:lnTo>
                      <a:pt x="1824412" y="247"/>
                    </a:lnTo>
                    <a:lnTo>
                      <a:pt x="1941949" y="247"/>
                    </a:lnTo>
                    <a:lnTo>
                      <a:pt x="2094866" y="247"/>
                    </a:lnTo>
                    <a:lnTo>
                      <a:pt x="2176781" y="247"/>
                    </a:lnTo>
                    <a:lnTo>
                      <a:pt x="2258696" y="247"/>
                    </a:lnTo>
                    <a:lnTo>
                      <a:pt x="2321561" y="247"/>
                    </a:lnTo>
                    <a:lnTo>
                      <a:pt x="2441576" y="247"/>
                    </a:lnTo>
                    <a:lnTo>
                      <a:pt x="2441576" y="83691"/>
                    </a:lnTo>
                    <a:lnTo>
                      <a:pt x="2441576" y="152299"/>
                    </a:lnTo>
                    <a:lnTo>
                      <a:pt x="2441576" y="235743"/>
                    </a:lnTo>
                    <a:lnTo>
                      <a:pt x="2441576" y="304351"/>
                    </a:lnTo>
                    <a:lnTo>
                      <a:pt x="2441576" y="387795"/>
                    </a:lnTo>
                    <a:lnTo>
                      <a:pt x="2441576" y="456403"/>
                    </a:lnTo>
                    <a:lnTo>
                      <a:pt x="2441576" y="539847"/>
                    </a:lnTo>
                    <a:lnTo>
                      <a:pt x="2441576" y="608455"/>
                    </a:lnTo>
                    <a:lnTo>
                      <a:pt x="2441576" y="691899"/>
                    </a:lnTo>
                    <a:lnTo>
                      <a:pt x="2441576" y="760507"/>
                    </a:lnTo>
                    <a:lnTo>
                      <a:pt x="2441576" y="832545"/>
                    </a:lnTo>
                    <a:lnTo>
                      <a:pt x="2441576" y="901153"/>
                    </a:lnTo>
                    <a:lnTo>
                      <a:pt x="2321561" y="901153"/>
                    </a:lnTo>
                    <a:lnTo>
                      <a:pt x="2239646" y="901153"/>
                    </a:lnTo>
                    <a:lnTo>
                      <a:pt x="2176781" y="901153"/>
                    </a:lnTo>
                    <a:lnTo>
                      <a:pt x="2109259" y="901153"/>
                    </a:lnTo>
                    <a:lnTo>
                      <a:pt x="2025730" y="901153"/>
                    </a:lnTo>
                    <a:lnTo>
                      <a:pt x="1941949" y="901153"/>
                    </a:lnTo>
                    <a:lnTo>
                      <a:pt x="1824412" y="901153"/>
                    </a:lnTo>
                    <a:lnTo>
                      <a:pt x="1720844" y="901153"/>
                    </a:lnTo>
                    <a:lnTo>
                      <a:pt x="1829119" y="1193517"/>
                    </a:lnTo>
                    <a:lnTo>
                      <a:pt x="1539566" y="901153"/>
                    </a:lnTo>
                    <a:lnTo>
                      <a:pt x="1427685" y="901153"/>
                    </a:lnTo>
                    <a:lnTo>
                      <a:pt x="1324785" y="901153"/>
                    </a:lnTo>
                    <a:lnTo>
                      <a:pt x="1254721" y="901153"/>
                    </a:lnTo>
                    <a:lnTo>
                      <a:pt x="1146253" y="901153"/>
                    </a:lnTo>
                    <a:lnTo>
                      <a:pt x="1039939" y="901153"/>
                    </a:lnTo>
                    <a:lnTo>
                      <a:pt x="969874" y="901153"/>
                    </a:lnTo>
                    <a:lnTo>
                      <a:pt x="864820" y="901154"/>
                    </a:lnTo>
                    <a:lnTo>
                      <a:pt x="755093" y="901153"/>
                    </a:lnTo>
                    <a:lnTo>
                      <a:pt x="685028" y="901153"/>
                    </a:lnTo>
                    <a:lnTo>
                      <a:pt x="581332" y="901153"/>
                    </a:lnTo>
                    <a:lnTo>
                      <a:pt x="471351" y="901153"/>
                    </a:lnTo>
                    <a:lnTo>
                      <a:pt x="470246" y="901153"/>
                    </a:lnTo>
                    <a:lnTo>
                      <a:pt x="377080" y="901153"/>
                    </a:lnTo>
                    <a:lnTo>
                      <a:pt x="282811" y="901153"/>
                    </a:lnTo>
                    <a:lnTo>
                      <a:pt x="185400" y="901153"/>
                    </a:lnTo>
                    <a:lnTo>
                      <a:pt x="94270" y="901153"/>
                    </a:lnTo>
                    <a:lnTo>
                      <a:pt x="0" y="901153"/>
                    </a:lnTo>
                    <a:lnTo>
                      <a:pt x="0" y="832545"/>
                    </a:lnTo>
                    <a:lnTo>
                      <a:pt x="0" y="760507"/>
                    </a:lnTo>
                    <a:lnTo>
                      <a:pt x="0" y="691899"/>
                    </a:lnTo>
                    <a:lnTo>
                      <a:pt x="0" y="608455"/>
                    </a:lnTo>
                    <a:lnTo>
                      <a:pt x="0" y="539847"/>
                    </a:lnTo>
                    <a:lnTo>
                      <a:pt x="0" y="456403"/>
                    </a:lnTo>
                    <a:lnTo>
                      <a:pt x="0" y="387795"/>
                    </a:lnTo>
                    <a:lnTo>
                      <a:pt x="0" y="304351"/>
                    </a:lnTo>
                    <a:lnTo>
                      <a:pt x="0" y="235743"/>
                    </a:lnTo>
                    <a:lnTo>
                      <a:pt x="0" y="152299"/>
                    </a:lnTo>
                    <a:lnTo>
                      <a:pt x="0" y="83691"/>
                    </a:lnTo>
                    <a:lnTo>
                      <a:pt x="0" y="247"/>
                    </a:lnTo>
                    <a:close/>
                  </a:path>
                </a:pathLst>
              </a:custGeom>
              <a:solidFill>
                <a:schemeClr val="bg2"/>
              </a:solidFill>
              <a:ln w="12700" algn="ctr">
                <a:solidFill>
                  <a:schemeClr val="accent2"/>
                </a:solidFill>
                <a:miter lim="800000"/>
                <a:headEnd/>
                <a:tailEnd/>
              </a:ln>
              <a:effectLst>
                <a:outerShdw dist="53340" dir="2700000" algn="tl" rotWithShape="0">
                  <a:schemeClr val="tx1">
                    <a:alpha val="8000"/>
                  </a:scheme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1104248"/>
                <a:endParaRPr lang="es-ES_tradnl" sz="1200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01" name="Rectangle 22"/>
              <p:cNvSpPr txBox="1"/>
              <p:nvPr>
                <p:custDataLst>
                  <p:tags r:id="rId15"/>
                </p:custDataLst>
              </p:nvPr>
            </p:nvSpPr>
            <p:spPr>
              <a:xfrm flipH="1">
                <a:off x="647741" y="2339756"/>
                <a:ext cx="930594" cy="41704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>
                  <a:buClr>
                    <a:srgbClr val="009A46"/>
                  </a:buClr>
                </a:pPr>
                <a:r>
                  <a:rPr lang="es-ES_tradnl" sz="1200" dirty="0">
                    <a:solidFill>
                      <a:srgbClr val="000000"/>
                    </a:solidFill>
                    <a:cs typeface="Arial" panose="020B0604020202020204" pitchFamily="34" charset="0"/>
                  </a:rPr>
                  <a:t>Tablero indicadores</a:t>
                </a:r>
              </a:p>
            </p:txBody>
          </p:sp>
        </p:grpSp>
      </p:grpSp>
      <p:grpSp>
        <p:nvGrpSpPr>
          <p:cNvPr id="7" name="6 Grupo"/>
          <p:cNvGrpSpPr/>
          <p:nvPr/>
        </p:nvGrpSpPr>
        <p:grpSpPr>
          <a:xfrm>
            <a:off x="6307801" y="2210380"/>
            <a:ext cx="2436406" cy="1158065"/>
            <a:chOff x="4602301" y="1769165"/>
            <a:chExt cx="1790822" cy="1135011"/>
          </a:xfrm>
        </p:grpSpPr>
        <p:grpSp>
          <p:nvGrpSpPr>
            <p:cNvPr id="20" name="Group 19"/>
            <p:cNvGrpSpPr>
              <a:grpSpLocks/>
            </p:cNvGrpSpPr>
            <p:nvPr/>
          </p:nvGrpSpPr>
          <p:grpSpPr>
            <a:xfrm>
              <a:off x="5367168" y="2071118"/>
              <a:ext cx="1025955" cy="833058"/>
              <a:chOff x="4404514" y="2662779"/>
              <a:chExt cx="1056640" cy="1164207"/>
            </a:xfrm>
          </p:grpSpPr>
          <p:grpSp>
            <p:nvGrpSpPr>
              <p:cNvPr id="5" name="Group 192"/>
              <p:cNvGrpSpPr/>
              <p:nvPr/>
            </p:nvGrpSpPr>
            <p:grpSpPr>
              <a:xfrm>
                <a:off x="4404514" y="2662779"/>
                <a:ext cx="1056640" cy="675337"/>
                <a:chOff x="4725478" y="2221122"/>
                <a:chExt cx="742552" cy="806439"/>
              </a:xfrm>
            </p:grpSpPr>
            <p:pic>
              <p:nvPicPr>
                <p:cNvPr id="194" name="Picture 193"/>
                <p:cNvPicPr>
                  <a:picLocks noChangeAspect="1"/>
                </p:cNvPicPr>
                <p:nvPr/>
              </p:nvPicPr>
              <p:blipFill>
                <a:blip r:embed="rId20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725478" y="2221122"/>
                  <a:ext cx="399915" cy="806439"/>
                </a:xfrm>
                <a:prstGeom prst="rect">
                  <a:avLst/>
                </a:prstGeom>
              </p:spPr>
            </p:pic>
            <p:pic>
              <p:nvPicPr>
                <p:cNvPr id="195" name="Picture 194"/>
                <p:cNvPicPr>
                  <a:picLocks noChangeAspect="1"/>
                </p:cNvPicPr>
                <p:nvPr/>
              </p:nvPicPr>
              <p:blipFill>
                <a:blip r:embed="rId2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941692" y="2418317"/>
                  <a:ext cx="526338" cy="567914"/>
                </a:xfrm>
                <a:prstGeom prst="rect">
                  <a:avLst/>
                </a:prstGeom>
              </p:spPr>
            </p:pic>
          </p:grpSp>
          <p:pic>
            <p:nvPicPr>
              <p:cNvPr id="196" name="Picture 154"/>
              <p:cNvPicPr>
                <a:picLocks noChangeAspect="1" noChangeArrowheads="1"/>
              </p:cNvPicPr>
              <p:nvPr/>
            </p:nvPicPr>
            <p:blipFill>
              <a:blip r:embed="rId2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836490" y="3202590"/>
                <a:ext cx="338222" cy="53889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197" name="Picture 154"/>
              <p:cNvPicPr>
                <a:picLocks noChangeAspect="1" noChangeArrowheads="1"/>
              </p:cNvPicPr>
              <p:nvPr/>
            </p:nvPicPr>
            <p:blipFill>
              <a:blip r:embed="rId2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98267" y="3202590"/>
                <a:ext cx="338222" cy="53889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198" name="Picture 154"/>
              <p:cNvPicPr>
                <a:picLocks noChangeAspect="1" noChangeArrowheads="1"/>
              </p:cNvPicPr>
              <p:nvPr/>
            </p:nvPicPr>
            <p:blipFill>
              <a:blip r:embed="rId2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654132" y="3288090"/>
                <a:ext cx="338222" cy="53889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8" name="Group 204"/>
            <p:cNvGrpSpPr/>
            <p:nvPr/>
          </p:nvGrpSpPr>
          <p:grpSpPr>
            <a:xfrm>
              <a:off x="4602301" y="1769165"/>
              <a:ext cx="884350" cy="540000"/>
              <a:chOff x="-134351" y="2313408"/>
              <a:chExt cx="1059559" cy="622141"/>
            </a:xfrm>
          </p:grpSpPr>
          <p:sp>
            <p:nvSpPr>
              <p:cNvPr id="206" name="Rectangle 1"/>
              <p:cNvSpPr>
                <a:spLocks/>
              </p:cNvSpPr>
              <p:nvPr/>
            </p:nvSpPr>
            <p:spPr>
              <a:xfrm>
                <a:off x="-134351" y="2313408"/>
                <a:ext cx="1059559" cy="622141"/>
              </a:xfrm>
              <a:custGeom>
                <a:avLst/>
                <a:gdLst>
                  <a:gd name="connsiteX0" fmla="*/ 0 w 2441576"/>
                  <a:gd name="connsiteY0" fmla="*/ 0 h 900906"/>
                  <a:gd name="connsiteX1" fmla="*/ 94270 w 2441576"/>
                  <a:gd name="connsiteY1" fmla="*/ 0 h 900906"/>
                  <a:gd name="connsiteX2" fmla="*/ 185400 w 2441576"/>
                  <a:gd name="connsiteY2" fmla="*/ 0 h 900906"/>
                  <a:gd name="connsiteX3" fmla="*/ 188541 w 2441576"/>
                  <a:gd name="connsiteY3" fmla="*/ 0 h 900906"/>
                  <a:gd name="connsiteX4" fmla="*/ 282811 w 2441576"/>
                  <a:gd name="connsiteY4" fmla="*/ 0 h 900906"/>
                  <a:gd name="connsiteX5" fmla="*/ 377080 w 2441576"/>
                  <a:gd name="connsiteY5" fmla="*/ 0 h 900906"/>
                  <a:gd name="connsiteX6" fmla="*/ 470246 w 2441576"/>
                  <a:gd name="connsiteY6" fmla="*/ 0 h 900906"/>
                  <a:gd name="connsiteX7" fmla="*/ 471351 w 2441576"/>
                  <a:gd name="connsiteY7" fmla="*/ 0 h 900906"/>
                  <a:gd name="connsiteX8" fmla="*/ 581332 w 2441576"/>
                  <a:gd name="connsiteY8" fmla="*/ 0 h 900906"/>
                  <a:gd name="connsiteX9" fmla="*/ 685028 w 2441576"/>
                  <a:gd name="connsiteY9" fmla="*/ 0 h 900906"/>
                  <a:gd name="connsiteX10" fmla="*/ 755093 w 2441576"/>
                  <a:gd name="connsiteY10" fmla="*/ 0 h 900906"/>
                  <a:gd name="connsiteX11" fmla="*/ 969874 w 2441576"/>
                  <a:gd name="connsiteY11" fmla="*/ 0 h 900906"/>
                  <a:gd name="connsiteX12" fmla="*/ 1039939 w 2441576"/>
                  <a:gd name="connsiteY12" fmla="*/ 0 h 900906"/>
                  <a:gd name="connsiteX13" fmla="*/ 1254721 w 2441576"/>
                  <a:gd name="connsiteY13" fmla="*/ 0 h 900906"/>
                  <a:gd name="connsiteX14" fmla="*/ 1324785 w 2441576"/>
                  <a:gd name="connsiteY14" fmla="*/ 0 h 900906"/>
                  <a:gd name="connsiteX15" fmla="*/ 1539566 w 2441576"/>
                  <a:gd name="connsiteY15" fmla="*/ 0 h 900906"/>
                  <a:gd name="connsiteX16" fmla="*/ 1609632 w 2441576"/>
                  <a:gd name="connsiteY16" fmla="*/ 0 h 900906"/>
                  <a:gd name="connsiteX17" fmla="*/ 1824412 w 2441576"/>
                  <a:gd name="connsiteY17" fmla="*/ 0 h 900906"/>
                  <a:gd name="connsiteX18" fmla="*/ 1941949 w 2441576"/>
                  <a:gd name="connsiteY18" fmla="*/ 0 h 900906"/>
                  <a:gd name="connsiteX19" fmla="*/ 2094866 w 2441576"/>
                  <a:gd name="connsiteY19" fmla="*/ 0 h 900906"/>
                  <a:gd name="connsiteX20" fmla="*/ 2176781 w 2441576"/>
                  <a:gd name="connsiteY20" fmla="*/ 0 h 900906"/>
                  <a:gd name="connsiteX21" fmla="*/ 2258696 w 2441576"/>
                  <a:gd name="connsiteY21" fmla="*/ 0 h 900906"/>
                  <a:gd name="connsiteX22" fmla="*/ 2321561 w 2441576"/>
                  <a:gd name="connsiteY22" fmla="*/ 0 h 900906"/>
                  <a:gd name="connsiteX23" fmla="*/ 2403476 w 2441576"/>
                  <a:gd name="connsiteY23" fmla="*/ 0 h 900906"/>
                  <a:gd name="connsiteX24" fmla="*/ 2441576 w 2441576"/>
                  <a:gd name="connsiteY24" fmla="*/ 0 h 900906"/>
                  <a:gd name="connsiteX25" fmla="*/ 2441576 w 2441576"/>
                  <a:gd name="connsiteY25" fmla="*/ 83444 h 900906"/>
                  <a:gd name="connsiteX26" fmla="*/ 2441576 w 2441576"/>
                  <a:gd name="connsiteY26" fmla="*/ 152052 h 900906"/>
                  <a:gd name="connsiteX27" fmla="*/ 2441576 w 2441576"/>
                  <a:gd name="connsiteY27" fmla="*/ 235496 h 900906"/>
                  <a:gd name="connsiteX28" fmla="*/ 2441576 w 2441576"/>
                  <a:gd name="connsiteY28" fmla="*/ 304104 h 900906"/>
                  <a:gd name="connsiteX29" fmla="*/ 2441576 w 2441576"/>
                  <a:gd name="connsiteY29" fmla="*/ 387548 h 900906"/>
                  <a:gd name="connsiteX30" fmla="*/ 2441576 w 2441576"/>
                  <a:gd name="connsiteY30" fmla="*/ 456156 h 900906"/>
                  <a:gd name="connsiteX31" fmla="*/ 2441576 w 2441576"/>
                  <a:gd name="connsiteY31" fmla="*/ 539600 h 900906"/>
                  <a:gd name="connsiteX32" fmla="*/ 2441576 w 2441576"/>
                  <a:gd name="connsiteY32" fmla="*/ 608208 h 900906"/>
                  <a:gd name="connsiteX33" fmla="*/ 2441576 w 2441576"/>
                  <a:gd name="connsiteY33" fmla="*/ 691652 h 900906"/>
                  <a:gd name="connsiteX34" fmla="*/ 2441576 w 2441576"/>
                  <a:gd name="connsiteY34" fmla="*/ 748854 h 900906"/>
                  <a:gd name="connsiteX35" fmla="*/ 2441576 w 2441576"/>
                  <a:gd name="connsiteY35" fmla="*/ 760260 h 900906"/>
                  <a:gd name="connsiteX36" fmla="*/ 2441576 w 2441576"/>
                  <a:gd name="connsiteY36" fmla="*/ 832298 h 900906"/>
                  <a:gd name="connsiteX37" fmla="*/ 2441576 w 2441576"/>
                  <a:gd name="connsiteY37" fmla="*/ 900906 h 900906"/>
                  <a:gd name="connsiteX38" fmla="*/ 2403476 w 2441576"/>
                  <a:gd name="connsiteY38" fmla="*/ 900906 h 900906"/>
                  <a:gd name="connsiteX39" fmla="*/ 2321561 w 2441576"/>
                  <a:gd name="connsiteY39" fmla="*/ 900906 h 900906"/>
                  <a:gd name="connsiteX40" fmla="*/ 2239646 w 2441576"/>
                  <a:gd name="connsiteY40" fmla="*/ 900906 h 900906"/>
                  <a:gd name="connsiteX41" fmla="*/ 2176781 w 2441576"/>
                  <a:gd name="connsiteY41" fmla="*/ 900906 h 900906"/>
                  <a:gd name="connsiteX42" fmla="*/ 2109259 w 2441576"/>
                  <a:gd name="connsiteY42" fmla="*/ 900906 h 900906"/>
                  <a:gd name="connsiteX43" fmla="*/ 2094866 w 2441576"/>
                  <a:gd name="connsiteY43" fmla="*/ 900906 h 900906"/>
                  <a:gd name="connsiteX44" fmla="*/ 1941949 w 2441576"/>
                  <a:gd name="connsiteY44" fmla="*/ 900906 h 900906"/>
                  <a:gd name="connsiteX45" fmla="*/ 1824412 w 2441576"/>
                  <a:gd name="connsiteY45" fmla="*/ 900906 h 900906"/>
                  <a:gd name="connsiteX46" fmla="*/ 1609632 w 2441576"/>
                  <a:gd name="connsiteY46" fmla="*/ 900906 h 900906"/>
                  <a:gd name="connsiteX47" fmla="*/ 1539566 w 2441576"/>
                  <a:gd name="connsiteY47" fmla="*/ 900906 h 900906"/>
                  <a:gd name="connsiteX48" fmla="*/ 1324785 w 2441576"/>
                  <a:gd name="connsiteY48" fmla="*/ 900906 h 900906"/>
                  <a:gd name="connsiteX49" fmla="*/ 1254721 w 2441576"/>
                  <a:gd name="connsiteY49" fmla="*/ 900906 h 900906"/>
                  <a:gd name="connsiteX50" fmla="*/ 1039939 w 2441576"/>
                  <a:gd name="connsiteY50" fmla="*/ 900906 h 900906"/>
                  <a:gd name="connsiteX51" fmla="*/ 969874 w 2441576"/>
                  <a:gd name="connsiteY51" fmla="*/ 900906 h 900906"/>
                  <a:gd name="connsiteX52" fmla="*/ 755093 w 2441576"/>
                  <a:gd name="connsiteY52" fmla="*/ 900906 h 900906"/>
                  <a:gd name="connsiteX53" fmla="*/ 685028 w 2441576"/>
                  <a:gd name="connsiteY53" fmla="*/ 900906 h 900906"/>
                  <a:gd name="connsiteX54" fmla="*/ 581332 w 2441576"/>
                  <a:gd name="connsiteY54" fmla="*/ 900906 h 900906"/>
                  <a:gd name="connsiteX55" fmla="*/ 471351 w 2441576"/>
                  <a:gd name="connsiteY55" fmla="*/ 900906 h 900906"/>
                  <a:gd name="connsiteX56" fmla="*/ 470246 w 2441576"/>
                  <a:gd name="connsiteY56" fmla="*/ 900906 h 900906"/>
                  <a:gd name="connsiteX57" fmla="*/ 377080 w 2441576"/>
                  <a:gd name="connsiteY57" fmla="*/ 900906 h 900906"/>
                  <a:gd name="connsiteX58" fmla="*/ 282811 w 2441576"/>
                  <a:gd name="connsiteY58" fmla="*/ 900906 h 900906"/>
                  <a:gd name="connsiteX59" fmla="*/ 188541 w 2441576"/>
                  <a:gd name="connsiteY59" fmla="*/ 900906 h 900906"/>
                  <a:gd name="connsiteX60" fmla="*/ 185400 w 2441576"/>
                  <a:gd name="connsiteY60" fmla="*/ 900906 h 900906"/>
                  <a:gd name="connsiteX61" fmla="*/ 94270 w 2441576"/>
                  <a:gd name="connsiteY61" fmla="*/ 900906 h 900906"/>
                  <a:gd name="connsiteX62" fmla="*/ 0 w 2441576"/>
                  <a:gd name="connsiteY62" fmla="*/ 900906 h 900906"/>
                  <a:gd name="connsiteX63" fmla="*/ 0 w 2441576"/>
                  <a:gd name="connsiteY63" fmla="*/ 832298 h 900906"/>
                  <a:gd name="connsiteX64" fmla="*/ 0 w 2441576"/>
                  <a:gd name="connsiteY64" fmla="*/ 760260 h 900906"/>
                  <a:gd name="connsiteX65" fmla="*/ 0 w 2441576"/>
                  <a:gd name="connsiteY65" fmla="*/ 748854 h 900906"/>
                  <a:gd name="connsiteX66" fmla="*/ 0 w 2441576"/>
                  <a:gd name="connsiteY66" fmla="*/ 691652 h 900906"/>
                  <a:gd name="connsiteX67" fmla="*/ 0 w 2441576"/>
                  <a:gd name="connsiteY67" fmla="*/ 608208 h 900906"/>
                  <a:gd name="connsiteX68" fmla="*/ 0 w 2441576"/>
                  <a:gd name="connsiteY68" fmla="*/ 539600 h 900906"/>
                  <a:gd name="connsiteX69" fmla="*/ 0 w 2441576"/>
                  <a:gd name="connsiteY69" fmla="*/ 456156 h 900906"/>
                  <a:gd name="connsiteX70" fmla="*/ 0 w 2441576"/>
                  <a:gd name="connsiteY70" fmla="*/ 387548 h 900906"/>
                  <a:gd name="connsiteX71" fmla="*/ 0 w 2441576"/>
                  <a:gd name="connsiteY71" fmla="*/ 304104 h 900906"/>
                  <a:gd name="connsiteX72" fmla="*/ 0 w 2441576"/>
                  <a:gd name="connsiteY72" fmla="*/ 235496 h 900906"/>
                  <a:gd name="connsiteX73" fmla="*/ 0 w 2441576"/>
                  <a:gd name="connsiteY73" fmla="*/ 152052 h 900906"/>
                  <a:gd name="connsiteX74" fmla="*/ 0 w 2441576"/>
                  <a:gd name="connsiteY74" fmla="*/ 83444 h 900906"/>
                  <a:gd name="connsiteX75" fmla="*/ 0 w 2441576"/>
                  <a:gd name="connsiteY75" fmla="*/ 0 h 900906"/>
                  <a:gd name="connsiteX0" fmla="*/ 0 w 2441576"/>
                  <a:gd name="connsiteY0" fmla="*/ 0 h 900906"/>
                  <a:gd name="connsiteX1" fmla="*/ 94270 w 2441576"/>
                  <a:gd name="connsiteY1" fmla="*/ 0 h 900906"/>
                  <a:gd name="connsiteX2" fmla="*/ 185400 w 2441576"/>
                  <a:gd name="connsiteY2" fmla="*/ 0 h 900906"/>
                  <a:gd name="connsiteX3" fmla="*/ 188541 w 2441576"/>
                  <a:gd name="connsiteY3" fmla="*/ 0 h 900906"/>
                  <a:gd name="connsiteX4" fmla="*/ 282811 w 2441576"/>
                  <a:gd name="connsiteY4" fmla="*/ 0 h 900906"/>
                  <a:gd name="connsiteX5" fmla="*/ 377080 w 2441576"/>
                  <a:gd name="connsiteY5" fmla="*/ 0 h 900906"/>
                  <a:gd name="connsiteX6" fmla="*/ 470246 w 2441576"/>
                  <a:gd name="connsiteY6" fmla="*/ 0 h 900906"/>
                  <a:gd name="connsiteX7" fmla="*/ 471351 w 2441576"/>
                  <a:gd name="connsiteY7" fmla="*/ 0 h 900906"/>
                  <a:gd name="connsiteX8" fmla="*/ 581332 w 2441576"/>
                  <a:gd name="connsiteY8" fmla="*/ 0 h 900906"/>
                  <a:gd name="connsiteX9" fmla="*/ 685028 w 2441576"/>
                  <a:gd name="connsiteY9" fmla="*/ 0 h 900906"/>
                  <a:gd name="connsiteX10" fmla="*/ 755093 w 2441576"/>
                  <a:gd name="connsiteY10" fmla="*/ 0 h 900906"/>
                  <a:gd name="connsiteX11" fmla="*/ 969874 w 2441576"/>
                  <a:gd name="connsiteY11" fmla="*/ 0 h 900906"/>
                  <a:gd name="connsiteX12" fmla="*/ 1039939 w 2441576"/>
                  <a:gd name="connsiteY12" fmla="*/ 0 h 900906"/>
                  <a:gd name="connsiteX13" fmla="*/ 1254721 w 2441576"/>
                  <a:gd name="connsiteY13" fmla="*/ 0 h 900906"/>
                  <a:gd name="connsiteX14" fmla="*/ 1324785 w 2441576"/>
                  <a:gd name="connsiteY14" fmla="*/ 0 h 900906"/>
                  <a:gd name="connsiteX15" fmla="*/ 1539566 w 2441576"/>
                  <a:gd name="connsiteY15" fmla="*/ 0 h 900906"/>
                  <a:gd name="connsiteX16" fmla="*/ 1609632 w 2441576"/>
                  <a:gd name="connsiteY16" fmla="*/ 0 h 900906"/>
                  <a:gd name="connsiteX17" fmla="*/ 1824412 w 2441576"/>
                  <a:gd name="connsiteY17" fmla="*/ 0 h 900906"/>
                  <a:gd name="connsiteX18" fmla="*/ 1941949 w 2441576"/>
                  <a:gd name="connsiteY18" fmla="*/ 0 h 900906"/>
                  <a:gd name="connsiteX19" fmla="*/ 2094866 w 2441576"/>
                  <a:gd name="connsiteY19" fmla="*/ 0 h 900906"/>
                  <a:gd name="connsiteX20" fmla="*/ 2176781 w 2441576"/>
                  <a:gd name="connsiteY20" fmla="*/ 0 h 900906"/>
                  <a:gd name="connsiteX21" fmla="*/ 2258696 w 2441576"/>
                  <a:gd name="connsiteY21" fmla="*/ 0 h 900906"/>
                  <a:gd name="connsiteX22" fmla="*/ 2321561 w 2441576"/>
                  <a:gd name="connsiteY22" fmla="*/ 0 h 900906"/>
                  <a:gd name="connsiteX23" fmla="*/ 2403476 w 2441576"/>
                  <a:gd name="connsiteY23" fmla="*/ 0 h 900906"/>
                  <a:gd name="connsiteX24" fmla="*/ 2441576 w 2441576"/>
                  <a:gd name="connsiteY24" fmla="*/ 0 h 900906"/>
                  <a:gd name="connsiteX25" fmla="*/ 2441576 w 2441576"/>
                  <a:gd name="connsiteY25" fmla="*/ 83444 h 900906"/>
                  <a:gd name="connsiteX26" fmla="*/ 2441576 w 2441576"/>
                  <a:gd name="connsiteY26" fmla="*/ 152052 h 900906"/>
                  <a:gd name="connsiteX27" fmla="*/ 2441576 w 2441576"/>
                  <a:gd name="connsiteY27" fmla="*/ 235496 h 900906"/>
                  <a:gd name="connsiteX28" fmla="*/ 2441576 w 2441576"/>
                  <a:gd name="connsiteY28" fmla="*/ 304104 h 900906"/>
                  <a:gd name="connsiteX29" fmla="*/ 2441576 w 2441576"/>
                  <a:gd name="connsiteY29" fmla="*/ 387548 h 900906"/>
                  <a:gd name="connsiteX30" fmla="*/ 2441576 w 2441576"/>
                  <a:gd name="connsiteY30" fmla="*/ 456156 h 900906"/>
                  <a:gd name="connsiteX31" fmla="*/ 2441576 w 2441576"/>
                  <a:gd name="connsiteY31" fmla="*/ 539600 h 900906"/>
                  <a:gd name="connsiteX32" fmla="*/ 2441576 w 2441576"/>
                  <a:gd name="connsiteY32" fmla="*/ 608208 h 900906"/>
                  <a:gd name="connsiteX33" fmla="*/ 2441576 w 2441576"/>
                  <a:gd name="connsiteY33" fmla="*/ 691652 h 900906"/>
                  <a:gd name="connsiteX34" fmla="*/ 2441576 w 2441576"/>
                  <a:gd name="connsiteY34" fmla="*/ 748854 h 900906"/>
                  <a:gd name="connsiteX35" fmla="*/ 2441576 w 2441576"/>
                  <a:gd name="connsiteY35" fmla="*/ 760260 h 900906"/>
                  <a:gd name="connsiteX36" fmla="*/ 2441576 w 2441576"/>
                  <a:gd name="connsiteY36" fmla="*/ 832298 h 900906"/>
                  <a:gd name="connsiteX37" fmla="*/ 2441576 w 2441576"/>
                  <a:gd name="connsiteY37" fmla="*/ 900906 h 900906"/>
                  <a:gd name="connsiteX38" fmla="*/ 2403476 w 2441576"/>
                  <a:gd name="connsiteY38" fmla="*/ 900906 h 900906"/>
                  <a:gd name="connsiteX39" fmla="*/ 2321561 w 2441576"/>
                  <a:gd name="connsiteY39" fmla="*/ 900906 h 900906"/>
                  <a:gd name="connsiteX40" fmla="*/ 2239646 w 2441576"/>
                  <a:gd name="connsiteY40" fmla="*/ 900906 h 900906"/>
                  <a:gd name="connsiteX41" fmla="*/ 2176781 w 2441576"/>
                  <a:gd name="connsiteY41" fmla="*/ 900906 h 900906"/>
                  <a:gd name="connsiteX42" fmla="*/ 2109259 w 2441576"/>
                  <a:gd name="connsiteY42" fmla="*/ 900906 h 900906"/>
                  <a:gd name="connsiteX43" fmla="*/ 1941949 w 2441576"/>
                  <a:gd name="connsiteY43" fmla="*/ 900906 h 900906"/>
                  <a:gd name="connsiteX44" fmla="*/ 1824412 w 2441576"/>
                  <a:gd name="connsiteY44" fmla="*/ 900906 h 900906"/>
                  <a:gd name="connsiteX45" fmla="*/ 1609632 w 2441576"/>
                  <a:gd name="connsiteY45" fmla="*/ 900906 h 900906"/>
                  <a:gd name="connsiteX46" fmla="*/ 1539566 w 2441576"/>
                  <a:gd name="connsiteY46" fmla="*/ 900906 h 900906"/>
                  <a:gd name="connsiteX47" fmla="*/ 1324785 w 2441576"/>
                  <a:gd name="connsiteY47" fmla="*/ 900906 h 900906"/>
                  <a:gd name="connsiteX48" fmla="*/ 1254721 w 2441576"/>
                  <a:gd name="connsiteY48" fmla="*/ 900906 h 900906"/>
                  <a:gd name="connsiteX49" fmla="*/ 1039939 w 2441576"/>
                  <a:gd name="connsiteY49" fmla="*/ 900906 h 900906"/>
                  <a:gd name="connsiteX50" fmla="*/ 969874 w 2441576"/>
                  <a:gd name="connsiteY50" fmla="*/ 900906 h 900906"/>
                  <a:gd name="connsiteX51" fmla="*/ 755093 w 2441576"/>
                  <a:gd name="connsiteY51" fmla="*/ 900906 h 900906"/>
                  <a:gd name="connsiteX52" fmla="*/ 685028 w 2441576"/>
                  <a:gd name="connsiteY52" fmla="*/ 900906 h 900906"/>
                  <a:gd name="connsiteX53" fmla="*/ 581332 w 2441576"/>
                  <a:gd name="connsiteY53" fmla="*/ 900906 h 900906"/>
                  <a:gd name="connsiteX54" fmla="*/ 471351 w 2441576"/>
                  <a:gd name="connsiteY54" fmla="*/ 900906 h 900906"/>
                  <a:gd name="connsiteX55" fmla="*/ 470246 w 2441576"/>
                  <a:gd name="connsiteY55" fmla="*/ 900906 h 900906"/>
                  <a:gd name="connsiteX56" fmla="*/ 377080 w 2441576"/>
                  <a:gd name="connsiteY56" fmla="*/ 900906 h 900906"/>
                  <a:gd name="connsiteX57" fmla="*/ 282811 w 2441576"/>
                  <a:gd name="connsiteY57" fmla="*/ 900906 h 900906"/>
                  <a:gd name="connsiteX58" fmla="*/ 188541 w 2441576"/>
                  <a:gd name="connsiteY58" fmla="*/ 900906 h 900906"/>
                  <a:gd name="connsiteX59" fmla="*/ 185400 w 2441576"/>
                  <a:gd name="connsiteY59" fmla="*/ 900906 h 900906"/>
                  <a:gd name="connsiteX60" fmla="*/ 94270 w 2441576"/>
                  <a:gd name="connsiteY60" fmla="*/ 900906 h 900906"/>
                  <a:gd name="connsiteX61" fmla="*/ 0 w 2441576"/>
                  <a:gd name="connsiteY61" fmla="*/ 900906 h 900906"/>
                  <a:gd name="connsiteX62" fmla="*/ 0 w 2441576"/>
                  <a:gd name="connsiteY62" fmla="*/ 832298 h 900906"/>
                  <a:gd name="connsiteX63" fmla="*/ 0 w 2441576"/>
                  <a:gd name="connsiteY63" fmla="*/ 760260 h 900906"/>
                  <a:gd name="connsiteX64" fmla="*/ 0 w 2441576"/>
                  <a:gd name="connsiteY64" fmla="*/ 748854 h 900906"/>
                  <a:gd name="connsiteX65" fmla="*/ 0 w 2441576"/>
                  <a:gd name="connsiteY65" fmla="*/ 691652 h 900906"/>
                  <a:gd name="connsiteX66" fmla="*/ 0 w 2441576"/>
                  <a:gd name="connsiteY66" fmla="*/ 608208 h 900906"/>
                  <a:gd name="connsiteX67" fmla="*/ 0 w 2441576"/>
                  <a:gd name="connsiteY67" fmla="*/ 539600 h 900906"/>
                  <a:gd name="connsiteX68" fmla="*/ 0 w 2441576"/>
                  <a:gd name="connsiteY68" fmla="*/ 456156 h 900906"/>
                  <a:gd name="connsiteX69" fmla="*/ 0 w 2441576"/>
                  <a:gd name="connsiteY69" fmla="*/ 387548 h 900906"/>
                  <a:gd name="connsiteX70" fmla="*/ 0 w 2441576"/>
                  <a:gd name="connsiteY70" fmla="*/ 304104 h 900906"/>
                  <a:gd name="connsiteX71" fmla="*/ 0 w 2441576"/>
                  <a:gd name="connsiteY71" fmla="*/ 235496 h 900906"/>
                  <a:gd name="connsiteX72" fmla="*/ 0 w 2441576"/>
                  <a:gd name="connsiteY72" fmla="*/ 152052 h 900906"/>
                  <a:gd name="connsiteX73" fmla="*/ 0 w 2441576"/>
                  <a:gd name="connsiteY73" fmla="*/ 83444 h 900906"/>
                  <a:gd name="connsiteX74" fmla="*/ 0 w 2441576"/>
                  <a:gd name="connsiteY74" fmla="*/ 0 h 900906"/>
                  <a:gd name="connsiteX0" fmla="*/ 0 w 2441576"/>
                  <a:gd name="connsiteY0" fmla="*/ 0 h 900906"/>
                  <a:gd name="connsiteX1" fmla="*/ 94270 w 2441576"/>
                  <a:gd name="connsiteY1" fmla="*/ 0 h 900906"/>
                  <a:gd name="connsiteX2" fmla="*/ 185400 w 2441576"/>
                  <a:gd name="connsiteY2" fmla="*/ 0 h 900906"/>
                  <a:gd name="connsiteX3" fmla="*/ 188541 w 2441576"/>
                  <a:gd name="connsiteY3" fmla="*/ 0 h 900906"/>
                  <a:gd name="connsiteX4" fmla="*/ 282811 w 2441576"/>
                  <a:gd name="connsiteY4" fmla="*/ 0 h 900906"/>
                  <a:gd name="connsiteX5" fmla="*/ 377080 w 2441576"/>
                  <a:gd name="connsiteY5" fmla="*/ 0 h 900906"/>
                  <a:gd name="connsiteX6" fmla="*/ 470246 w 2441576"/>
                  <a:gd name="connsiteY6" fmla="*/ 0 h 900906"/>
                  <a:gd name="connsiteX7" fmla="*/ 471351 w 2441576"/>
                  <a:gd name="connsiteY7" fmla="*/ 0 h 900906"/>
                  <a:gd name="connsiteX8" fmla="*/ 581332 w 2441576"/>
                  <a:gd name="connsiteY8" fmla="*/ 0 h 900906"/>
                  <a:gd name="connsiteX9" fmla="*/ 685028 w 2441576"/>
                  <a:gd name="connsiteY9" fmla="*/ 0 h 900906"/>
                  <a:gd name="connsiteX10" fmla="*/ 755093 w 2441576"/>
                  <a:gd name="connsiteY10" fmla="*/ 0 h 900906"/>
                  <a:gd name="connsiteX11" fmla="*/ 969874 w 2441576"/>
                  <a:gd name="connsiteY11" fmla="*/ 0 h 900906"/>
                  <a:gd name="connsiteX12" fmla="*/ 1039939 w 2441576"/>
                  <a:gd name="connsiteY12" fmla="*/ 0 h 900906"/>
                  <a:gd name="connsiteX13" fmla="*/ 1254721 w 2441576"/>
                  <a:gd name="connsiteY13" fmla="*/ 0 h 900906"/>
                  <a:gd name="connsiteX14" fmla="*/ 1324785 w 2441576"/>
                  <a:gd name="connsiteY14" fmla="*/ 0 h 900906"/>
                  <a:gd name="connsiteX15" fmla="*/ 1539566 w 2441576"/>
                  <a:gd name="connsiteY15" fmla="*/ 0 h 900906"/>
                  <a:gd name="connsiteX16" fmla="*/ 1609632 w 2441576"/>
                  <a:gd name="connsiteY16" fmla="*/ 0 h 900906"/>
                  <a:gd name="connsiteX17" fmla="*/ 1824412 w 2441576"/>
                  <a:gd name="connsiteY17" fmla="*/ 0 h 900906"/>
                  <a:gd name="connsiteX18" fmla="*/ 1941949 w 2441576"/>
                  <a:gd name="connsiteY18" fmla="*/ 0 h 900906"/>
                  <a:gd name="connsiteX19" fmla="*/ 2094866 w 2441576"/>
                  <a:gd name="connsiteY19" fmla="*/ 0 h 900906"/>
                  <a:gd name="connsiteX20" fmla="*/ 2176781 w 2441576"/>
                  <a:gd name="connsiteY20" fmla="*/ 0 h 900906"/>
                  <a:gd name="connsiteX21" fmla="*/ 2258696 w 2441576"/>
                  <a:gd name="connsiteY21" fmla="*/ 0 h 900906"/>
                  <a:gd name="connsiteX22" fmla="*/ 2321561 w 2441576"/>
                  <a:gd name="connsiteY22" fmla="*/ 0 h 900906"/>
                  <a:gd name="connsiteX23" fmla="*/ 2441576 w 2441576"/>
                  <a:gd name="connsiteY23" fmla="*/ 0 h 900906"/>
                  <a:gd name="connsiteX24" fmla="*/ 2441576 w 2441576"/>
                  <a:gd name="connsiteY24" fmla="*/ 83444 h 900906"/>
                  <a:gd name="connsiteX25" fmla="*/ 2441576 w 2441576"/>
                  <a:gd name="connsiteY25" fmla="*/ 152052 h 900906"/>
                  <a:gd name="connsiteX26" fmla="*/ 2441576 w 2441576"/>
                  <a:gd name="connsiteY26" fmla="*/ 235496 h 900906"/>
                  <a:gd name="connsiteX27" fmla="*/ 2441576 w 2441576"/>
                  <a:gd name="connsiteY27" fmla="*/ 304104 h 900906"/>
                  <a:gd name="connsiteX28" fmla="*/ 2441576 w 2441576"/>
                  <a:gd name="connsiteY28" fmla="*/ 387548 h 900906"/>
                  <a:gd name="connsiteX29" fmla="*/ 2441576 w 2441576"/>
                  <a:gd name="connsiteY29" fmla="*/ 456156 h 900906"/>
                  <a:gd name="connsiteX30" fmla="*/ 2441576 w 2441576"/>
                  <a:gd name="connsiteY30" fmla="*/ 539600 h 900906"/>
                  <a:gd name="connsiteX31" fmla="*/ 2441576 w 2441576"/>
                  <a:gd name="connsiteY31" fmla="*/ 608208 h 900906"/>
                  <a:gd name="connsiteX32" fmla="*/ 2441576 w 2441576"/>
                  <a:gd name="connsiteY32" fmla="*/ 691652 h 900906"/>
                  <a:gd name="connsiteX33" fmla="*/ 2441576 w 2441576"/>
                  <a:gd name="connsiteY33" fmla="*/ 748854 h 900906"/>
                  <a:gd name="connsiteX34" fmla="*/ 2441576 w 2441576"/>
                  <a:gd name="connsiteY34" fmla="*/ 760260 h 900906"/>
                  <a:gd name="connsiteX35" fmla="*/ 2441576 w 2441576"/>
                  <a:gd name="connsiteY35" fmla="*/ 832298 h 900906"/>
                  <a:gd name="connsiteX36" fmla="*/ 2441576 w 2441576"/>
                  <a:gd name="connsiteY36" fmla="*/ 900906 h 900906"/>
                  <a:gd name="connsiteX37" fmla="*/ 2403476 w 2441576"/>
                  <a:gd name="connsiteY37" fmla="*/ 900906 h 900906"/>
                  <a:gd name="connsiteX38" fmla="*/ 2321561 w 2441576"/>
                  <a:gd name="connsiteY38" fmla="*/ 900906 h 900906"/>
                  <a:gd name="connsiteX39" fmla="*/ 2239646 w 2441576"/>
                  <a:gd name="connsiteY39" fmla="*/ 900906 h 900906"/>
                  <a:gd name="connsiteX40" fmla="*/ 2176781 w 2441576"/>
                  <a:gd name="connsiteY40" fmla="*/ 900906 h 900906"/>
                  <a:gd name="connsiteX41" fmla="*/ 2109259 w 2441576"/>
                  <a:gd name="connsiteY41" fmla="*/ 900906 h 900906"/>
                  <a:gd name="connsiteX42" fmla="*/ 1941949 w 2441576"/>
                  <a:gd name="connsiteY42" fmla="*/ 900906 h 900906"/>
                  <a:gd name="connsiteX43" fmla="*/ 1824412 w 2441576"/>
                  <a:gd name="connsiteY43" fmla="*/ 900906 h 900906"/>
                  <a:gd name="connsiteX44" fmla="*/ 1609632 w 2441576"/>
                  <a:gd name="connsiteY44" fmla="*/ 900906 h 900906"/>
                  <a:gd name="connsiteX45" fmla="*/ 1539566 w 2441576"/>
                  <a:gd name="connsiteY45" fmla="*/ 900906 h 900906"/>
                  <a:gd name="connsiteX46" fmla="*/ 1324785 w 2441576"/>
                  <a:gd name="connsiteY46" fmla="*/ 900906 h 900906"/>
                  <a:gd name="connsiteX47" fmla="*/ 1254721 w 2441576"/>
                  <a:gd name="connsiteY47" fmla="*/ 900906 h 900906"/>
                  <a:gd name="connsiteX48" fmla="*/ 1039939 w 2441576"/>
                  <a:gd name="connsiteY48" fmla="*/ 900906 h 900906"/>
                  <a:gd name="connsiteX49" fmla="*/ 969874 w 2441576"/>
                  <a:gd name="connsiteY49" fmla="*/ 900906 h 900906"/>
                  <a:gd name="connsiteX50" fmla="*/ 755093 w 2441576"/>
                  <a:gd name="connsiteY50" fmla="*/ 900906 h 900906"/>
                  <a:gd name="connsiteX51" fmla="*/ 685028 w 2441576"/>
                  <a:gd name="connsiteY51" fmla="*/ 900906 h 900906"/>
                  <a:gd name="connsiteX52" fmla="*/ 581332 w 2441576"/>
                  <a:gd name="connsiteY52" fmla="*/ 900906 h 900906"/>
                  <a:gd name="connsiteX53" fmla="*/ 471351 w 2441576"/>
                  <a:gd name="connsiteY53" fmla="*/ 900906 h 900906"/>
                  <a:gd name="connsiteX54" fmla="*/ 470246 w 2441576"/>
                  <a:gd name="connsiteY54" fmla="*/ 900906 h 900906"/>
                  <a:gd name="connsiteX55" fmla="*/ 377080 w 2441576"/>
                  <a:gd name="connsiteY55" fmla="*/ 900906 h 900906"/>
                  <a:gd name="connsiteX56" fmla="*/ 282811 w 2441576"/>
                  <a:gd name="connsiteY56" fmla="*/ 900906 h 900906"/>
                  <a:gd name="connsiteX57" fmla="*/ 188541 w 2441576"/>
                  <a:gd name="connsiteY57" fmla="*/ 900906 h 900906"/>
                  <a:gd name="connsiteX58" fmla="*/ 185400 w 2441576"/>
                  <a:gd name="connsiteY58" fmla="*/ 900906 h 900906"/>
                  <a:gd name="connsiteX59" fmla="*/ 94270 w 2441576"/>
                  <a:gd name="connsiteY59" fmla="*/ 900906 h 900906"/>
                  <a:gd name="connsiteX60" fmla="*/ 0 w 2441576"/>
                  <a:gd name="connsiteY60" fmla="*/ 900906 h 900906"/>
                  <a:gd name="connsiteX61" fmla="*/ 0 w 2441576"/>
                  <a:gd name="connsiteY61" fmla="*/ 832298 h 900906"/>
                  <a:gd name="connsiteX62" fmla="*/ 0 w 2441576"/>
                  <a:gd name="connsiteY62" fmla="*/ 760260 h 900906"/>
                  <a:gd name="connsiteX63" fmla="*/ 0 w 2441576"/>
                  <a:gd name="connsiteY63" fmla="*/ 748854 h 900906"/>
                  <a:gd name="connsiteX64" fmla="*/ 0 w 2441576"/>
                  <a:gd name="connsiteY64" fmla="*/ 691652 h 900906"/>
                  <a:gd name="connsiteX65" fmla="*/ 0 w 2441576"/>
                  <a:gd name="connsiteY65" fmla="*/ 608208 h 900906"/>
                  <a:gd name="connsiteX66" fmla="*/ 0 w 2441576"/>
                  <a:gd name="connsiteY66" fmla="*/ 539600 h 900906"/>
                  <a:gd name="connsiteX67" fmla="*/ 0 w 2441576"/>
                  <a:gd name="connsiteY67" fmla="*/ 456156 h 900906"/>
                  <a:gd name="connsiteX68" fmla="*/ 0 w 2441576"/>
                  <a:gd name="connsiteY68" fmla="*/ 387548 h 900906"/>
                  <a:gd name="connsiteX69" fmla="*/ 0 w 2441576"/>
                  <a:gd name="connsiteY69" fmla="*/ 304104 h 900906"/>
                  <a:gd name="connsiteX70" fmla="*/ 0 w 2441576"/>
                  <a:gd name="connsiteY70" fmla="*/ 235496 h 900906"/>
                  <a:gd name="connsiteX71" fmla="*/ 0 w 2441576"/>
                  <a:gd name="connsiteY71" fmla="*/ 152052 h 900906"/>
                  <a:gd name="connsiteX72" fmla="*/ 0 w 2441576"/>
                  <a:gd name="connsiteY72" fmla="*/ 83444 h 900906"/>
                  <a:gd name="connsiteX73" fmla="*/ 0 w 2441576"/>
                  <a:gd name="connsiteY73" fmla="*/ 0 h 900906"/>
                  <a:gd name="connsiteX0" fmla="*/ 0 w 2441576"/>
                  <a:gd name="connsiteY0" fmla="*/ 0 h 900906"/>
                  <a:gd name="connsiteX1" fmla="*/ 94270 w 2441576"/>
                  <a:gd name="connsiteY1" fmla="*/ 0 h 900906"/>
                  <a:gd name="connsiteX2" fmla="*/ 185400 w 2441576"/>
                  <a:gd name="connsiteY2" fmla="*/ 0 h 900906"/>
                  <a:gd name="connsiteX3" fmla="*/ 188541 w 2441576"/>
                  <a:gd name="connsiteY3" fmla="*/ 0 h 900906"/>
                  <a:gd name="connsiteX4" fmla="*/ 282811 w 2441576"/>
                  <a:gd name="connsiteY4" fmla="*/ 0 h 900906"/>
                  <a:gd name="connsiteX5" fmla="*/ 377080 w 2441576"/>
                  <a:gd name="connsiteY5" fmla="*/ 0 h 900906"/>
                  <a:gd name="connsiteX6" fmla="*/ 470246 w 2441576"/>
                  <a:gd name="connsiteY6" fmla="*/ 0 h 900906"/>
                  <a:gd name="connsiteX7" fmla="*/ 471351 w 2441576"/>
                  <a:gd name="connsiteY7" fmla="*/ 0 h 900906"/>
                  <a:gd name="connsiteX8" fmla="*/ 581332 w 2441576"/>
                  <a:gd name="connsiteY8" fmla="*/ 0 h 900906"/>
                  <a:gd name="connsiteX9" fmla="*/ 685028 w 2441576"/>
                  <a:gd name="connsiteY9" fmla="*/ 0 h 900906"/>
                  <a:gd name="connsiteX10" fmla="*/ 755093 w 2441576"/>
                  <a:gd name="connsiteY10" fmla="*/ 0 h 900906"/>
                  <a:gd name="connsiteX11" fmla="*/ 969874 w 2441576"/>
                  <a:gd name="connsiteY11" fmla="*/ 0 h 900906"/>
                  <a:gd name="connsiteX12" fmla="*/ 1039939 w 2441576"/>
                  <a:gd name="connsiteY12" fmla="*/ 0 h 900906"/>
                  <a:gd name="connsiteX13" fmla="*/ 1254721 w 2441576"/>
                  <a:gd name="connsiteY13" fmla="*/ 0 h 900906"/>
                  <a:gd name="connsiteX14" fmla="*/ 1324785 w 2441576"/>
                  <a:gd name="connsiteY14" fmla="*/ 0 h 900906"/>
                  <a:gd name="connsiteX15" fmla="*/ 1539566 w 2441576"/>
                  <a:gd name="connsiteY15" fmla="*/ 0 h 900906"/>
                  <a:gd name="connsiteX16" fmla="*/ 1609632 w 2441576"/>
                  <a:gd name="connsiteY16" fmla="*/ 0 h 900906"/>
                  <a:gd name="connsiteX17" fmla="*/ 1824412 w 2441576"/>
                  <a:gd name="connsiteY17" fmla="*/ 0 h 900906"/>
                  <a:gd name="connsiteX18" fmla="*/ 1941949 w 2441576"/>
                  <a:gd name="connsiteY18" fmla="*/ 0 h 900906"/>
                  <a:gd name="connsiteX19" fmla="*/ 2094866 w 2441576"/>
                  <a:gd name="connsiteY19" fmla="*/ 0 h 900906"/>
                  <a:gd name="connsiteX20" fmla="*/ 2176781 w 2441576"/>
                  <a:gd name="connsiteY20" fmla="*/ 0 h 900906"/>
                  <a:gd name="connsiteX21" fmla="*/ 2258696 w 2441576"/>
                  <a:gd name="connsiteY21" fmla="*/ 0 h 900906"/>
                  <a:gd name="connsiteX22" fmla="*/ 2321561 w 2441576"/>
                  <a:gd name="connsiteY22" fmla="*/ 0 h 900906"/>
                  <a:gd name="connsiteX23" fmla="*/ 2441576 w 2441576"/>
                  <a:gd name="connsiteY23" fmla="*/ 0 h 900906"/>
                  <a:gd name="connsiteX24" fmla="*/ 2441576 w 2441576"/>
                  <a:gd name="connsiteY24" fmla="*/ 83444 h 900906"/>
                  <a:gd name="connsiteX25" fmla="*/ 2441576 w 2441576"/>
                  <a:gd name="connsiteY25" fmla="*/ 152052 h 900906"/>
                  <a:gd name="connsiteX26" fmla="*/ 2441576 w 2441576"/>
                  <a:gd name="connsiteY26" fmla="*/ 235496 h 900906"/>
                  <a:gd name="connsiteX27" fmla="*/ 2441576 w 2441576"/>
                  <a:gd name="connsiteY27" fmla="*/ 304104 h 900906"/>
                  <a:gd name="connsiteX28" fmla="*/ 2441576 w 2441576"/>
                  <a:gd name="connsiteY28" fmla="*/ 387548 h 900906"/>
                  <a:gd name="connsiteX29" fmla="*/ 2441576 w 2441576"/>
                  <a:gd name="connsiteY29" fmla="*/ 456156 h 900906"/>
                  <a:gd name="connsiteX30" fmla="*/ 2441576 w 2441576"/>
                  <a:gd name="connsiteY30" fmla="*/ 539600 h 900906"/>
                  <a:gd name="connsiteX31" fmla="*/ 2441576 w 2441576"/>
                  <a:gd name="connsiteY31" fmla="*/ 608208 h 900906"/>
                  <a:gd name="connsiteX32" fmla="*/ 2441576 w 2441576"/>
                  <a:gd name="connsiteY32" fmla="*/ 691652 h 900906"/>
                  <a:gd name="connsiteX33" fmla="*/ 2441576 w 2441576"/>
                  <a:gd name="connsiteY33" fmla="*/ 748854 h 900906"/>
                  <a:gd name="connsiteX34" fmla="*/ 2441576 w 2441576"/>
                  <a:gd name="connsiteY34" fmla="*/ 760260 h 900906"/>
                  <a:gd name="connsiteX35" fmla="*/ 2441576 w 2441576"/>
                  <a:gd name="connsiteY35" fmla="*/ 832298 h 900906"/>
                  <a:gd name="connsiteX36" fmla="*/ 2441576 w 2441576"/>
                  <a:gd name="connsiteY36" fmla="*/ 900906 h 900906"/>
                  <a:gd name="connsiteX37" fmla="*/ 2321561 w 2441576"/>
                  <a:gd name="connsiteY37" fmla="*/ 900906 h 900906"/>
                  <a:gd name="connsiteX38" fmla="*/ 2239646 w 2441576"/>
                  <a:gd name="connsiteY38" fmla="*/ 900906 h 900906"/>
                  <a:gd name="connsiteX39" fmla="*/ 2176781 w 2441576"/>
                  <a:gd name="connsiteY39" fmla="*/ 900906 h 900906"/>
                  <a:gd name="connsiteX40" fmla="*/ 2109259 w 2441576"/>
                  <a:gd name="connsiteY40" fmla="*/ 900906 h 900906"/>
                  <a:gd name="connsiteX41" fmla="*/ 1941949 w 2441576"/>
                  <a:gd name="connsiteY41" fmla="*/ 900906 h 900906"/>
                  <a:gd name="connsiteX42" fmla="*/ 1824412 w 2441576"/>
                  <a:gd name="connsiteY42" fmla="*/ 900906 h 900906"/>
                  <a:gd name="connsiteX43" fmla="*/ 1609632 w 2441576"/>
                  <a:gd name="connsiteY43" fmla="*/ 900906 h 900906"/>
                  <a:gd name="connsiteX44" fmla="*/ 1539566 w 2441576"/>
                  <a:gd name="connsiteY44" fmla="*/ 900906 h 900906"/>
                  <a:gd name="connsiteX45" fmla="*/ 1324785 w 2441576"/>
                  <a:gd name="connsiteY45" fmla="*/ 900906 h 900906"/>
                  <a:gd name="connsiteX46" fmla="*/ 1254721 w 2441576"/>
                  <a:gd name="connsiteY46" fmla="*/ 900906 h 900906"/>
                  <a:gd name="connsiteX47" fmla="*/ 1039939 w 2441576"/>
                  <a:gd name="connsiteY47" fmla="*/ 900906 h 900906"/>
                  <a:gd name="connsiteX48" fmla="*/ 969874 w 2441576"/>
                  <a:gd name="connsiteY48" fmla="*/ 900906 h 900906"/>
                  <a:gd name="connsiteX49" fmla="*/ 755093 w 2441576"/>
                  <a:gd name="connsiteY49" fmla="*/ 900906 h 900906"/>
                  <a:gd name="connsiteX50" fmla="*/ 685028 w 2441576"/>
                  <a:gd name="connsiteY50" fmla="*/ 900906 h 900906"/>
                  <a:gd name="connsiteX51" fmla="*/ 581332 w 2441576"/>
                  <a:gd name="connsiteY51" fmla="*/ 900906 h 900906"/>
                  <a:gd name="connsiteX52" fmla="*/ 471351 w 2441576"/>
                  <a:gd name="connsiteY52" fmla="*/ 900906 h 900906"/>
                  <a:gd name="connsiteX53" fmla="*/ 470246 w 2441576"/>
                  <a:gd name="connsiteY53" fmla="*/ 900906 h 900906"/>
                  <a:gd name="connsiteX54" fmla="*/ 377080 w 2441576"/>
                  <a:gd name="connsiteY54" fmla="*/ 900906 h 900906"/>
                  <a:gd name="connsiteX55" fmla="*/ 282811 w 2441576"/>
                  <a:gd name="connsiteY55" fmla="*/ 900906 h 900906"/>
                  <a:gd name="connsiteX56" fmla="*/ 188541 w 2441576"/>
                  <a:gd name="connsiteY56" fmla="*/ 900906 h 900906"/>
                  <a:gd name="connsiteX57" fmla="*/ 185400 w 2441576"/>
                  <a:gd name="connsiteY57" fmla="*/ 900906 h 900906"/>
                  <a:gd name="connsiteX58" fmla="*/ 94270 w 2441576"/>
                  <a:gd name="connsiteY58" fmla="*/ 900906 h 900906"/>
                  <a:gd name="connsiteX59" fmla="*/ 0 w 2441576"/>
                  <a:gd name="connsiteY59" fmla="*/ 900906 h 900906"/>
                  <a:gd name="connsiteX60" fmla="*/ 0 w 2441576"/>
                  <a:gd name="connsiteY60" fmla="*/ 832298 h 900906"/>
                  <a:gd name="connsiteX61" fmla="*/ 0 w 2441576"/>
                  <a:gd name="connsiteY61" fmla="*/ 760260 h 900906"/>
                  <a:gd name="connsiteX62" fmla="*/ 0 w 2441576"/>
                  <a:gd name="connsiteY62" fmla="*/ 748854 h 900906"/>
                  <a:gd name="connsiteX63" fmla="*/ 0 w 2441576"/>
                  <a:gd name="connsiteY63" fmla="*/ 691652 h 900906"/>
                  <a:gd name="connsiteX64" fmla="*/ 0 w 2441576"/>
                  <a:gd name="connsiteY64" fmla="*/ 608208 h 900906"/>
                  <a:gd name="connsiteX65" fmla="*/ 0 w 2441576"/>
                  <a:gd name="connsiteY65" fmla="*/ 539600 h 900906"/>
                  <a:gd name="connsiteX66" fmla="*/ 0 w 2441576"/>
                  <a:gd name="connsiteY66" fmla="*/ 456156 h 900906"/>
                  <a:gd name="connsiteX67" fmla="*/ 0 w 2441576"/>
                  <a:gd name="connsiteY67" fmla="*/ 387548 h 900906"/>
                  <a:gd name="connsiteX68" fmla="*/ 0 w 2441576"/>
                  <a:gd name="connsiteY68" fmla="*/ 304104 h 900906"/>
                  <a:gd name="connsiteX69" fmla="*/ 0 w 2441576"/>
                  <a:gd name="connsiteY69" fmla="*/ 235496 h 900906"/>
                  <a:gd name="connsiteX70" fmla="*/ 0 w 2441576"/>
                  <a:gd name="connsiteY70" fmla="*/ 152052 h 900906"/>
                  <a:gd name="connsiteX71" fmla="*/ 0 w 2441576"/>
                  <a:gd name="connsiteY71" fmla="*/ 83444 h 900906"/>
                  <a:gd name="connsiteX72" fmla="*/ 0 w 2441576"/>
                  <a:gd name="connsiteY72" fmla="*/ 0 h 900906"/>
                  <a:gd name="connsiteX0" fmla="*/ 0 w 2441576"/>
                  <a:gd name="connsiteY0" fmla="*/ 0 h 900906"/>
                  <a:gd name="connsiteX1" fmla="*/ 94270 w 2441576"/>
                  <a:gd name="connsiteY1" fmla="*/ 0 h 900906"/>
                  <a:gd name="connsiteX2" fmla="*/ 185400 w 2441576"/>
                  <a:gd name="connsiteY2" fmla="*/ 0 h 900906"/>
                  <a:gd name="connsiteX3" fmla="*/ 188541 w 2441576"/>
                  <a:gd name="connsiteY3" fmla="*/ 0 h 900906"/>
                  <a:gd name="connsiteX4" fmla="*/ 282811 w 2441576"/>
                  <a:gd name="connsiteY4" fmla="*/ 0 h 900906"/>
                  <a:gd name="connsiteX5" fmla="*/ 377080 w 2441576"/>
                  <a:gd name="connsiteY5" fmla="*/ 0 h 900906"/>
                  <a:gd name="connsiteX6" fmla="*/ 470246 w 2441576"/>
                  <a:gd name="connsiteY6" fmla="*/ 0 h 900906"/>
                  <a:gd name="connsiteX7" fmla="*/ 471351 w 2441576"/>
                  <a:gd name="connsiteY7" fmla="*/ 0 h 900906"/>
                  <a:gd name="connsiteX8" fmla="*/ 581332 w 2441576"/>
                  <a:gd name="connsiteY8" fmla="*/ 0 h 900906"/>
                  <a:gd name="connsiteX9" fmla="*/ 685028 w 2441576"/>
                  <a:gd name="connsiteY9" fmla="*/ 0 h 900906"/>
                  <a:gd name="connsiteX10" fmla="*/ 755093 w 2441576"/>
                  <a:gd name="connsiteY10" fmla="*/ 0 h 900906"/>
                  <a:gd name="connsiteX11" fmla="*/ 969874 w 2441576"/>
                  <a:gd name="connsiteY11" fmla="*/ 0 h 900906"/>
                  <a:gd name="connsiteX12" fmla="*/ 1039939 w 2441576"/>
                  <a:gd name="connsiteY12" fmla="*/ 0 h 900906"/>
                  <a:gd name="connsiteX13" fmla="*/ 1254721 w 2441576"/>
                  <a:gd name="connsiteY13" fmla="*/ 0 h 900906"/>
                  <a:gd name="connsiteX14" fmla="*/ 1324785 w 2441576"/>
                  <a:gd name="connsiteY14" fmla="*/ 0 h 900906"/>
                  <a:gd name="connsiteX15" fmla="*/ 1539566 w 2441576"/>
                  <a:gd name="connsiteY15" fmla="*/ 0 h 900906"/>
                  <a:gd name="connsiteX16" fmla="*/ 1609632 w 2441576"/>
                  <a:gd name="connsiteY16" fmla="*/ 0 h 900906"/>
                  <a:gd name="connsiteX17" fmla="*/ 1824412 w 2441576"/>
                  <a:gd name="connsiteY17" fmla="*/ 0 h 900906"/>
                  <a:gd name="connsiteX18" fmla="*/ 1941949 w 2441576"/>
                  <a:gd name="connsiteY18" fmla="*/ 0 h 900906"/>
                  <a:gd name="connsiteX19" fmla="*/ 2094866 w 2441576"/>
                  <a:gd name="connsiteY19" fmla="*/ 0 h 900906"/>
                  <a:gd name="connsiteX20" fmla="*/ 2176781 w 2441576"/>
                  <a:gd name="connsiteY20" fmla="*/ 0 h 900906"/>
                  <a:gd name="connsiteX21" fmla="*/ 2258696 w 2441576"/>
                  <a:gd name="connsiteY21" fmla="*/ 0 h 900906"/>
                  <a:gd name="connsiteX22" fmla="*/ 2321561 w 2441576"/>
                  <a:gd name="connsiteY22" fmla="*/ 0 h 900906"/>
                  <a:gd name="connsiteX23" fmla="*/ 2441576 w 2441576"/>
                  <a:gd name="connsiteY23" fmla="*/ 0 h 900906"/>
                  <a:gd name="connsiteX24" fmla="*/ 2441576 w 2441576"/>
                  <a:gd name="connsiteY24" fmla="*/ 83444 h 900906"/>
                  <a:gd name="connsiteX25" fmla="*/ 2441576 w 2441576"/>
                  <a:gd name="connsiteY25" fmla="*/ 152052 h 900906"/>
                  <a:gd name="connsiteX26" fmla="*/ 2441576 w 2441576"/>
                  <a:gd name="connsiteY26" fmla="*/ 235496 h 900906"/>
                  <a:gd name="connsiteX27" fmla="*/ 2441576 w 2441576"/>
                  <a:gd name="connsiteY27" fmla="*/ 304104 h 900906"/>
                  <a:gd name="connsiteX28" fmla="*/ 2441576 w 2441576"/>
                  <a:gd name="connsiteY28" fmla="*/ 387548 h 900906"/>
                  <a:gd name="connsiteX29" fmla="*/ 2441576 w 2441576"/>
                  <a:gd name="connsiteY29" fmla="*/ 456156 h 900906"/>
                  <a:gd name="connsiteX30" fmla="*/ 2441576 w 2441576"/>
                  <a:gd name="connsiteY30" fmla="*/ 539600 h 900906"/>
                  <a:gd name="connsiteX31" fmla="*/ 2441576 w 2441576"/>
                  <a:gd name="connsiteY31" fmla="*/ 608208 h 900906"/>
                  <a:gd name="connsiteX32" fmla="*/ 2441576 w 2441576"/>
                  <a:gd name="connsiteY32" fmla="*/ 691652 h 900906"/>
                  <a:gd name="connsiteX33" fmla="*/ 2441576 w 2441576"/>
                  <a:gd name="connsiteY33" fmla="*/ 760260 h 900906"/>
                  <a:gd name="connsiteX34" fmla="*/ 2441576 w 2441576"/>
                  <a:gd name="connsiteY34" fmla="*/ 832298 h 900906"/>
                  <a:gd name="connsiteX35" fmla="*/ 2441576 w 2441576"/>
                  <a:gd name="connsiteY35" fmla="*/ 900906 h 900906"/>
                  <a:gd name="connsiteX36" fmla="*/ 2321561 w 2441576"/>
                  <a:gd name="connsiteY36" fmla="*/ 900906 h 900906"/>
                  <a:gd name="connsiteX37" fmla="*/ 2239646 w 2441576"/>
                  <a:gd name="connsiteY37" fmla="*/ 900906 h 900906"/>
                  <a:gd name="connsiteX38" fmla="*/ 2176781 w 2441576"/>
                  <a:gd name="connsiteY38" fmla="*/ 900906 h 900906"/>
                  <a:gd name="connsiteX39" fmla="*/ 2109259 w 2441576"/>
                  <a:gd name="connsiteY39" fmla="*/ 900906 h 900906"/>
                  <a:gd name="connsiteX40" fmla="*/ 1941949 w 2441576"/>
                  <a:gd name="connsiteY40" fmla="*/ 900906 h 900906"/>
                  <a:gd name="connsiteX41" fmla="*/ 1824412 w 2441576"/>
                  <a:gd name="connsiteY41" fmla="*/ 900906 h 900906"/>
                  <a:gd name="connsiteX42" fmla="*/ 1609632 w 2441576"/>
                  <a:gd name="connsiteY42" fmla="*/ 900906 h 900906"/>
                  <a:gd name="connsiteX43" fmla="*/ 1539566 w 2441576"/>
                  <a:gd name="connsiteY43" fmla="*/ 900906 h 900906"/>
                  <a:gd name="connsiteX44" fmla="*/ 1324785 w 2441576"/>
                  <a:gd name="connsiteY44" fmla="*/ 900906 h 900906"/>
                  <a:gd name="connsiteX45" fmla="*/ 1254721 w 2441576"/>
                  <a:gd name="connsiteY45" fmla="*/ 900906 h 900906"/>
                  <a:gd name="connsiteX46" fmla="*/ 1039939 w 2441576"/>
                  <a:gd name="connsiteY46" fmla="*/ 900906 h 900906"/>
                  <a:gd name="connsiteX47" fmla="*/ 969874 w 2441576"/>
                  <a:gd name="connsiteY47" fmla="*/ 900906 h 900906"/>
                  <a:gd name="connsiteX48" fmla="*/ 755093 w 2441576"/>
                  <a:gd name="connsiteY48" fmla="*/ 900906 h 900906"/>
                  <a:gd name="connsiteX49" fmla="*/ 685028 w 2441576"/>
                  <a:gd name="connsiteY49" fmla="*/ 900906 h 900906"/>
                  <a:gd name="connsiteX50" fmla="*/ 581332 w 2441576"/>
                  <a:gd name="connsiteY50" fmla="*/ 900906 h 900906"/>
                  <a:gd name="connsiteX51" fmla="*/ 471351 w 2441576"/>
                  <a:gd name="connsiteY51" fmla="*/ 900906 h 900906"/>
                  <a:gd name="connsiteX52" fmla="*/ 470246 w 2441576"/>
                  <a:gd name="connsiteY52" fmla="*/ 900906 h 900906"/>
                  <a:gd name="connsiteX53" fmla="*/ 377080 w 2441576"/>
                  <a:gd name="connsiteY53" fmla="*/ 900906 h 900906"/>
                  <a:gd name="connsiteX54" fmla="*/ 282811 w 2441576"/>
                  <a:gd name="connsiteY54" fmla="*/ 900906 h 900906"/>
                  <a:gd name="connsiteX55" fmla="*/ 188541 w 2441576"/>
                  <a:gd name="connsiteY55" fmla="*/ 900906 h 900906"/>
                  <a:gd name="connsiteX56" fmla="*/ 185400 w 2441576"/>
                  <a:gd name="connsiteY56" fmla="*/ 900906 h 900906"/>
                  <a:gd name="connsiteX57" fmla="*/ 94270 w 2441576"/>
                  <a:gd name="connsiteY57" fmla="*/ 900906 h 900906"/>
                  <a:gd name="connsiteX58" fmla="*/ 0 w 2441576"/>
                  <a:gd name="connsiteY58" fmla="*/ 900906 h 900906"/>
                  <a:gd name="connsiteX59" fmla="*/ 0 w 2441576"/>
                  <a:gd name="connsiteY59" fmla="*/ 832298 h 900906"/>
                  <a:gd name="connsiteX60" fmla="*/ 0 w 2441576"/>
                  <a:gd name="connsiteY60" fmla="*/ 760260 h 900906"/>
                  <a:gd name="connsiteX61" fmla="*/ 0 w 2441576"/>
                  <a:gd name="connsiteY61" fmla="*/ 748854 h 900906"/>
                  <a:gd name="connsiteX62" fmla="*/ 0 w 2441576"/>
                  <a:gd name="connsiteY62" fmla="*/ 691652 h 900906"/>
                  <a:gd name="connsiteX63" fmla="*/ 0 w 2441576"/>
                  <a:gd name="connsiteY63" fmla="*/ 608208 h 900906"/>
                  <a:gd name="connsiteX64" fmla="*/ 0 w 2441576"/>
                  <a:gd name="connsiteY64" fmla="*/ 539600 h 900906"/>
                  <a:gd name="connsiteX65" fmla="*/ 0 w 2441576"/>
                  <a:gd name="connsiteY65" fmla="*/ 456156 h 900906"/>
                  <a:gd name="connsiteX66" fmla="*/ 0 w 2441576"/>
                  <a:gd name="connsiteY66" fmla="*/ 387548 h 900906"/>
                  <a:gd name="connsiteX67" fmla="*/ 0 w 2441576"/>
                  <a:gd name="connsiteY67" fmla="*/ 304104 h 900906"/>
                  <a:gd name="connsiteX68" fmla="*/ 0 w 2441576"/>
                  <a:gd name="connsiteY68" fmla="*/ 235496 h 900906"/>
                  <a:gd name="connsiteX69" fmla="*/ 0 w 2441576"/>
                  <a:gd name="connsiteY69" fmla="*/ 152052 h 900906"/>
                  <a:gd name="connsiteX70" fmla="*/ 0 w 2441576"/>
                  <a:gd name="connsiteY70" fmla="*/ 83444 h 900906"/>
                  <a:gd name="connsiteX71" fmla="*/ 0 w 2441576"/>
                  <a:gd name="connsiteY71" fmla="*/ 0 h 900906"/>
                  <a:gd name="connsiteX0" fmla="*/ 0 w 2441576"/>
                  <a:gd name="connsiteY0" fmla="*/ 0 h 900906"/>
                  <a:gd name="connsiteX1" fmla="*/ 94270 w 2441576"/>
                  <a:gd name="connsiteY1" fmla="*/ 0 h 900906"/>
                  <a:gd name="connsiteX2" fmla="*/ 185400 w 2441576"/>
                  <a:gd name="connsiteY2" fmla="*/ 0 h 900906"/>
                  <a:gd name="connsiteX3" fmla="*/ 188541 w 2441576"/>
                  <a:gd name="connsiteY3" fmla="*/ 0 h 900906"/>
                  <a:gd name="connsiteX4" fmla="*/ 282811 w 2441576"/>
                  <a:gd name="connsiteY4" fmla="*/ 0 h 900906"/>
                  <a:gd name="connsiteX5" fmla="*/ 377080 w 2441576"/>
                  <a:gd name="connsiteY5" fmla="*/ 0 h 900906"/>
                  <a:gd name="connsiteX6" fmla="*/ 470246 w 2441576"/>
                  <a:gd name="connsiteY6" fmla="*/ 0 h 900906"/>
                  <a:gd name="connsiteX7" fmla="*/ 471351 w 2441576"/>
                  <a:gd name="connsiteY7" fmla="*/ 0 h 900906"/>
                  <a:gd name="connsiteX8" fmla="*/ 581332 w 2441576"/>
                  <a:gd name="connsiteY8" fmla="*/ 0 h 900906"/>
                  <a:gd name="connsiteX9" fmla="*/ 685028 w 2441576"/>
                  <a:gd name="connsiteY9" fmla="*/ 0 h 900906"/>
                  <a:gd name="connsiteX10" fmla="*/ 755093 w 2441576"/>
                  <a:gd name="connsiteY10" fmla="*/ 0 h 900906"/>
                  <a:gd name="connsiteX11" fmla="*/ 969874 w 2441576"/>
                  <a:gd name="connsiteY11" fmla="*/ 0 h 900906"/>
                  <a:gd name="connsiteX12" fmla="*/ 1039939 w 2441576"/>
                  <a:gd name="connsiteY12" fmla="*/ 0 h 900906"/>
                  <a:gd name="connsiteX13" fmla="*/ 1254721 w 2441576"/>
                  <a:gd name="connsiteY13" fmla="*/ 0 h 900906"/>
                  <a:gd name="connsiteX14" fmla="*/ 1324785 w 2441576"/>
                  <a:gd name="connsiteY14" fmla="*/ 0 h 900906"/>
                  <a:gd name="connsiteX15" fmla="*/ 1539566 w 2441576"/>
                  <a:gd name="connsiteY15" fmla="*/ 0 h 900906"/>
                  <a:gd name="connsiteX16" fmla="*/ 1609632 w 2441576"/>
                  <a:gd name="connsiteY16" fmla="*/ 0 h 900906"/>
                  <a:gd name="connsiteX17" fmla="*/ 1824412 w 2441576"/>
                  <a:gd name="connsiteY17" fmla="*/ 0 h 900906"/>
                  <a:gd name="connsiteX18" fmla="*/ 1941949 w 2441576"/>
                  <a:gd name="connsiteY18" fmla="*/ 0 h 900906"/>
                  <a:gd name="connsiteX19" fmla="*/ 2094866 w 2441576"/>
                  <a:gd name="connsiteY19" fmla="*/ 0 h 900906"/>
                  <a:gd name="connsiteX20" fmla="*/ 2176781 w 2441576"/>
                  <a:gd name="connsiteY20" fmla="*/ 0 h 900906"/>
                  <a:gd name="connsiteX21" fmla="*/ 2258696 w 2441576"/>
                  <a:gd name="connsiteY21" fmla="*/ 0 h 900906"/>
                  <a:gd name="connsiteX22" fmla="*/ 2321561 w 2441576"/>
                  <a:gd name="connsiteY22" fmla="*/ 0 h 900906"/>
                  <a:gd name="connsiteX23" fmla="*/ 2441576 w 2441576"/>
                  <a:gd name="connsiteY23" fmla="*/ 0 h 900906"/>
                  <a:gd name="connsiteX24" fmla="*/ 2441576 w 2441576"/>
                  <a:gd name="connsiteY24" fmla="*/ 83444 h 900906"/>
                  <a:gd name="connsiteX25" fmla="*/ 2441576 w 2441576"/>
                  <a:gd name="connsiteY25" fmla="*/ 152052 h 900906"/>
                  <a:gd name="connsiteX26" fmla="*/ 2441576 w 2441576"/>
                  <a:gd name="connsiteY26" fmla="*/ 235496 h 900906"/>
                  <a:gd name="connsiteX27" fmla="*/ 2441576 w 2441576"/>
                  <a:gd name="connsiteY27" fmla="*/ 304104 h 900906"/>
                  <a:gd name="connsiteX28" fmla="*/ 2441576 w 2441576"/>
                  <a:gd name="connsiteY28" fmla="*/ 387548 h 900906"/>
                  <a:gd name="connsiteX29" fmla="*/ 2441576 w 2441576"/>
                  <a:gd name="connsiteY29" fmla="*/ 456156 h 900906"/>
                  <a:gd name="connsiteX30" fmla="*/ 2441576 w 2441576"/>
                  <a:gd name="connsiteY30" fmla="*/ 539600 h 900906"/>
                  <a:gd name="connsiteX31" fmla="*/ 2441576 w 2441576"/>
                  <a:gd name="connsiteY31" fmla="*/ 608208 h 900906"/>
                  <a:gd name="connsiteX32" fmla="*/ 2441576 w 2441576"/>
                  <a:gd name="connsiteY32" fmla="*/ 691652 h 900906"/>
                  <a:gd name="connsiteX33" fmla="*/ 2441576 w 2441576"/>
                  <a:gd name="connsiteY33" fmla="*/ 760260 h 900906"/>
                  <a:gd name="connsiteX34" fmla="*/ 2441576 w 2441576"/>
                  <a:gd name="connsiteY34" fmla="*/ 832298 h 900906"/>
                  <a:gd name="connsiteX35" fmla="*/ 2441576 w 2441576"/>
                  <a:gd name="connsiteY35" fmla="*/ 900906 h 900906"/>
                  <a:gd name="connsiteX36" fmla="*/ 2321561 w 2441576"/>
                  <a:gd name="connsiteY36" fmla="*/ 900906 h 900906"/>
                  <a:gd name="connsiteX37" fmla="*/ 2239646 w 2441576"/>
                  <a:gd name="connsiteY37" fmla="*/ 900906 h 900906"/>
                  <a:gd name="connsiteX38" fmla="*/ 2176781 w 2441576"/>
                  <a:gd name="connsiteY38" fmla="*/ 900906 h 900906"/>
                  <a:gd name="connsiteX39" fmla="*/ 2109259 w 2441576"/>
                  <a:gd name="connsiteY39" fmla="*/ 900906 h 900906"/>
                  <a:gd name="connsiteX40" fmla="*/ 1941949 w 2441576"/>
                  <a:gd name="connsiteY40" fmla="*/ 900906 h 900906"/>
                  <a:gd name="connsiteX41" fmla="*/ 1824412 w 2441576"/>
                  <a:gd name="connsiteY41" fmla="*/ 900906 h 900906"/>
                  <a:gd name="connsiteX42" fmla="*/ 1609632 w 2441576"/>
                  <a:gd name="connsiteY42" fmla="*/ 900906 h 900906"/>
                  <a:gd name="connsiteX43" fmla="*/ 1539566 w 2441576"/>
                  <a:gd name="connsiteY43" fmla="*/ 900906 h 900906"/>
                  <a:gd name="connsiteX44" fmla="*/ 1324785 w 2441576"/>
                  <a:gd name="connsiteY44" fmla="*/ 900906 h 900906"/>
                  <a:gd name="connsiteX45" fmla="*/ 1254721 w 2441576"/>
                  <a:gd name="connsiteY45" fmla="*/ 900906 h 900906"/>
                  <a:gd name="connsiteX46" fmla="*/ 1039939 w 2441576"/>
                  <a:gd name="connsiteY46" fmla="*/ 900906 h 900906"/>
                  <a:gd name="connsiteX47" fmla="*/ 969874 w 2441576"/>
                  <a:gd name="connsiteY47" fmla="*/ 900906 h 900906"/>
                  <a:gd name="connsiteX48" fmla="*/ 755093 w 2441576"/>
                  <a:gd name="connsiteY48" fmla="*/ 900906 h 900906"/>
                  <a:gd name="connsiteX49" fmla="*/ 685028 w 2441576"/>
                  <a:gd name="connsiteY49" fmla="*/ 900906 h 900906"/>
                  <a:gd name="connsiteX50" fmla="*/ 581332 w 2441576"/>
                  <a:gd name="connsiteY50" fmla="*/ 900906 h 900906"/>
                  <a:gd name="connsiteX51" fmla="*/ 471351 w 2441576"/>
                  <a:gd name="connsiteY51" fmla="*/ 900906 h 900906"/>
                  <a:gd name="connsiteX52" fmla="*/ 470246 w 2441576"/>
                  <a:gd name="connsiteY52" fmla="*/ 900906 h 900906"/>
                  <a:gd name="connsiteX53" fmla="*/ 377080 w 2441576"/>
                  <a:gd name="connsiteY53" fmla="*/ 900906 h 900906"/>
                  <a:gd name="connsiteX54" fmla="*/ 282811 w 2441576"/>
                  <a:gd name="connsiteY54" fmla="*/ 900906 h 900906"/>
                  <a:gd name="connsiteX55" fmla="*/ 188541 w 2441576"/>
                  <a:gd name="connsiteY55" fmla="*/ 900906 h 900906"/>
                  <a:gd name="connsiteX56" fmla="*/ 185400 w 2441576"/>
                  <a:gd name="connsiteY56" fmla="*/ 900906 h 900906"/>
                  <a:gd name="connsiteX57" fmla="*/ 94270 w 2441576"/>
                  <a:gd name="connsiteY57" fmla="*/ 900906 h 900906"/>
                  <a:gd name="connsiteX58" fmla="*/ 0 w 2441576"/>
                  <a:gd name="connsiteY58" fmla="*/ 900906 h 900906"/>
                  <a:gd name="connsiteX59" fmla="*/ 0 w 2441576"/>
                  <a:gd name="connsiteY59" fmla="*/ 832298 h 900906"/>
                  <a:gd name="connsiteX60" fmla="*/ 0 w 2441576"/>
                  <a:gd name="connsiteY60" fmla="*/ 760260 h 900906"/>
                  <a:gd name="connsiteX61" fmla="*/ 0 w 2441576"/>
                  <a:gd name="connsiteY61" fmla="*/ 691652 h 900906"/>
                  <a:gd name="connsiteX62" fmla="*/ 0 w 2441576"/>
                  <a:gd name="connsiteY62" fmla="*/ 608208 h 900906"/>
                  <a:gd name="connsiteX63" fmla="*/ 0 w 2441576"/>
                  <a:gd name="connsiteY63" fmla="*/ 539600 h 900906"/>
                  <a:gd name="connsiteX64" fmla="*/ 0 w 2441576"/>
                  <a:gd name="connsiteY64" fmla="*/ 456156 h 900906"/>
                  <a:gd name="connsiteX65" fmla="*/ 0 w 2441576"/>
                  <a:gd name="connsiteY65" fmla="*/ 387548 h 900906"/>
                  <a:gd name="connsiteX66" fmla="*/ 0 w 2441576"/>
                  <a:gd name="connsiteY66" fmla="*/ 304104 h 900906"/>
                  <a:gd name="connsiteX67" fmla="*/ 0 w 2441576"/>
                  <a:gd name="connsiteY67" fmla="*/ 235496 h 900906"/>
                  <a:gd name="connsiteX68" fmla="*/ 0 w 2441576"/>
                  <a:gd name="connsiteY68" fmla="*/ 152052 h 900906"/>
                  <a:gd name="connsiteX69" fmla="*/ 0 w 2441576"/>
                  <a:gd name="connsiteY69" fmla="*/ 83444 h 900906"/>
                  <a:gd name="connsiteX70" fmla="*/ 0 w 2441576"/>
                  <a:gd name="connsiteY70" fmla="*/ 0 h 900906"/>
                  <a:gd name="connsiteX0" fmla="*/ 0 w 2441576"/>
                  <a:gd name="connsiteY0" fmla="*/ 247 h 901153"/>
                  <a:gd name="connsiteX1" fmla="*/ 94270 w 2441576"/>
                  <a:gd name="connsiteY1" fmla="*/ 247 h 901153"/>
                  <a:gd name="connsiteX2" fmla="*/ 185400 w 2441576"/>
                  <a:gd name="connsiteY2" fmla="*/ 247 h 901153"/>
                  <a:gd name="connsiteX3" fmla="*/ 188541 w 2441576"/>
                  <a:gd name="connsiteY3" fmla="*/ 247 h 901153"/>
                  <a:gd name="connsiteX4" fmla="*/ 282811 w 2441576"/>
                  <a:gd name="connsiteY4" fmla="*/ 247 h 901153"/>
                  <a:gd name="connsiteX5" fmla="*/ 377080 w 2441576"/>
                  <a:gd name="connsiteY5" fmla="*/ 247 h 901153"/>
                  <a:gd name="connsiteX6" fmla="*/ 470246 w 2441576"/>
                  <a:gd name="connsiteY6" fmla="*/ 247 h 901153"/>
                  <a:gd name="connsiteX7" fmla="*/ 471351 w 2441576"/>
                  <a:gd name="connsiteY7" fmla="*/ 247 h 901153"/>
                  <a:gd name="connsiteX8" fmla="*/ 581332 w 2441576"/>
                  <a:gd name="connsiteY8" fmla="*/ 247 h 901153"/>
                  <a:gd name="connsiteX9" fmla="*/ 685028 w 2441576"/>
                  <a:gd name="connsiteY9" fmla="*/ 247 h 901153"/>
                  <a:gd name="connsiteX10" fmla="*/ 755093 w 2441576"/>
                  <a:gd name="connsiteY10" fmla="*/ 247 h 901153"/>
                  <a:gd name="connsiteX11" fmla="*/ 969874 w 2441576"/>
                  <a:gd name="connsiteY11" fmla="*/ 247 h 901153"/>
                  <a:gd name="connsiteX12" fmla="*/ 1039939 w 2441576"/>
                  <a:gd name="connsiteY12" fmla="*/ 247 h 901153"/>
                  <a:gd name="connsiteX13" fmla="*/ 1254721 w 2441576"/>
                  <a:gd name="connsiteY13" fmla="*/ 247 h 901153"/>
                  <a:gd name="connsiteX14" fmla="*/ 1324785 w 2441576"/>
                  <a:gd name="connsiteY14" fmla="*/ 247 h 901153"/>
                  <a:gd name="connsiteX15" fmla="*/ 1430031 w 2441576"/>
                  <a:gd name="connsiteY15" fmla="*/ 0 h 901153"/>
                  <a:gd name="connsiteX16" fmla="*/ 1539566 w 2441576"/>
                  <a:gd name="connsiteY16" fmla="*/ 247 h 901153"/>
                  <a:gd name="connsiteX17" fmla="*/ 1609632 w 2441576"/>
                  <a:gd name="connsiteY17" fmla="*/ 247 h 901153"/>
                  <a:gd name="connsiteX18" fmla="*/ 1824412 w 2441576"/>
                  <a:gd name="connsiteY18" fmla="*/ 247 h 901153"/>
                  <a:gd name="connsiteX19" fmla="*/ 1941949 w 2441576"/>
                  <a:gd name="connsiteY19" fmla="*/ 247 h 901153"/>
                  <a:gd name="connsiteX20" fmla="*/ 2094866 w 2441576"/>
                  <a:gd name="connsiteY20" fmla="*/ 247 h 901153"/>
                  <a:gd name="connsiteX21" fmla="*/ 2176781 w 2441576"/>
                  <a:gd name="connsiteY21" fmla="*/ 247 h 901153"/>
                  <a:gd name="connsiteX22" fmla="*/ 2258696 w 2441576"/>
                  <a:gd name="connsiteY22" fmla="*/ 247 h 901153"/>
                  <a:gd name="connsiteX23" fmla="*/ 2321561 w 2441576"/>
                  <a:gd name="connsiteY23" fmla="*/ 247 h 901153"/>
                  <a:gd name="connsiteX24" fmla="*/ 2441576 w 2441576"/>
                  <a:gd name="connsiteY24" fmla="*/ 247 h 901153"/>
                  <a:gd name="connsiteX25" fmla="*/ 2441576 w 2441576"/>
                  <a:gd name="connsiteY25" fmla="*/ 83691 h 901153"/>
                  <a:gd name="connsiteX26" fmla="*/ 2441576 w 2441576"/>
                  <a:gd name="connsiteY26" fmla="*/ 152299 h 901153"/>
                  <a:gd name="connsiteX27" fmla="*/ 2441576 w 2441576"/>
                  <a:gd name="connsiteY27" fmla="*/ 235743 h 901153"/>
                  <a:gd name="connsiteX28" fmla="*/ 2441576 w 2441576"/>
                  <a:gd name="connsiteY28" fmla="*/ 304351 h 901153"/>
                  <a:gd name="connsiteX29" fmla="*/ 2441576 w 2441576"/>
                  <a:gd name="connsiteY29" fmla="*/ 387795 h 901153"/>
                  <a:gd name="connsiteX30" fmla="*/ 2441576 w 2441576"/>
                  <a:gd name="connsiteY30" fmla="*/ 456403 h 901153"/>
                  <a:gd name="connsiteX31" fmla="*/ 2441576 w 2441576"/>
                  <a:gd name="connsiteY31" fmla="*/ 539847 h 901153"/>
                  <a:gd name="connsiteX32" fmla="*/ 2441576 w 2441576"/>
                  <a:gd name="connsiteY32" fmla="*/ 608455 h 901153"/>
                  <a:gd name="connsiteX33" fmla="*/ 2441576 w 2441576"/>
                  <a:gd name="connsiteY33" fmla="*/ 691899 h 901153"/>
                  <a:gd name="connsiteX34" fmla="*/ 2441576 w 2441576"/>
                  <a:gd name="connsiteY34" fmla="*/ 760507 h 901153"/>
                  <a:gd name="connsiteX35" fmla="*/ 2441576 w 2441576"/>
                  <a:gd name="connsiteY35" fmla="*/ 832545 h 901153"/>
                  <a:gd name="connsiteX36" fmla="*/ 2441576 w 2441576"/>
                  <a:gd name="connsiteY36" fmla="*/ 901153 h 901153"/>
                  <a:gd name="connsiteX37" fmla="*/ 2321561 w 2441576"/>
                  <a:gd name="connsiteY37" fmla="*/ 901153 h 901153"/>
                  <a:gd name="connsiteX38" fmla="*/ 2239646 w 2441576"/>
                  <a:gd name="connsiteY38" fmla="*/ 901153 h 901153"/>
                  <a:gd name="connsiteX39" fmla="*/ 2176781 w 2441576"/>
                  <a:gd name="connsiteY39" fmla="*/ 901153 h 901153"/>
                  <a:gd name="connsiteX40" fmla="*/ 2109259 w 2441576"/>
                  <a:gd name="connsiteY40" fmla="*/ 901153 h 901153"/>
                  <a:gd name="connsiteX41" fmla="*/ 1941949 w 2441576"/>
                  <a:gd name="connsiteY41" fmla="*/ 901153 h 901153"/>
                  <a:gd name="connsiteX42" fmla="*/ 1824412 w 2441576"/>
                  <a:gd name="connsiteY42" fmla="*/ 901153 h 901153"/>
                  <a:gd name="connsiteX43" fmla="*/ 1609632 w 2441576"/>
                  <a:gd name="connsiteY43" fmla="*/ 901153 h 901153"/>
                  <a:gd name="connsiteX44" fmla="*/ 1539566 w 2441576"/>
                  <a:gd name="connsiteY44" fmla="*/ 901153 h 901153"/>
                  <a:gd name="connsiteX45" fmla="*/ 1324785 w 2441576"/>
                  <a:gd name="connsiteY45" fmla="*/ 901153 h 901153"/>
                  <a:gd name="connsiteX46" fmla="*/ 1254721 w 2441576"/>
                  <a:gd name="connsiteY46" fmla="*/ 901153 h 901153"/>
                  <a:gd name="connsiteX47" fmla="*/ 1039939 w 2441576"/>
                  <a:gd name="connsiteY47" fmla="*/ 901153 h 901153"/>
                  <a:gd name="connsiteX48" fmla="*/ 969874 w 2441576"/>
                  <a:gd name="connsiteY48" fmla="*/ 901153 h 901153"/>
                  <a:gd name="connsiteX49" fmla="*/ 755093 w 2441576"/>
                  <a:gd name="connsiteY49" fmla="*/ 901153 h 901153"/>
                  <a:gd name="connsiteX50" fmla="*/ 685028 w 2441576"/>
                  <a:gd name="connsiteY50" fmla="*/ 901153 h 901153"/>
                  <a:gd name="connsiteX51" fmla="*/ 581332 w 2441576"/>
                  <a:gd name="connsiteY51" fmla="*/ 901153 h 901153"/>
                  <a:gd name="connsiteX52" fmla="*/ 471351 w 2441576"/>
                  <a:gd name="connsiteY52" fmla="*/ 901153 h 901153"/>
                  <a:gd name="connsiteX53" fmla="*/ 470246 w 2441576"/>
                  <a:gd name="connsiteY53" fmla="*/ 901153 h 901153"/>
                  <a:gd name="connsiteX54" fmla="*/ 377080 w 2441576"/>
                  <a:gd name="connsiteY54" fmla="*/ 901153 h 901153"/>
                  <a:gd name="connsiteX55" fmla="*/ 282811 w 2441576"/>
                  <a:gd name="connsiteY55" fmla="*/ 901153 h 901153"/>
                  <a:gd name="connsiteX56" fmla="*/ 188541 w 2441576"/>
                  <a:gd name="connsiteY56" fmla="*/ 901153 h 901153"/>
                  <a:gd name="connsiteX57" fmla="*/ 185400 w 2441576"/>
                  <a:gd name="connsiteY57" fmla="*/ 901153 h 901153"/>
                  <a:gd name="connsiteX58" fmla="*/ 94270 w 2441576"/>
                  <a:gd name="connsiteY58" fmla="*/ 901153 h 901153"/>
                  <a:gd name="connsiteX59" fmla="*/ 0 w 2441576"/>
                  <a:gd name="connsiteY59" fmla="*/ 901153 h 901153"/>
                  <a:gd name="connsiteX60" fmla="*/ 0 w 2441576"/>
                  <a:gd name="connsiteY60" fmla="*/ 832545 h 901153"/>
                  <a:gd name="connsiteX61" fmla="*/ 0 w 2441576"/>
                  <a:gd name="connsiteY61" fmla="*/ 760507 h 901153"/>
                  <a:gd name="connsiteX62" fmla="*/ 0 w 2441576"/>
                  <a:gd name="connsiteY62" fmla="*/ 691899 h 901153"/>
                  <a:gd name="connsiteX63" fmla="*/ 0 w 2441576"/>
                  <a:gd name="connsiteY63" fmla="*/ 608455 h 901153"/>
                  <a:gd name="connsiteX64" fmla="*/ 0 w 2441576"/>
                  <a:gd name="connsiteY64" fmla="*/ 539847 h 901153"/>
                  <a:gd name="connsiteX65" fmla="*/ 0 w 2441576"/>
                  <a:gd name="connsiteY65" fmla="*/ 456403 h 901153"/>
                  <a:gd name="connsiteX66" fmla="*/ 0 w 2441576"/>
                  <a:gd name="connsiteY66" fmla="*/ 387795 h 901153"/>
                  <a:gd name="connsiteX67" fmla="*/ 0 w 2441576"/>
                  <a:gd name="connsiteY67" fmla="*/ 304351 h 901153"/>
                  <a:gd name="connsiteX68" fmla="*/ 0 w 2441576"/>
                  <a:gd name="connsiteY68" fmla="*/ 235743 h 901153"/>
                  <a:gd name="connsiteX69" fmla="*/ 0 w 2441576"/>
                  <a:gd name="connsiteY69" fmla="*/ 152299 h 901153"/>
                  <a:gd name="connsiteX70" fmla="*/ 0 w 2441576"/>
                  <a:gd name="connsiteY70" fmla="*/ 83691 h 901153"/>
                  <a:gd name="connsiteX71" fmla="*/ 0 w 2441576"/>
                  <a:gd name="connsiteY71" fmla="*/ 247 h 901153"/>
                  <a:gd name="connsiteX0" fmla="*/ 0 w 2441576"/>
                  <a:gd name="connsiteY0" fmla="*/ 247 h 901154"/>
                  <a:gd name="connsiteX1" fmla="*/ 94270 w 2441576"/>
                  <a:gd name="connsiteY1" fmla="*/ 247 h 901154"/>
                  <a:gd name="connsiteX2" fmla="*/ 185400 w 2441576"/>
                  <a:gd name="connsiteY2" fmla="*/ 247 h 901154"/>
                  <a:gd name="connsiteX3" fmla="*/ 188541 w 2441576"/>
                  <a:gd name="connsiteY3" fmla="*/ 247 h 901154"/>
                  <a:gd name="connsiteX4" fmla="*/ 282811 w 2441576"/>
                  <a:gd name="connsiteY4" fmla="*/ 247 h 901154"/>
                  <a:gd name="connsiteX5" fmla="*/ 377080 w 2441576"/>
                  <a:gd name="connsiteY5" fmla="*/ 247 h 901154"/>
                  <a:gd name="connsiteX6" fmla="*/ 470246 w 2441576"/>
                  <a:gd name="connsiteY6" fmla="*/ 247 h 901154"/>
                  <a:gd name="connsiteX7" fmla="*/ 471351 w 2441576"/>
                  <a:gd name="connsiteY7" fmla="*/ 247 h 901154"/>
                  <a:gd name="connsiteX8" fmla="*/ 581332 w 2441576"/>
                  <a:gd name="connsiteY8" fmla="*/ 247 h 901154"/>
                  <a:gd name="connsiteX9" fmla="*/ 685028 w 2441576"/>
                  <a:gd name="connsiteY9" fmla="*/ 247 h 901154"/>
                  <a:gd name="connsiteX10" fmla="*/ 755093 w 2441576"/>
                  <a:gd name="connsiteY10" fmla="*/ 247 h 901154"/>
                  <a:gd name="connsiteX11" fmla="*/ 969874 w 2441576"/>
                  <a:gd name="connsiteY11" fmla="*/ 247 h 901154"/>
                  <a:gd name="connsiteX12" fmla="*/ 1039939 w 2441576"/>
                  <a:gd name="connsiteY12" fmla="*/ 247 h 901154"/>
                  <a:gd name="connsiteX13" fmla="*/ 1254721 w 2441576"/>
                  <a:gd name="connsiteY13" fmla="*/ 247 h 901154"/>
                  <a:gd name="connsiteX14" fmla="*/ 1324785 w 2441576"/>
                  <a:gd name="connsiteY14" fmla="*/ 247 h 901154"/>
                  <a:gd name="connsiteX15" fmla="*/ 1430031 w 2441576"/>
                  <a:gd name="connsiteY15" fmla="*/ 0 h 901154"/>
                  <a:gd name="connsiteX16" fmla="*/ 1539566 w 2441576"/>
                  <a:gd name="connsiteY16" fmla="*/ 247 h 901154"/>
                  <a:gd name="connsiteX17" fmla="*/ 1609632 w 2441576"/>
                  <a:gd name="connsiteY17" fmla="*/ 247 h 901154"/>
                  <a:gd name="connsiteX18" fmla="*/ 1824412 w 2441576"/>
                  <a:gd name="connsiteY18" fmla="*/ 247 h 901154"/>
                  <a:gd name="connsiteX19" fmla="*/ 1941949 w 2441576"/>
                  <a:gd name="connsiteY19" fmla="*/ 247 h 901154"/>
                  <a:gd name="connsiteX20" fmla="*/ 2094866 w 2441576"/>
                  <a:gd name="connsiteY20" fmla="*/ 247 h 901154"/>
                  <a:gd name="connsiteX21" fmla="*/ 2176781 w 2441576"/>
                  <a:gd name="connsiteY21" fmla="*/ 247 h 901154"/>
                  <a:gd name="connsiteX22" fmla="*/ 2258696 w 2441576"/>
                  <a:gd name="connsiteY22" fmla="*/ 247 h 901154"/>
                  <a:gd name="connsiteX23" fmla="*/ 2321561 w 2441576"/>
                  <a:gd name="connsiteY23" fmla="*/ 247 h 901154"/>
                  <a:gd name="connsiteX24" fmla="*/ 2441576 w 2441576"/>
                  <a:gd name="connsiteY24" fmla="*/ 247 h 901154"/>
                  <a:gd name="connsiteX25" fmla="*/ 2441576 w 2441576"/>
                  <a:gd name="connsiteY25" fmla="*/ 83691 h 901154"/>
                  <a:gd name="connsiteX26" fmla="*/ 2441576 w 2441576"/>
                  <a:gd name="connsiteY26" fmla="*/ 152299 h 901154"/>
                  <a:gd name="connsiteX27" fmla="*/ 2441576 w 2441576"/>
                  <a:gd name="connsiteY27" fmla="*/ 235743 h 901154"/>
                  <a:gd name="connsiteX28" fmla="*/ 2441576 w 2441576"/>
                  <a:gd name="connsiteY28" fmla="*/ 304351 h 901154"/>
                  <a:gd name="connsiteX29" fmla="*/ 2441576 w 2441576"/>
                  <a:gd name="connsiteY29" fmla="*/ 387795 h 901154"/>
                  <a:gd name="connsiteX30" fmla="*/ 2441576 w 2441576"/>
                  <a:gd name="connsiteY30" fmla="*/ 456403 h 901154"/>
                  <a:gd name="connsiteX31" fmla="*/ 2441576 w 2441576"/>
                  <a:gd name="connsiteY31" fmla="*/ 539847 h 901154"/>
                  <a:gd name="connsiteX32" fmla="*/ 2441576 w 2441576"/>
                  <a:gd name="connsiteY32" fmla="*/ 608455 h 901154"/>
                  <a:gd name="connsiteX33" fmla="*/ 2441576 w 2441576"/>
                  <a:gd name="connsiteY33" fmla="*/ 691899 h 901154"/>
                  <a:gd name="connsiteX34" fmla="*/ 2441576 w 2441576"/>
                  <a:gd name="connsiteY34" fmla="*/ 760507 h 901154"/>
                  <a:gd name="connsiteX35" fmla="*/ 2441576 w 2441576"/>
                  <a:gd name="connsiteY35" fmla="*/ 832545 h 901154"/>
                  <a:gd name="connsiteX36" fmla="*/ 2441576 w 2441576"/>
                  <a:gd name="connsiteY36" fmla="*/ 901153 h 901154"/>
                  <a:gd name="connsiteX37" fmla="*/ 2321561 w 2441576"/>
                  <a:gd name="connsiteY37" fmla="*/ 901153 h 901154"/>
                  <a:gd name="connsiteX38" fmla="*/ 2239646 w 2441576"/>
                  <a:gd name="connsiteY38" fmla="*/ 901153 h 901154"/>
                  <a:gd name="connsiteX39" fmla="*/ 2176781 w 2441576"/>
                  <a:gd name="connsiteY39" fmla="*/ 901153 h 901154"/>
                  <a:gd name="connsiteX40" fmla="*/ 2109259 w 2441576"/>
                  <a:gd name="connsiteY40" fmla="*/ 901153 h 901154"/>
                  <a:gd name="connsiteX41" fmla="*/ 1941949 w 2441576"/>
                  <a:gd name="connsiteY41" fmla="*/ 901153 h 901154"/>
                  <a:gd name="connsiteX42" fmla="*/ 1824412 w 2441576"/>
                  <a:gd name="connsiteY42" fmla="*/ 901153 h 901154"/>
                  <a:gd name="connsiteX43" fmla="*/ 1609632 w 2441576"/>
                  <a:gd name="connsiteY43" fmla="*/ 901153 h 901154"/>
                  <a:gd name="connsiteX44" fmla="*/ 1539566 w 2441576"/>
                  <a:gd name="connsiteY44" fmla="*/ 901153 h 901154"/>
                  <a:gd name="connsiteX45" fmla="*/ 1324785 w 2441576"/>
                  <a:gd name="connsiteY45" fmla="*/ 901153 h 901154"/>
                  <a:gd name="connsiteX46" fmla="*/ 1254721 w 2441576"/>
                  <a:gd name="connsiteY46" fmla="*/ 901153 h 901154"/>
                  <a:gd name="connsiteX47" fmla="*/ 1039939 w 2441576"/>
                  <a:gd name="connsiteY47" fmla="*/ 901153 h 901154"/>
                  <a:gd name="connsiteX48" fmla="*/ 969874 w 2441576"/>
                  <a:gd name="connsiteY48" fmla="*/ 901153 h 901154"/>
                  <a:gd name="connsiteX49" fmla="*/ 864820 w 2441576"/>
                  <a:gd name="connsiteY49" fmla="*/ 901154 h 901154"/>
                  <a:gd name="connsiteX50" fmla="*/ 755093 w 2441576"/>
                  <a:gd name="connsiteY50" fmla="*/ 901153 h 901154"/>
                  <a:gd name="connsiteX51" fmla="*/ 685028 w 2441576"/>
                  <a:gd name="connsiteY51" fmla="*/ 901153 h 901154"/>
                  <a:gd name="connsiteX52" fmla="*/ 581332 w 2441576"/>
                  <a:gd name="connsiteY52" fmla="*/ 901153 h 901154"/>
                  <a:gd name="connsiteX53" fmla="*/ 471351 w 2441576"/>
                  <a:gd name="connsiteY53" fmla="*/ 901153 h 901154"/>
                  <a:gd name="connsiteX54" fmla="*/ 470246 w 2441576"/>
                  <a:gd name="connsiteY54" fmla="*/ 901153 h 901154"/>
                  <a:gd name="connsiteX55" fmla="*/ 377080 w 2441576"/>
                  <a:gd name="connsiteY55" fmla="*/ 901153 h 901154"/>
                  <a:gd name="connsiteX56" fmla="*/ 282811 w 2441576"/>
                  <a:gd name="connsiteY56" fmla="*/ 901153 h 901154"/>
                  <a:gd name="connsiteX57" fmla="*/ 188541 w 2441576"/>
                  <a:gd name="connsiteY57" fmla="*/ 901153 h 901154"/>
                  <a:gd name="connsiteX58" fmla="*/ 185400 w 2441576"/>
                  <a:gd name="connsiteY58" fmla="*/ 901153 h 901154"/>
                  <a:gd name="connsiteX59" fmla="*/ 94270 w 2441576"/>
                  <a:gd name="connsiteY59" fmla="*/ 901153 h 901154"/>
                  <a:gd name="connsiteX60" fmla="*/ 0 w 2441576"/>
                  <a:gd name="connsiteY60" fmla="*/ 901153 h 901154"/>
                  <a:gd name="connsiteX61" fmla="*/ 0 w 2441576"/>
                  <a:gd name="connsiteY61" fmla="*/ 832545 h 901154"/>
                  <a:gd name="connsiteX62" fmla="*/ 0 w 2441576"/>
                  <a:gd name="connsiteY62" fmla="*/ 760507 h 901154"/>
                  <a:gd name="connsiteX63" fmla="*/ 0 w 2441576"/>
                  <a:gd name="connsiteY63" fmla="*/ 691899 h 901154"/>
                  <a:gd name="connsiteX64" fmla="*/ 0 w 2441576"/>
                  <a:gd name="connsiteY64" fmla="*/ 608455 h 901154"/>
                  <a:gd name="connsiteX65" fmla="*/ 0 w 2441576"/>
                  <a:gd name="connsiteY65" fmla="*/ 539847 h 901154"/>
                  <a:gd name="connsiteX66" fmla="*/ 0 w 2441576"/>
                  <a:gd name="connsiteY66" fmla="*/ 456403 h 901154"/>
                  <a:gd name="connsiteX67" fmla="*/ 0 w 2441576"/>
                  <a:gd name="connsiteY67" fmla="*/ 387795 h 901154"/>
                  <a:gd name="connsiteX68" fmla="*/ 0 w 2441576"/>
                  <a:gd name="connsiteY68" fmla="*/ 304351 h 901154"/>
                  <a:gd name="connsiteX69" fmla="*/ 0 w 2441576"/>
                  <a:gd name="connsiteY69" fmla="*/ 235743 h 901154"/>
                  <a:gd name="connsiteX70" fmla="*/ 0 w 2441576"/>
                  <a:gd name="connsiteY70" fmla="*/ 152299 h 901154"/>
                  <a:gd name="connsiteX71" fmla="*/ 0 w 2441576"/>
                  <a:gd name="connsiteY71" fmla="*/ 83691 h 901154"/>
                  <a:gd name="connsiteX72" fmla="*/ 0 w 2441576"/>
                  <a:gd name="connsiteY72" fmla="*/ 247 h 901154"/>
                  <a:gd name="connsiteX0" fmla="*/ 0 w 2441576"/>
                  <a:gd name="connsiteY0" fmla="*/ 247 h 901154"/>
                  <a:gd name="connsiteX1" fmla="*/ 94270 w 2441576"/>
                  <a:gd name="connsiteY1" fmla="*/ 247 h 901154"/>
                  <a:gd name="connsiteX2" fmla="*/ 185400 w 2441576"/>
                  <a:gd name="connsiteY2" fmla="*/ 247 h 901154"/>
                  <a:gd name="connsiteX3" fmla="*/ 188541 w 2441576"/>
                  <a:gd name="connsiteY3" fmla="*/ 247 h 901154"/>
                  <a:gd name="connsiteX4" fmla="*/ 282811 w 2441576"/>
                  <a:gd name="connsiteY4" fmla="*/ 247 h 901154"/>
                  <a:gd name="connsiteX5" fmla="*/ 377080 w 2441576"/>
                  <a:gd name="connsiteY5" fmla="*/ 247 h 901154"/>
                  <a:gd name="connsiteX6" fmla="*/ 470246 w 2441576"/>
                  <a:gd name="connsiteY6" fmla="*/ 247 h 901154"/>
                  <a:gd name="connsiteX7" fmla="*/ 471351 w 2441576"/>
                  <a:gd name="connsiteY7" fmla="*/ 247 h 901154"/>
                  <a:gd name="connsiteX8" fmla="*/ 581332 w 2441576"/>
                  <a:gd name="connsiteY8" fmla="*/ 247 h 901154"/>
                  <a:gd name="connsiteX9" fmla="*/ 685028 w 2441576"/>
                  <a:gd name="connsiteY9" fmla="*/ 247 h 901154"/>
                  <a:gd name="connsiteX10" fmla="*/ 755093 w 2441576"/>
                  <a:gd name="connsiteY10" fmla="*/ 247 h 901154"/>
                  <a:gd name="connsiteX11" fmla="*/ 969874 w 2441576"/>
                  <a:gd name="connsiteY11" fmla="*/ 247 h 901154"/>
                  <a:gd name="connsiteX12" fmla="*/ 1039939 w 2441576"/>
                  <a:gd name="connsiteY12" fmla="*/ 247 h 901154"/>
                  <a:gd name="connsiteX13" fmla="*/ 1254721 w 2441576"/>
                  <a:gd name="connsiteY13" fmla="*/ 247 h 901154"/>
                  <a:gd name="connsiteX14" fmla="*/ 1324785 w 2441576"/>
                  <a:gd name="connsiteY14" fmla="*/ 247 h 901154"/>
                  <a:gd name="connsiteX15" fmla="*/ 1430031 w 2441576"/>
                  <a:gd name="connsiteY15" fmla="*/ 0 h 901154"/>
                  <a:gd name="connsiteX16" fmla="*/ 1539566 w 2441576"/>
                  <a:gd name="connsiteY16" fmla="*/ 247 h 901154"/>
                  <a:gd name="connsiteX17" fmla="*/ 1609632 w 2441576"/>
                  <a:gd name="connsiteY17" fmla="*/ 247 h 901154"/>
                  <a:gd name="connsiteX18" fmla="*/ 1824412 w 2441576"/>
                  <a:gd name="connsiteY18" fmla="*/ 247 h 901154"/>
                  <a:gd name="connsiteX19" fmla="*/ 1941949 w 2441576"/>
                  <a:gd name="connsiteY19" fmla="*/ 247 h 901154"/>
                  <a:gd name="connsiteX20" fmla="*/ 2094866 w 2441576"/>
                  <a:gd name="connsiteY20" fmla="*/ 247 h 901154"/>
                  <a:gd name="connsiteX21" fmla="*/ 2176781 w 2441576"/>
                  <a:gd name="connsiteY21" fmla="*/ 247 h 901154"/>
                  <a:gd name="connsiteX22" fmla="*/ 2258696 w 2441576"/>
                  <a:gd name="connsiteY22" fmla="*/ 247 h 901154"/>
                  <a:gd name="connsiteX23" fmla="*/ 2321561 w 2441576"/>
                  <a:gd name="connsiteY23" fmla="*/ 247 h 901154"/>
                  <a:gd name="connsiteX24" fmla="*/ 2441576 w 2441576"/>
                  <a:gd name="connsiteY24" fmla="*/ 247 h 901154"/>
                  <a:gd name="connsiteX25" fmla="*/ 2441576 w 2441576"/>
                  <a:gd name="connsiteY25" fmla="*/ 83691 h 901154"/>
                  <a:gd name="connsiteX26" fmla="*/ 2441576 w 2441576"/>
                  <a:gd name="connsiteY26" fmla="*/ 152299 h 901154"/>
                  <a:gd name="connsiteX27" fmla="*/ 2441576 w 2441576"/>
                  <a:gd name="connsiteY27" fmla="*/ 235743 h 901154"/>
                  <a:gd name="connsiteX28" fmla="*/ 2441576 w 2441576"/>
                  <a:gd name="connsiteY28" fmla="*/ 304351 h 901154"/>
                  <a:gd name="connsiteX29" fmla="*/ 2441576 w 2441576"/>
                  <a:gd name="connsiteY29" fmla="*/ 387795 h 901154"/>
                  <a:gd name="connsiteX30" fmla="*/ 2441576 w 2441576"/>
                  <a:gd name="connsiteY30" fmla="*/ 456403 h 901154"/>
                  <a:gd name="connsiteX31" fmla="*/ 2441576 w 2441576"/>
                  <a:gd name="connsiteY31" fmla="*/ 539847 h 901154"/>
                  <a:gd name="connsiteX32" fmla="*/ 2441576 w 2441576"/>
                  <a:gd name="connsiteY32" fmla="*/ 608455 h 901154"/>
                  <a:gd name="connsiteX33" fmla="*/ 2441576 w 2441576"/>
                  <a:gd name="connsiteY33" fmla="*/ 691899 h 901154"/>
                  <a:gd name="connsiteX34" fmla="*/ 2441576 w 2441576"/>
                  <a:gd name="connsiteY34" fmla="*/ 760507 h 901154"/>
                  <a:gd name="connsiteX35" fmla="*/ 2441576 w 2441576"/>
                  <a:gd name="connsiteY35" fmla="*/ 832545 h 901154"/>
                  <a:gd name="connsiteX36" fmla="*/ 2441576 w 2441576"/>
                  <a:gd name="connsiteY36" fmla="*/ 901153 h 901154"/>
                  <a:gd name="connsiteX37" fmla="*/ 2321561 w 2441576"/>
                  <a:gd name="connsiteY37" fmla="*/ 901153 h 901154"/>
                  <a:gd name="connsiteX38" fmla="*/ 2239646 w 2441576"/>
                  <a:gd name="connsiteY38" fmla="*/ 901153 h 901154"/>
                  <a:gd name="connsiteX39" fmla="*/ 2176781 w 2441576"/>
                  <a:gd name="connsiteY39" fmla="*/ 901153 h 901154"/>
                  <a:gd name="connsiteX40" fmla="*/ 2109259 w 2441576"/>
                  <a:gd name="connsiteY40" fmla="*/ 901153 h 901154"/>
                  <a:gd name="connsiteX41" fmla="*/ 1941949 w 2441576"/>
                  <a:gd name="connsiteY41" fmla="*/ 901153 h 901154"/>
                  <a:gd name="connsiteX42" fmla="*/ 1824412 w 2441576"/>
                  <a:gd name="connsiteY42" fmla="*/ 901153 h 901154"/>
                  <a:gd name="connsiteX43" fmla="*/ 1609632 w 2441576"/>
                  <a:gd name="connsiteY43" fmla="*/ 901153 h 901154"/>
                  <a:gd name="connsiteX44" fmla="*/ 1539566 w 2441576"/>
                  <a:gd name="connsiteY44" fmla="*/ 901153 h 901154"/>
                  <a:gd name="connsiteX45" fmla="*/ 1324785 w 2441576"/>
                  <a:gd name="connsiteY45" fmla="*/ 901153 h 901154"/>
                  <a:gd name="connsiteX46" fmla="*/ 1254721 w 2441576"/>
                  <a:gd name="connsiteY46" fmla="*/ 901153 h 901154"/>
                  <a:gd name="connsiteX47" fmla="*/ 1146253 w 2441576"/>
                  <a:gd name="connsiteY47" fmla="*/ 901153 h 901154"/>
                  <a:gd name="connsiteX48" fmla="*/ 1039939 w 2441576"/>
                  <a:gd name="connsiteY48" fmla="*/ 901153 h 901154"/>
                  <a:gd name="connsiteX49" fmla="*/ 969874 w 2441576"/>
                  <a:gd name="connsiteY49" fmla="*/ 901153 h 901154"/>
                  <a:gd name="connsiteX50" fmla="*/ 864820 w 2441576"/>
                  <a:gd name="connsiteY50" fmla="*/ 901154 h 901154"/>
                  <a:gd name="connsiteX51" fmla="*/ 755093 w 2441576"/>
                  <a:gd name="connsiteY51" fmla="*/ 901153 h 901154"/>
                  <a:gd name="connsiteX52" fmla="*/ 685028 w 2441576"/>
                  <a:gd name="connsiteY52" fmla="*/ 901153 h 901154"/>
                  <a:gd name="connsiteX53" fmla="*/ 581332 w 2441576"/>
                  <a:gd name="connsiteY53" fmla="*/ 901153 h 901154"/>
                  <a:gd name="connsiteX54" fmla="*/ 471351 w 2441576"/>
                  <a:gd name="connsiteY54" fmla="*/ 901153 h 901154"/>
                  <a:gd name="connsiteX55" fmla="*/ 470246 w 2441576"/>
                  <a:gd name="connsiteY55" fmla="*/ 901153 h 901154"/>
                  <a:gd name="connsiteX56" fmla="*/ 377080 w 2441576"/>
                  <a:gd name="connsiteY56" fmla="*/ 901153 h 901154"/>
                  <a:gd name="connsiteX57" fmla="*/ 282811 w 2441576"/>
                  <a:gd name="connsiteY57" fmla="*/ 901153 h 901154"/>
                  <a:gd name="connsiteX58" fmla="*/ 188541 w 2441576"/>
                  <a:gd name="connsiteY58" fmla="*/ 901153 h 901154"/>
                  <a:gd name="connsiteX59" fmla="*/ 185400 w 2441576"/>
                  <a:gd name="connsiteY59" fmla="*/ 901153 h 901154"/>
                  <a:gd name="connsiteX60" fmla="*/ 94270 w 2441576"/>
                  <a:gd name="connsiteY60" fmla="*/ 901153 h 901154"/>
                  <a:gd name="connsiteX61" fmla="*/ 0 w 2441576"/>
                  <a:gd name="connsiteY61" fmla="*/ 901153 h 901154"/>
                  <a:gd name="connsiteX62" fmla="*/ 0 w 2441576"/>
                  <a:gd name="connsiteY62" fmla="*/ 832545 h 901154"/>
                  <a:gd name="connsiteX63" fmla="*/ 0 w 2441576"/>
                  <a:gd name="connsiteY63" fmla="*/ 760507 h 901154"/>
                  <a:gd name="connsiteX64" fmla="*/ 0 w 2441576"/>
                  <a:gd name="connsiteY64" fmla="*/ 691899 h 901154"/>
                  <a:gd name="connsiteX65" fmla="*/ 0 w 2441576"/>
                  <a:gd name="connsiteY65" fmla="*/ 608455 h 901154"/>
                  <a:gd name="connsiteX66" fmla="*/ 0 w 2441576"/>
                  <a:gd name="connsiteY66" fmla="*/ 539847 h 901154"/>
                  <a:gd name="connsiteX67" fmla="*/ 0 w 2441576"/>
                  <a:gd name="connsiteY67" fmla="*/ 456403 h 901154"/>
                  <a:gd name="connsiteX68" fmla="*/ 0 w 2441576"/>
                  <a:gd name="connsiteY68" fmla="*/ 387795 h 901154"/>
                  <a:gd name="connsiteX69" fmla="*/ 0 w 2441576"/>
                  <a:gd name="connsiteY69" fmla="*/ 304351 h 901154"/>
                  <a:gd name="connsiteX70" fmla="*/ 0 w 2441576"/>
                  <a:gd name="connsiteY70" fmla="*/ 235743 h 901154"/>
                  <a:gd name="connsiteX71" fmla="*/ 0 w 2441576"/>
                  <a:gd name="connsiteY71" fmla="*/ 152299 h 901154"/>
                  <a:gd name="connsiteX72" fmla="*/ 0 w 2441576"/>
                  <a:gd name="connsiteY72" fmla="*/ 83691 h 901154"/>
                  <a:gd name="connsiteX73" fmla="*/ 0 w 2441576"/>
                  <a:gd name="connsiteY73" fmla="*/ 247 h 901154"/>
                  <a:gd name="connsiteX0" fmla="*/ 0 w 2441576"/>
                  <a:gd name="connsiteY0" fmla="*/ 247 h 901154"/>
                  <a:gd name="connsiteX1" fmla="*/ 94270 w 2441576"/>
                  <a:gd name="connsiteY1" fmla="*/ 247 h 901154"/>
                  <a:gd name="connsiteX2" fmla="*/ 185400 w 2441576"/>
                  <a:gd name="connsiteY2" fmla="*/ 247 h 901154"/>
                  <a:gd name="connsiteX3" fmla="*/ 188541 w 2441576"/>
                  <a:gd name="connsiteY3" fmla="*/ 247 h 901154"/>
                  <a:gd name="connsiteX4" fmla="*/ 282811 w 2441576"/>
                  <a:gd name="connsiteY4" fmla="*/ 247 h 901154"/>
                  <a:gd name="connsiteX5" fmla="*/ 377080 w 2441576"/>
                  <a:gd name="connsiteY5" fmla="*/ 247 h 901154"/>
                  <a:gd name="connsiteX6" fmla="*/ 470246 w 2441576"/>
                  <a:gd name="connsiteY6" fmla="*/ 247 h 901154"/>
                  <a:gd name="connsiteX7" fmla="*/ 471351 w 2441576"/>
                  <a:gd name="connsiteY7" fmla="*/ 247 h 901154"/>
                  <a:gd name="connsiteX8" fmla="*/ 581332 w 2441576"/>
                  <a:gd name="connsiteY8" fmla="*/ 247 h 901154"/>
                  <a:gd name="connsiteX9" fmla="*/ 685028 w 2441576"/>
                  <a:gd name="connsiteY9" fmla="*/ 247 h 901154"/>
                  <a:gd name="connsiteX10" fmla="*/ 755093 w 2441576"/>
                  <a:gd name="connsiteY10" fmla="*/ 247 h 901154"/>
                  <a:gd name="connsiteX11" fmla="*/ 969874 w 2441576"/>
                  <a:gd name="connsiteY11" fmla="*/ 247 h 901154"/>
                  <a:gd name="connsiteX12" fmla="*/ 1039939 w 2441576"/>
                  <a:gd name="connsiteY12" fmla="*/ 247 h 901154"/>
                  <a:gd name="connsiteX13" fmla="*/ 1254721 w 2441576"/>
                  <a:gd name="connsiteY13" fmla="*/ 247 h 901154"/>
                  <a:gd name="connsiteX14" fmla="*/ 1324785 w 2441576"/>
                  <a:gd name="connsiteY14" fmla="*/ 247 h 901154"/>
                  <a:gd name="connsiteX15" fmla="*/ 1430031 w 2441576"/>
                  <a:gd name="connsiteY15" fmla="*/ 0 h 901154"/>
                  <a:gd name="connsiteX16" fmla="*/ 1539566 w 2441576"/>
                  <a:gd name="connsiteY16" fmla="*/ 247 h 901154"/>
                  <a:gd name="connsiteX17" fmla="*/ 1609632 w 2441576"/>
                  <a:gd name="connsiteY17" fmla="*/ 247 h 901154"/>
                  <a:gd name="connsiteX18" fmla="*/ 1824412 w 2441576"/>
                  <a:gd name="connsiteY18" fmla="*/ 247 h 901154"/>
                  <a:gd name="connsiteX19" fmla="*/ 1941949 w 2441576"/>
                  <a:gd name="connsiteY19" fmla="*/ 247 h 901154"/>
                  <a:gd name="connsiteX20" fmla="*/ 2094866 w 2441576"/>
                  <a:gd name="connsiteY20" fmla="*/ 247 h 901154"/>
                  <a:gd name="connsiteX21" fmla="*/ 2176781 w 2441576"/>
                  <a:gd name="connsiteY21" fmla="*/ 247 h 901154"/>
                  <a:gd name="connsiteX22" fmla="*/ 2258696 w 2441576"/>
                  <a:gd name="connsiteY22" fmla="*/ 247 h 901154"/>
                  <a:gd name="connsiteX23" fmla="*/ 2321561 w 2441576"/>
                  <a:gd name="connsiteY23" fmla="*/ 247 h 901154"/>
                  <a:gd name="connsiteX24" fmla="*/ 2441576 w 2441576"/>
                  <a:gd name="connsiteY24" fmla="*/ 247 h 901154"/>
                  <a:gd name="connsiteX25" fmla="*/ 2441576 w 2441576"/>
                  <a:gd name="connsiteY25" fmla="*/ 83691 h 901154"/>
                  <a:gd name="connsiteX26" fmla="*/ 2441576 w 2441576"/>
                  <a:gd name="connsiteY26" fmla="*/ 152299 h 901154"/>
                  <a:gd name="connsiteX27" fmla="*/ 2441576 w 2441576"/>
                  <a:gd name="connsiteY27" fmla="*/ 235743 h 901154"/>
                  <a:gd name="connsiteX28" fmla="*/ 2441576 w 2441576"/>
                  <a:gd name="connsiteY28" fmla="*/ 304351 h 901154"/>
                  <a:gd name="connsiteX29" fmla="*/ 2441576 w 2441576"/>
                  <a:gd name="connsiteY29" fmla="*/ 387795 h 901154"/>
                  <a:gd name="connsiteX30" fmla="*/ 2441576 w 2441576"/>
                  <a:gd name="connsiteY30" fmla="*/ 456403 h 901154"/>
                  <a:gd name="connsiteX31" fmla="*/ 2441576 w 2441576"/>
                  <a:gd name="connsiteY31" fmla="*/ 539847 h 901154"/>
                  <a:gd name="connsiteX32" fmla="*/ 2441576 w 2441576"/>
                  <a:gd name="connsiteY32" fmla="*/ 608455 h 901154"/>
                  <a:gd name="connsiteX33" fmla="*/ 2441576 w 2441576"/>
                  <a:gd name="connsiteY33" fmla="*/ 691899 h 901154"/>
                  <a:gd name="connsiteX34" fmla="*/ 2441576 w 2441576"/>
                  <a:gd name="connsiteY34" fmla="*/ 760507 h 901154"/>
                  <a:gd name="connsiteX35" fmla="*/ 2441576 w 2441576"/>
                  <a:gd name="connsiteY35" fmla="*/ 832545 h 901154"/>
                  <a:gd name="connsiteX36" fmla="*/ 2441576 w 2441576"/>
                  <a:gd name="connsiteY36" fmla="*/ 901153 h 901154"/>
                  <a:gd name="connsiteX37" fmla="*/ 2321561 w 2441576"/>
                  <a:gd name="connsiteY37" fmla="*/ 901153 h 901154"/>
                  <a:gd name="connsiteX38" fmla="*/ 2239646 w 2441576"/>
                  <a:gd name="connsiteY38" fmla="*/ 901153 h 901154"/>
                  <a:gd name="connsiteX39" fmla="*/ 2176781 w 2441576"/>
                  <a:gd name="connsiteY39" fmla="*/ 901153 h 901154"/>
                  <a:gd name="connsiteX40" fmla="*/ 2109259 w 2441576"/>
                  <a:gd name="connsiteY40" fmla="*/ 901153 h 901154"/>
                  <a:gd name="connsiteX41" fmla="*/ 1941949 w 2441576"/>
                  <a:gd name="connsiteY41" fmla="*/ 901153 h 901154"/>
                  <a:gd name="connsiteX42" fmla="*/ 1824412 w 2441576"/>
                  <a:gd name="connsiteY42" fmla="*/ 901153 h 901154"/>
                  <a:gd name="connsiteX43" fmla="*/ 1609632 w 2441576"/>
                  <a:gd name="connsiteY43" fmla="*/ 901153 h 901154"/>
                  <a:gd name="connsiteX44" fmla="*/ 1539566 w 2441576"/>
                  <a:gd name="connsiteY44" fmla="*/ 901153 h 901154"/>
                  <a:gd name="connsiteX45" fmla="*/ 1427685 w 2441576"/>
                  <a:gd name="connsiteY45" fmla="*/ 901153 h 901154"/>
                  <a:gd name="connsiteX46" fmla="*/ 1324785 w 2441576"/>
                  <a:gd name="connsiteY46" fmla="*/ 901153 h 901154"/>
                  <a:gd name="connsiteX47" fmla="*/ 1254721 w 2441576"/>
                  <a:gd name="connsiteY47" fmla="*/ 901153 h 901154"/>
                  <a:gd name="connsiteX48" fmla="*/ 1146253 w 2441576"/>
                  <a:gd name="connsiteY48" fmla="*/ 901153 h 901154"/>
                  <a:gd name="connsiteX49" fmla="*/ 1039939 w 2441576"/>
                  <a:gd name="connsiteY49" fmla="*/ 901153 h 901154"/>
                  <a:gd name="connsiteX50" fmla="*/ 969874 w 2441576"/>
                  <a:gd name="connsiteY50" fmla="*/ 901153 h 901154"/>
                  <a:gd name="connsiteX51" fmla="*/ 864820 w 2441576"/>
                  <a:gd name="connsiteY51" fmla="*/ 901154 h 901154"/>
                  <a:gd name="connsiteX52" fmla="*/ 755093 w 2441576"/>
                  <a:gd name="connsiteY52" fmla="*/ 901153 h 901154"/>
                  <a:gd name="connsiteX53" fmla="*/ 685028 w 2441576"/>
                  <a:gd name="connsiteY53" fmla="*/ 901153 h 901154"/>
                  <a:gd name="connsiteX54" fmla="*/ 581332 w 2441576"/>
                  <a:gd name="connsiteY54" fmla="*/ 901153 h 901154"/>
                  <a:gd name="connsiteX55" fmla="*/ 471351 w 2441576"/>
                  <a:gd name="connsiteY55" fmla="*/ 901153 h 901154"/>
                  <a:gd name="connsiteX56" fmla="*/ 470246 w 2441576"/>
                  <a:gd name="connsiteY56" fmla="*/ 901153 h 901154"/>
                  <a:gd name="connsiteX57" fmla="*/ 377080 w 2441576"/>
                  <a:gd name="connsiteY57" fmla="*/ 901153 h 901154"/>
                  <a:gd name="connsiteX58" fmla="*/ 282811 w 2441576"/>
                  <a:gd name="connsiteY58" fmla="*/ 901153 h 901154"/>
                  <a:gd name="connsiteX59" fmla="*/ 188541 w 2441576"/>
                  <a:gd name="connsiteY59" fmla="*/ 901153 h 901154"/>
                  <a:gd name="connsiteX60" fmla="*/ 185400 w 2441576"/>
                  <a:gd name="connsiteY60" fmla="*/ 901153 h 901154"/>
                  <a:gd name="connsiteX61" fmla="*/ 94270 w 2441576"/>
                  <a:gd name="connsiteY61" fmla="*/ 901153 h 901154"/>
                  <a:gd name="connsiteX62" fmla="*/ 0 w 2441576"/>
                  <a:gd name="connsiteY62" fmla="*/ 901153 h 901154"/>
                  <a:gd name="connsiteX63" fmla="*/ 0 w 2441576"/>
                  <a:gd name="connsiteY63" fmla="*/ 832545 h 901154"/>
                  <a:gd name="connsiteX64" fmla="*/ 0 w 2441576"/>
                  <a:gd name="connsiteY64" fmla="*/ 760507 h 901154"/>
                  <a:gd name="connsiteX65" fmla="*/ 0 w 2441576"/>
                  <a:gd name="connsiteY65" fmla="*/ 691899 h 901154"/>
                  <a:gd name="connsiteX66" fmla="*/ 0 w 2441576"/>
                  <a:gd name="connsiteY66" fmla="*/ 608455 h 901154"/>
                  <a:gd name="connsiteX67" fmla="*/ 0 w 2441576"/>
                  <a:gd name="connsiteY67" fmla="*/ 539847 h 901154"/>
                  <a:gd name="connsiteX68" fmla="*/ 0 w 2441576"/>
                  <a:gd name="connsiteY68" fmla="*/ 456403 h 901154"/>
                  <a:gd name="connsiteX69" fmla="*/ 0 w 2441576"/>
                  <a:gd name="connsiteY69" fmla="*/ 387795 h 901154"/>
                  <a:gd name="connsiteX70" fmla="*/ 0 w 2441576"/>
                  <a:gd name="connsiteY70" fmla="*/ 304351 h 901154"/>
                  <a:gd name="connsiteX71" fmla="*/ 0 w 2441576"/>
                  <a:gd name="connsiteY71" fmla="*/ 235743 h 901154"/>
                  <a:gd name="connsiteX72" fmla="*/ 0 w 2441576"/>
                  <a:gd name="connsiteY72" fmla="*/ 152299 h 901154"/>
                  <a:gd name="connsiteX73" fmla="*/ 0 w 2441576"/>
                  <a:gd name="connsiteY73" fmla="*/ 83691 h 901154"/>
                  <a:gd name="connsiteX74" fmla="*/ 0 w 2441576"/>
                  <a:gd name="connsiteY74" fmla="*/ 247 h 901154"/>
                  <a:gd name="connsiteX0" fmla="*/ 0 w 2441576"/>
                  <a:gd name="connsiteY0" fmla="*/ 247 h 901154"/>
                  <a:gd name="connsiteX1" fmla="*/ 94270 w 2441576"/>
                  <a:gd name="connsiteY1" fmla="*/ 247 h 901154"/>
                  <a:gd name="connsiteX2" fmla="*/ 185400 w 2441576"/>
                  <a:gd name="connsiteY2" fmla="*/ 247 h 901154"/>
                  <a:gd name="connsiteX3" fmla="*/ 188541 w 2441576"/>
                  <a:gd name="connsiteY3" fmla="*/ 247 h 901154"/>
                  <a:gd name="connsiteX4" fmla="*/ 282811 w 2441576"/>
                  <a:gd name="connsiteY4" fmla="*/ 247 h 901154"/>
                  <a:gd name="connsiteX5" fmla="*/ 377080 w 2441576"/>
                  <a:gd name="connsiteY5" fmla="*/ 247 h 901154"/>
                  <a:gd name="connsiteX6" fmla="*/ 470246 w 2441576"/>
                  <a:gd name="connsiteY6" fmla="*/ 247 h 901154"/>
                  <a:gd name="connsiteX7" fmla="*/ 471351 w 2441576"/>
                  <a:gd name="connsiteY7" fmla="*/ 247 h 901154"/>
                  <a:gd name="connsiteX8" fmla="*/ 581332 w 2441576"/>
                  <a:gd name="connsiteY8" fmla="*/ 247 h 901154"/>
                  <a:gd name="connsiteX9" fmla="*/ 685028 w 2441576"/>
                  <a:gd name="connsiteY9" fmla="*/ 247 h 901154"/>
                  <a:gd name="connsiteX10" fmla="*/ 755093 w 2441576"/>
                  <a:gd name="connsiteY10" fmla="*/ 247 h 901154"/>
                  <a:gd name="connsiteX11" fmla="*/ 969874 w 2441576"/>
                  <a:gd name="connsiteY11" fmla="*/ 247 h 901154"/>
                  <a:gd name="connsiteX12" fmla="*/ 1039939 w 2441576"/>
                  <a:gd name="connsiteY12" fmla="*/ 247 h 901154"/>
                  <a:gd name="connsiteX13" fmla="*/ 1254721 w 2441576"/>
                  <a:gd name="connsiteY13" fmla="*/ 247 h 901154"/>
                  <a:gd name="connsiteX14" fmla="*/ 1324785 w 2441576"/>
                  <a:gd name="connsiteY14" fmla="*/ 247 h 901154"/>
                  <a:gd name="connsiteX15" fmla="*/ 1430031 w 2441576"/>
                  <a:gd name="connsiteY15" fmla="*/ 0 h 901154"/>
                  <a:gd name="connsiteX16" fmla="*/ 1539566 w 2441576"/>
                  <a:gd name="connsiteY16" fmla="*/ 247 h 901154"/>
                  <a:gd name="connsiteX17" fmla="*/ 1609632 w 2441576"/>
                  <a:gd name="connsiteY17" fmla="*/ 247 h 901154"/>
                  <a:gd name="connsiteX18" fmla="*/ 1824412 w 2441576"/>
                  <a:gd name="connsiteY18" fmla="*/ 247 h 901154"/>
                  <a:gd name="connsiteX19" fmla="*/ 1941949 w 2441576"/>
                  <a:gd name="connsiteY19" fmla="*/ 247 h 901154"/>
                  <a:gd name="connsiteX20" fmla="*/ 2094866 w 2441576"/>
                  <a:gd name="connsiteY20" fmla="*/ 247 h 901154"/>
                  <a:gd name="connsiteX21" fmla="*/ 2176781 w 2441576"/>
                  <a:gd name="connsiteY21" fmla="*/ 247 h 901154"/>
                  <a:gd name="connsiteX22" fmla="*/ 2258696 w 2441576"/>
                  <a:gd name="connsiteY22" fmla="*/ 247 h 901154"/>
                  <a:gd name="connsiteX23" fmla="*/ 2321561 w 2441576"/>
                  <a:gd name="connsiteY23" fmla="*/ 247 h 901154"/>
                  <a:gd name="connsiteX24" fmla="*/ 2441576 w 2441576"/>
                  <a:gd name="connsiteY24" fmla="*/ 247 h 901154"/>
                  <a:gd name="connsiteX25" fmla="*/ 2441576 w 2441576"/>
                  <a:gd name="connsiteY25" fmla="*/ 83691 h 901154"/>
                  <a:gd name="connsiteX26" fmla="*/ 2441576 w 2441576"/>
                  <a:gd name="connsiteY26" fmla="*/ 152299 h 901154"/>
                  <a:gd name="connsiteX27" fmla="*/ 2441576 w 2441576"/>
                  <a:gd name="connsiteY27" fmla="*/ 235743 h 901154"/>
                  <a:gd name="connsiteX28" fmla="*/ 2441576 w 2441576"/>
                  <a:gd name="connsiteY28" fmla="*/ 304351 h 901154"/>
                  <a:gd name="connsiteX29" fmla="*/ 2441576 w 2441576"/>
                  <a:gd name="connsiteY29" fmla="*/ 387795 h 901154"/>
                  <a:gd name="connsiteX30" fmla="*/ 2441576 w 2441576"/>
                  <a:gd name="connsiteY30" fmla="*/ 456403 h 901154"/>
                  <a:gd name="connsiteX31" fmla="*/ 2441576 w 2441576"/>
                  <a:gd name="connsiteY31" fmla="*/ 539847 h 901154"/>
                  <a:gd name="connsiteX32" fmla="*/ 2441576 w 2441576"/>
                  <a:gd name="connsiteY32" fmla="*/ 608455 h 901154"/>
                  <a:gd name="connsiteX33" fmla="*/ 2441576 w 2441576"/>
                  <a:gd name="connsiteY33" fmla="*/ 691899 h 901154"/>
                  <a:gd name="connsiteX34" fmla="*/ 2441576 w 2441576"/>
                  <a:gd name="connsiteY34" fmla="*/ 760507 h 901154"/>
                  <a:gd name="connsiteX35" fmla="*/ 2441576 w 2441576"/>
                  <a:gd name="connsiteY35" fmla="*/ 832545 h 901154"/>
                  <a:gd name="connsiteX36" fmla="*/ 2441576 w 2441576"/>
                  <a:gd name="connsiteY36" fmla="*/ 901153 h 901154"/>
                  <a:gd name="connsiteX37" fmla="*/ 2321561 w 2441576"/>
                  <a:gd name="connsiteY37" fmla="*/ 901153 h 901154"/>
                  <a:gd name="connsiteX38" fmla="*/ 2239646 w 2441576"/>
                  <a:gd name="connsiteY38" fmla="*/ 901153 h 901154"/>
                  <a:gd name="connsiteX39" fmla="*/ 2176781 w 2441576"/>
                  <a:gd name="connsiteY39" fmla="*/ 901153 h 901154"/>
                  <a:gd name="connsiteX40" fmla="*/ 2109259 w 2441576"/>
                  <a:gd name="connsiteY40" fmla="*/ 901153 h 901154"/>
                  <a:gd name="connsiteX41" fmla="*/ 1941949 w 2441576"/>
                  <a:gd name="connsiteY41" fmla="*/ 901153 h 901154"/>
                  <a:gd name="connsiteX42" fmla="*/ 1824412 w 2441576"/>
                  <a:gd name="connsiteY42" fmla="*/ 901153 h 901154"/>
                  <a:gd name="connsiteX43" fmla="*/ 1720844 w 2441576"/>
                  <a:gd name="connsiteY43" fmla="*/ 901153 h 901154"/>
                  <a:gd name="connsiteX44" fmla="*/ 1609632 w 2441576"/>
                  <a:gd name="connsiteY44" fmla="*/ 901153 h 901154"/>
                  <a:gd name="connsiteX45" fmla="*/ 1539566 w 2441576"/>
                  <a:gd name="connsiteY45" fmla="*/ 901153 h 901154"/>
                  <a:gd name="connsiteX46" fmla="*/ 1427685 w 2441576"/>
                  <a:gd name="connsiteY46" fmla="*/ 901153 h 901154"/>
                  <a:gd name="connsiteX47" fmla="*/ 1324785 w 2441576"/>
                  <a:gd name="connsiteY47" fmla="*/ 901153 h 901154"/>
                  <a:gd name="connsiteX48" fmla="*/ 1254721 w 2441576"/>
                  <a:gd name="connsiteY48" fmla="*/ 901153 h 901154"/>
                  <a:gd name="connsiteX49" fmla="*/ 1146253 w 2441576"/>
                  <a:gd name="connsiteY49" fmla="*/ 901153 h 901154"/>
                  <a:gd name="connsiteX50" fmla="*/ 1039939 w 2441576"/>
                  <a:gd name="connsiteY50" fmla="*/ 901153 h 901154"/>
                  <a:gd name="connsiteX51" fmla="*/ 969874 w 2441576"/>
                  <a:gd name="connsiteY51" fmla="*/ 901153 h 901154"/>
                  <a:gd name="connsiteX52" fmla="*/ 864820 w 2441576"/>
                  <a:gd name="connsiteY52" fmla="*/ 901154 h 901154"/>
                  <a:gd name="connsiteX53" fmla="*/ 755093 w 2441576"/>
                  <a:gd name="connsiteY53" fmla="*/ 901153 h 901154"/>
                  <a:gd name="connsiteX54" fmla="*/ 685028 w 2441576"/>
                  <a:gd name="connsiteY54" fmla="*/ 901153 h 901154"/>
                  <a:gd name="connsiteX55" fmla="*/ 581332 w 2441576"/>
                  <a:gd name="connsiteY55" fmla="*/ 901153 h 901154"/>
                  <a:gd name="connsiteX56" fmla="*/ 471351 w 2441576"/>
                  <a:gd name="connsiteY56" fmla="*/ 901153 h 901154"/>
                  <a:gd name="connsiteX57" fmla="*/ 470246 w 2441576"/>
                  <a:gd name="connsiteY57" fmla="*/ 901153 h 901154"/>
                  <a:gd name="connsiteX58" fmla="*/ 377080 w 2441576"/>
                  <a:gd name="connsiteY58" fmla="*/ 901153 h 901154"/>
                  <a:gd name="connsiteX59" fmla="*/ 282811 w 2441576"/>
                  <a:gd name="connsiteY59" fmla="*/ 901153 h 901154"/>
                  <a:gd name="connsiteX60" fmla="*/ 188541 w 2441576"/>
                  <a:gd name="connsiteY60" fmla="*/ 901153 h 901154"/>
                  <a:gd name="connsiteX61" fmla="*/ 185400 w 2441576"/>
                  <a:gd name="connsiteY61" fmla="*/ 901153 h 901154"/>
                  <a:gd name="connsiteX62" fmla="*/ 94270 w 2441576"/>
                  <a:gd name="connsiteY62" fmla="*/ 901153 h 901154"/>
                  <a:gd name="connsiteX63" fmla="*/ 0 w 2441576"/>
                  <a:gd name="connsiteY63" fmla="*/ 901153 h 901154"/>
                  <a:gd name="connsiteX64" fmla="*/ 0 w 2441576"/>
                  <a:gd name="connsiteY64" fmla="*/ 832545 h 901154"/>
                  <a:gd name="connsiteX65" fmla="*/ 0 w 2441576"/>
                  <a:gd name="connsiteY65" fmla="*/ 760507 h 901154"/>
                  <a:gd name="connsiteX66" fmla="*/ 0 w 2441576"/>
                  <a:gd name="connsiteY66" fmla="*/ 691899 h 901154"/>
                  <a:gd name="connsiteX67" fmla="*/ 0 w 2441576"/>
                  <a:gd name="connsiteY67" fmla="*/ 608455 h 901154"/>
                  <a:gd name="connsiteX68" fmla="*/ 0 w 2441576"/>
                  <a:gd name="connsiteY68" fmla="*/ 539847 h 901154"/>
                  <a:gd name="connsiteX69" fmla="*/ 0 w 2441576"/>
                  <a:gd name="connsiteY69" fmla="*/ 456403 h 901154"/>
                  <a:gd name="connsiteX70" fmla="*/ 0 w 2441576"/>
                  <a:gd name="connsiteY70" fmla="*/ 387795 h 901154"/>
                  <a:gd name="connsiteX71" fmla="*/ 0 w 2441576"/>
                  <a:gd name="connsiteY71" fmla="*/ 304351 h 901154"/>
                  <a:gd name="connsiteX72" fmla="*/ 0 w 2441576"/>
                  <a:gd name="connsiteY72" fmla="*/ 235743 h 901154"/>
                  <a:gd name="connsiteX73" fmla="*/ 0 w 2441576"/>
                  <a:gd name="connsiteY73" fmla="*/ 152299 h 901154"/>
                  <a:gd name="connsiteX74" fmla="*/ 0 w 2441576"/>
                  <a:gd name="connsiteY74" fmla="*/ 83691 h 901154"/>
                  <a:gd name="connsiteX75" fmla="*/ 0 w 2441576"/>
                  <a:gd name="connsiteY75" fmla="*/ 247 h 901154"/>
                  <a:gd name="connsiteX0" fmla="*/ 0 w 2441576"/>
                  <a:gd name="connsiteY0" fmla="*/ 247 h 901154"/>
                  <a:gd name="connsiteX1" fmla="*/ 94270 w 2441576"/>
                  <a:gd name="connsiteY1" fmla="*/ 247 h 901154"/>
                  <a:gd name="connsiteX2" fmla="*/ 185400 w 2441576"/>
                  <a:gd name="connsiteY2" fmla="*/ 247 h 901154"/>
                  <a:gd name="connsiteX3" fmla="*/ 188541 w 2441576"/>
                  <a:gd name="connsiteY3" fmla="*/ 247 h 901154"/>
                  <a:gd name="connsiteX4" fmla="*/ 282811 w 2441576"/>
                  <a:gd name="connsiteY4" fmla="*/ 247 h 901154"/>
                  <a:gd name="connsiteX5" fmla="*/ 377080 w 2441576"/>
                  <a:gd name="connsiteY5" fmla="*/ 247 h 901154"/>
                  <a:gd name="connsiteX6" fmla="*/ 470246 w 2441576"/>
                  <a:gd name="connsiteY6" fmla="*/ 247 h 901154"/>
                  <a:gd name="connsiteX7" fmla="*/ 471351 w 2441576"/>
                  <a:gd name="connsiteY7" fmla="*/ 247 h 901154"/>
                  <a:gd name="connsiteX8" fmla="*/ 581332 w 2441576"/>
                  <a:gd name="connsiteY8" fmla="*/ 247 h 901154"/>
                  <a:gd name="connsiteX9" fmla="*/ 685028 w 2441576"/>
                  <a:gd name="connsiteY9" fmla="*/ 247 h 901154"/>
                  <a:gd name="connsiteX10" fmla="*/ 755093 w 2441576"/>
                  <a:gd name="connsiteY10" fmla="*/ 247 h 901154"/>
                  <a:gd name="connsiteX11" fmla="*/ 969874 w 2441576"/>
                  <a:gd name="connsiteY11" fmla="*/ 247 h 901154"/>
                  <a:gd name="connsiteX12" fmla="*/ 1039939 w 2441576"/>
                  <a:gd name="connsiteY12" fmla="*/ 247 h 901154"/>
                  <a:gd name="connsiteX13" fmla="*/ 1254721 w 2441576"/>
                  <a:gd name="connsiteY13" fmla="*/ 247 h 901154"/>
                  <a:gd name="connsiteX14" fmla="*/ 1324785 w 2441576"/>
                  <a:gd name="connsiteY14" fmla="*/ 247 h 901154"/>
                  <a:gd name="connsiteX15" fmla="*/ 1430031 w 2441576"/>
                  <a:gd name="connsiteY15" fmla="*/ 0 h 901154"/>
                  <a:gd name="connsiteX16" fmla="*/ 1539566 w 2441576"/>
                  <a:gd name="connsiteY16" fmla="*/ 247 h 901154"/>
                  <a:gd name="connsiteX17" fmla="*/ 1609632 w 2441576"/>
                  <a:gd name="connsiteY17" fmla="*/ 247 h 901154"/>
                  <a:gd name="connsiteX18" fmla="*/ 1824412 w 2441576"/>
                  <a:gd name="connsiteY18" fmla="*/ 247 h 901154"/>
                  <a:gd name="connsiteX19" fmla="*/ 1941949 w 2441576"/>
                  <a:gd name="connsiteY19" fmla="*/ 247 h 901154"/>
                  <a:gd name="connsiteX20" fmla="*/ 2094866 w 2441576"/>
                  <a:gd name="connsiteY20" fmla="*/ 247 h 901154"/>
                  <a:gd name="connsiteX21" fmla="*/ 2176781 w 2441576"/>
                  <a:gd name="connsiteY21" fmla="*/ 247 h 901154"/>
                  <a:gd name="connsiteX22" fmla="*/ 2258696 w 2441576"/>
                  <a:gd name="connsiteY22" fmla="*/ 247 h 901154"/>
                  <a:gd name="connsiteX23" fmla="*/ 2321561 w 2441576"/>
                  <a:gd name="connsiteY23" fmla="*/ 247 h 901154"/>
                  <a:gd name="connsiteX24" fmla="*/ 2441576 w 2441576"/>
                  <a:gd name="connsiteY24" fmla="*/ 247 h 901154"/>
                  <a:gd name="connsiteX25" fmla="*/ 2441576 w 2441576"/>
                  <a:gd name="connsiteY25" fmla="*/ 83691 h 901154"/>
                  <a:gd name="connsiteX26" fmla="*/ 2441576 w 2441576"/>
                  <a:gd name="connsiteY26" fmla="*/ 152299 h 901154"/>
                  <a:gd name="connsiteX27" fmla="*/ 2441576 w 2441576"/>
                  <a:gd name="connsiteY27" fmla="*/ 235743 h 901154"/>
                  <a:gd name="connsiteX28" fmla="*/ 2441576 w 2441576"/>
                  <a:gd name="connsiteY28" fmla="*/ 304351 h 901154"/>
                  <a:gd name="connsiteX29" fmla="*/ 2441576 w 2441576"/>
                  <a:gd name="connsiteY29" fmla="*/ 387795 h 901154"/>
                  <a:gd name="connsiteX30" fmla="*/ 2441576 w 2441576"/>
                  <a:gd name="connsiteY30" fmla="*/ 456403 h 901154"/>
                  <a:gd name="connsiteX31" fmla="*/ 2441576 w 2441576"/>
                  <a:gd name="connsiteY31" fmla="*/ 539847 h 901154"/>
                  <a:gd name="connsiteX32" fmla="*/ 2441576 w 2441576"/>
                  <a:gd name="connsiteY32" fmla="*/ 608455 h 901154"/>
                  <a:gd name="connsiteX33" fmla="*/ 2441576 w 2441576"/>
                  <a:gd name="connsiteY33" fmla="*/ 691899 h 901154"/>
                  <a:gd name="connsiteX34" fmla="*/ 2441576 w 2441576"/>
                  <a:gd name="connsiteY34" fmla="*/ 760507 h 901154"/>
                  <a:gd name="connsiteX35" fmla="*/ 2441576 w 2441576"/>
                  <a:gd name="connsiteY35" fmla="*/ 832545 h 901154"/>
                  <a:gd name="connsiteX36" fmla="*/ 2441576 w 2441576"/>
                  <a:gd name="connsiteY36" fmla="*/ 901153 h 901154"/>
                  <a:gd name="connsiteX37" fmla="*/ 2321561 w 2441576"/>
                  <a:gd name="connsiteY37" fmla="*/ 901153 h 901154"/>
                  <a:gd name="connsiteX38" fmla="*/ 2239646 w 2441576"/>
                  <a:gd name="connsiteY38" fmla="*/ 901153 h 901154"/>
                  <a:gd name="connsiteX39" fmla="*/ 2176781 w 2441576"/>
                  <a:gd name="connsiteY39" fmla="*/ 901153 h 901154"/>
                  <a:gd name="connsiteX40" fmla="*/ 2109259 w 2441576"/>
                  <a:gd name="connsiteY40" fmla="*/ 901153 h 901154"/>
                  <a:gd name="connsiteX41" fmla="*/ 2025730 w 2441576"/>
                  <a:gd name="connsiteY41" fmla="*/ 901153 h 901154"/>
                  <a:gd name="connsiteX42" fmla="*/ 1941949 w 2441576"/>
                  <a:gd name="connsiteY42" fmla="*/ 901153 h 901154"/>
                  <a:gd name="connsiteX43" fmla="*/ 1824412 w 2441576"/>
                  <a:gd name="connsiteY43" fmla="*/ 901153 h 901154"/>
                  <a:gd name="connsiteX44" fmla="*/ 1720844 w 2441576"/>
                  <a:gd name="connsiteY44" fmla="*/ 901153 h 901154"/>
                  <a:gd name="connsiteX45" fmla="*/ 1609632 w 2441576"/>
                  <a:gd name="connsiteY45" fmla="*/ 901153 h 901154"/>
                  <a:gd name="connsiteX46" fmla="*/ 1539566 w 2441576"/>
                  <a:gd name="connsiteY46" fmla="*/ 901153 h 901154"/>
                  <a:gd name="connsiteX47" fmla="*/ 1427685 w 2441576"/>
                  <a:gd name="connsiteY47" fmla="*/ 901153 h 901154"/>
                  <a:gd name="connsiteX48" fmla="*/ 1324785 w 2441576"/>
                  <a:gd name="connsiteY48" fmla="*/ 901153 h 901154"/>
                  <a:gd name="connsiteX49" fmla="*/ 1254721 w 2441576"/>
                  <a:gd name="connsiteY49" fmla="*/ 901153 h 901154"/>
                  <a:gd name="connsiteX50" fmla="*/ 1146253 w 2441576"/>
                  <a:gd name="connsiteY50" fmla="*/ 901153 h 901154"/>
                  <a:gd name="connsiteX51" fmla="*/ 1039939 w 2441576"/>
                  <a:gd name="connsiteY51" fmla="*/ 901153 h 901154"/>
                  <a:gd name="connsiteX52" fmla="*/ 969874 w 2441576"/>
                  <a:gd name="connsiteY52" fmla="*/ 901153 h 901154"/>
                  <a:gd name="connsiteX53" fmla="*/ 864820 w 2441576"/>
                  <a:gd name="connsiteY53" fmla="*/ 901154 h 901154"/>
                  <a:gd name="connsiteX54" fmla="*/ 755093 w 2441576"/>
                  <a:gd name="connsiteY54" fmla="*/ 901153 h 901154"/>
                  <a:gd name="connsiteX55" fmla="*/ 685028 w 2441576"/>
                  <a:gd name="connsiteY55" fmla="*/ 901153 h 901154"/>
                  <a:gd name="connsiteX56" fmla="*/ 581332 w 2441576"/>
                  <a:gd name="connsiteY56" fmla="*/ 901153 h 901154"/>
                  <a:gd name="connsiteX57" fmla="*/ 471351 w 2441576"/>
                  <a:gd name="connsiteY57" fmla="*/ 901153 h 901154"/>
                  <a:gd name="connsiteX58" fmla="*/ 470246 w 2441576"/>
                  <a:gd name="connsiteY58" fmla="*/ 901153 h 901154"/>
                  <a:gd name="connsiteX59" fmla="*/ 377080 w 2441576"/>
                  <a:gd name="connsiteY59" fmla="*/ 901153 h 901154"/>
                  <a:gd name="connsiteX60" fmla="*/ 282811 w 2441576"/>
                  <a:gd name="connsiteY60" fmla="*/ 901153 h 901154"/>
                  <a:gd name="connsiteX61" fmla="*/ 188541 w 2441576"/>
                  <a:gd name="connsiteY61" fmla="*/ 901153 h 901154"/>
                  <a:gd name="connsiteX62" fmla="*/ 185400 w 2441576"/>
                  <a:gd name="connsiteY62" fmla="*/ 901153 h 901154"/>
                  <a:gd name="connsiteX63" fmla="*/ 94270 w 2441576"/>
                  <a:gd name="connsiteY63" fmla="*/ 901153 h 901154"/>
                  <a:gd name="connsiteX64" fmla="*/ 0 w 2441576"/>
                  <a:gd name="connsiteY64" fmla="*/ 901153 h 901154"/>
                  <a:gd name="connsiteX65" fmla="*/ 0 w 2441576"/>
                  <a:gd name="connsiteY65" fmla="*/ 832545 h 901154"/>
                  <a:gd name="connsiteX66" fmla="*/ 0 w 2441576"/>
                  <a:gd name="connsiteY66" fmla="*/ 760507 h 901154"/>
                  <a:gd name="connsiteX67" fmla="*/ 0 w 2441576"/>
                  <a:gd name="connsiteY67" fmla="*/ 691899 h 901154"/>
                  <a:gd name="connsiteX68" fmla="*/ 0 w 2441576"/>
                  <a:gd name="connsiteY68" fmla="*/ 608455 h 901154"/>
                  <a:gd name="connsiteX69" fmla="*/ 0 w 2441576"/>
                  <a:gd name="connsiteY69" fmla="*/ 539847 h 901154"/>
                  <a:gd name="connsiteX70" fmla="*/ 0 w 2441576"/>
                  <a:gd name="connsiteY70" fmla="*/ 456403 h 901154"/>
                  <a:gd name="connsiteX71" fmla="*/ 0 w 2441576"/>
                  <a:gd name="connsiteY71" fmla="*/ 387795 h 901154"/>
                  <a:gd name="connsiteX72" fmla="*/ 0 w 2441576"/>
                  <a:gd name="connsiteY72" fmla="*/ 304351 h 901154"/>
                  <a:gd name="connsiteX73" fmla="*/ 0 w 2441576"/>
                  <a:gd name="connsiteY73" fmla="*/ 235743 h 901154"/>
                  <a:gd name="connsiteX74" fmla="*/ 0 w 2441576"/>
                  <a:gd name="connsiteY74" fmla="*/ 152299 h 901154"/>
                  <a:gd name="connsiteX75" fmla="*/ 0 w 2441576"/>
                  <a:gd name="connsiteY75" fmla="*/ 83691 h 901154"/>
                  <a:gd name="connsiteX76" fmla="*/ 0 w 2441576"/>
                  <a:gd name="connsiteY76" fmla="*/ 247 h 901154"/>
                  <a:gd name="connsiteX0" fmla="*/ 0 w 2441576"/>
                  <a:gd name="connsiteY0" fmla="*/ 247 h 901154"/>
                  <a:gd name="connsiteX1" fmla="*/ 94270 w 2441576"/>
                  <a:gd name="connsiteY1" fmla="*/ 247 h 901154"/>
                  <a:gd name="connsiteX2" fmla="*/ 185400 w 2441576"/>
                  <a:gd name="connsiteY2" fmla="*/ 247 h 901154"/>
                  <a:gd name="connsiteX3" fmla="*/ 188541 w 2441576"/>
                  <a:gd name="connsiteY3" fmla="*/ 247 h 901154"/>
                  <a:gd name="connsiteX4" fmla="*/ 282811 w 2441576"/>
                  <a:gd name="connsiteY4" fmla="*/ 247 h 901154"/>
                  <a:gd name="connsiteX5" fmla="*/ 377080 w 2441576"/>
                  <a:gd name="connsiteY5" fmla="*/ 247 h 901154"/>
                  <a:gd name="connsiteX6" fmla="*/ 470246 w 2441576"/>
                  <a:gd name="connsiteY6" fmla="*/ 247 h 901154"/>
                  <a:gd name="connsiteX7" fmla="*/ 471351 w 2441576"/>
                  <a:gd name="connsiteY7" fmla="*/ 247 h 901154"/>
                  <a:gd name="connsiteX8" fmla="*/ 581332 w 2441576"/>
                  <a:gd name="connsiteY8" fmla="*/ 247 h 901154"/>
                  <a:gd name="connsiteX9" fmla="*/ 685028 w 2441576"/>
                  <a:gd name="connsiteY9" fmla="*/ 247 h 901154"/>
                  <a:gd name="connsiteX10" fmla="*/ 755093 w 2441576"/>
                  <a:gd name="connsiteY10" fmla="*/ 247 h 901154"/>
                  <a:gd name="connsiteX11" fmla="*/ 969874 w 2441576"/>
                  <a:gd name="connsiteY11" fmla="*/ 247 h 901154"/>
                  <a:gd name="connsiteX12" fmla="*/ 1039939 w 2441576"/>
                  <a:gd name="connsiteY12" fmla="*/ 247 h 901154"/>
                  <a:gd name="connsiteX13" fmla="*/ 1254721 w 2441576"/>
                  <a:gd name="connsiteY13" fmla="*/ 247 h 901154"/>
                  <a:gd name="connsiteX14" fmla="*/ 1324785 w 2441576"/>
                  <a:gd name="connsiteY14" fmla="*/ 247 h 901154"/>
                  <a:gd name="connsiteX15" fmla="*/ 1430031 w 2441576"/>
                  <a:gd name="connsiteY15" fmla="*/ 0 h 901154"/>
                  <a:gd name="connsiteX16" fmla="*/ 1539566 w 2441576"/>
                  <a:gd name="connsiteY16" fmla="*/ 247 h 901154"/>
                  <a:gd name="connsiteX17" fmla="*/ 1609632 w 2441576"/>
                  <a:gd name="connsiteY17" fmla="*/ 247 h 901154"/>
                  <a:gd name="connsiteX18" fmla="*/ 1707946 w 2441576"/>
                  <a:gd name="connsiteY18" fmla="*/ 1 h 901154"/>
                  <a:gd name="connsiteX19" fmla="*/ 1824412 w 2441576"/>
                  <a:gd name="connsiteY19" fmla="*/ 247 h 901154"/>
                  <a:gd name="connsiteX20" fmla="*/ 1941949 w 2441576"/>
                  <a:gd name="connsiteY20" fmla="*/ 247 h 901154"/>
                  <a:gd name="connsiteX21" fmla="*/ 2094866 w 2441576"/>
                  <a:gd name="connsiteY21" fmla="*/ 247 h 901154"/>
                  <a:gd name="connsiteX22" fmla="*/ 2176781 w 2441576"/>
                  <a:gd name="connsiteY22" fmla="*/ 247 h 901154"/>
                  <a:gd name="connsiteX23" fmla="*/ 2258696 w 2441576"/>
                  <a:gd name="connsiteY23" fmla="*/ 247 h 901154"/>
                  <a:gd name="connsiteX24" fmla="*/ 2321561 w 2441576"/>
                  <a:gd name="connsiteY24" fmla="*/ 247 h 901154"/>
                  <a:gd name="connsiteX25" fmla="*/ 2441576 w 2441576"/>
                  <a:gd name="connsiteY25" fmla="*/ 247 h 901154"/>
                  <a:gd name="connsiteX26" fmla="*/ 2441576 w 2441576"/>
                  <a:gd name="connsiteY26" fmla="*/ 83691 h 901154"/>
                  <a:gd name="connsiteX27" fmla="*/ 2441576 w 2441576"/>
                  <a:gd name="connsiteY27" fmla="*/ 152299 h 901154"/>
                  <a:gd name="connsiteX28" fmla="*/ 2441576 w 2441576"/>
                  <a:gd name="connsiteY28" fmla="*/ 235743 h 901154"/>
                  <a:gd name="connsiteX29" fmla="*/ 2441576 w 2441576"/>
                  <a:gd name="connsiteY29" fmla="*/ 304351 h 901154"/>
                  <a:gd name="connsiteX30" fmla="*/ 2441576 w 2441576"/>
                  <a:gd name="connsiteY30" fmla="*/ 387795 h 901154"/>
                  <a:gd name="connsiteX31" fmla="*/ 2441576 w 2441576"/>
                  <a:gd name="connsiteY31" fmla="*/ 456403 h 901154"/>
                  <a:gd name="connsiteX32" fmla="*/ 2441576 w 2441576"/>
                  <a:gd name="connsiteY32" fmla="*/ 539847 h 901154"/>
                  <a:gd name="connsiteX33" fmla="*/ 2441576 w 2441576"/>
                  <a:gd name="connsiteY33" fmla="*/ 608455 h 901154"/>
                  <a:gd name="connsiteX34" fmla="*/ 2441576 w 2441576"/>
                  <a:gd name="connsiteY34" fmla="*/ 691899 h 901154"/>
                  <a:gd name="connsiteX35" fmla="*/ 2441576 w 2441576"/>
                  <a:gd name="connsiteY35" fmla="*/ 760507 h 901154"/>
                  <a:gd name="connsiteX36" fmla="*/ 2441576 w 2441576"/>
                  <a:gd name="connsiteY36" fmla="*/ 832545 h 901154"/>
                  <a:gd name="connsiteX37" fmla="*/ 2441576 w 2441576"/>
                  <a:gd name="connsiteY37" fmla="*/ 901153 h 901154"/>
                  <a:gd name="connsiteX38" fmla="*/ 2321561 w 2441576"/>
                  <a:gd name="connsiteY38" fmla="*/ 901153 h 901154"/>
                  <a:gd name="connsiteX39" fmla="*/ 2239646 w 2441576"/>
                  <a:gd name="connsiteY39" fmla="*/ 901153 h 901154"/>
                  <a:gd name="connsiteX40" fmla="*/ 2176781 w 2441576"/>
                  <a:gd name="connsiteY40" fmla="*/ 901153 h 901154"/>
                  <a:gd name="connsiteX41" fmla="*/ 2109259 w 2441576"/>
                  <a:gd name="connsiteY41" fmla="*/ 901153 h 901154"/>
                  <a:gd name="connsiteX42" fmla="*/ 2025730 w 2441576"/>
                  <a:gd name="connsiteY42" fmla="*/ 901153 h 901154"/>
                  <a:gd name="connsiteX43" fmla="*/ 1941949 w 2441576"/>
                  <a:gd name="connsiteY43" fmla="*/ 901153 h 901154"/>
                  <a:gd name="connsiteX44" fmla="*/ 1824412 w 2441576"/>
                  <a:gd name="connsiteY44" fmla="*/ 901153 h 901154"/>
                  <a:gd name="connsiteX45" fmla="*/ 1720844 w 2441576"/>
                  <a:gd name="connsiteY45" fmla="*/ 901153 h 901154"/>
                  <a:gd name="connsiteX46" fmla="*/ 1609632 w 2441576"/>
                  <a:gd name="connsiteY46" fmla="*/ 901153 h 901154"/>
                  <a:gd name="connsiteX47" fmla="*/ 1539566 w 2441576"/>
                  <a:gd name="connsiteY47" fmla="*/ 901153 h 901154"/>
                  <a:gd name="connsiteX48" fmla="*/ 1427685 w 2441576"/>
                  <a:gd name="connsiteY48" fmla="*/ 901153 h 901154"/>
                  <a:gd name="connsiteX49" fmla="*/ 1324785 w 2441576"/>
                  <a:gd name="connsiteY49" fmla="*/ 901153 h 901154"/>
                  <a:gd name="connsiteX50" fmla="*/ 1254721 w 2441576"/>
                  <a:gd name="connsiteY50" fmla="*/ 901153 h 901154"/>
                  <a:gd name="connsiteX51" fmla="*/ 1146253 w 2441576"/>
                  <a:gd name="connsiteY51" fmla="*/ 901153 h 901154"/>
                  <a:gd name="connsiteX52" fmla="*/ 1039939 w 2441576"/>
                  <a:gd name="connsiteY52" fmla="*/ 901153 h 901154"/>
                  <a:gd name="connsiteX53" fmla="*/ 969874 w 2441576"/>
                  <a:gd name="connsiteY53" fmla="*/ 901153 h 901154"/>
                  <a:gd name="connsiteX54" fmla="*/ 864820 w 2441576"/>
                  <a:gd name="connsiteY54" fmla="*/ 901154 h 901154"/>
                  <a:gd name="connsiteX55" fmla="*/ 755093 w 2441576"/>
                  <a:gd name="connsiteY55" fmla="*/ 901153 h 901154"/>
                  <a:gd name="connsiteX56" fmla="*/ 685028 w 2441576"/>
                  <a:gd name="connsiteY56" fmla="*/ 901153 h 901154"/>
                  <a:gd name="connsiteX57" fmla="*/ 581332 w 2441576"/>
                  <a:gd name="connsiteY57" fmla="*/ 901153 h 901154"/>
                  <a:gd name="connsiteX58" fmla="*/ 471351 w 2441576"/>
                  <a:gd name="connsiteY58" fmla="*/ 901153 h 901154"/>
                  <a:gd name="connsiteX59" fmla="*/ 470246 w 2441576"/>
                  <a:gd name="connsiteY59" fmla="*/ 901153 h 901154"/>
                  <a:gd name="connsiteX60" fmla="*/ 377080 w 2441576"/>
                  <a:gd name="connsiteY60" fmla="*/ 901153 h 901154"/>
                  <a:gd name="connsiteX61" fmla="*/ 282811 w 2441576"/>
                  <a:gd name="connsiteY61" fmla="*/ 901153 h 901154"/>
                  <a:gd name="connsiteX62" fmla="*/ 188541 w 2441576"/>
                  <a:gd name="connsiteY62" fmla="*/ 901153 h 901154"/>
                  <a:gd name="connsiteX63" fmla="*/ 185400 w 2441576"/>
                  <a:gd name="connsiteY63" fmla="*/ 901153 h 901154"/>
                  <a:gd name="connsiteX64" fmla="*/ 94270 w 2441576"/>
                  <a:gd name="connsiteY64" fmla="*/ 901153 h 901154"/>
                  <a:gd name="connsiteX65" fmla="*/ 0 w 2441576"/>
                  <a:gd name="connsiteY65" fmla="*/ 901153 h 901154"/>
                  <a:gd name="connsiteX66" fmla="*/ 0 w 2441576"/>
                  <a:gd name="connsiteY66" fmla="*/ 832545 h 901154"/>
                  <a:gd name="connsiteX67" fmla="*/ 0 w 2441576"/>
                  <a:gd name="connsiteY67" fmla="*/ 760507 h 901154"/>
                  <a:gd name="connsiteX68" fmla="*/ 0 w 2441576"/>
                  <a:gd name="connsiteY68" fmla="*/ 691899 h 901154"/>
                  <a:gd name="connsiteX69" fmla="*/ 0 w 2441576"/>
                  <a:gd name="connsiteY69" fmla="*/ 608455 h 901154"/>
                  <a:gd name="connsiteX70" fmla="*/ 0 w 2441576"/>
                  <a:gd name="connsiteY70" fmla="*/ 539847 h 901154"/>
                  <a:gd name="connsiteX71" fmla="*/ 0 w 2441576"/>
                  <a:gd name="connsiteY71" fmla="*/ 456403 h 901154"/>
                  <a:gd name="connsiteX72" fmla="*/ 0 w 2441576"/>
                  <a:gd name="connsiteY72" fmla="*/ 387795 h 901154"/>
                  <a:gd name="connsiteX73" fmla="*/ 0 w 2441576"/>
                  <a:gd name="connsiteY73" fmla="*/ 304351 h 901154"/>
                  <a:gd name="connsiteX74" fmla="*/ 0 w 2441576"/>
                  <a:gd name="connsiteY74" fmla="*/ 235743 h 901154"/>
                  <a:gd name="connsiteX75" fmla="*/ 0 w 2441576"/>
                  <a:gd name="connsiteY75" fmla="*/ 152299 h 901154"/>
                  <a:gd name="connsiteX76" fmla="*/ 0 w 2441576"/>
                  <a:gd name="connsiteY76" fmla="*/ 83691 h 901154"/>
                  <a:gd name="connsiteX77" fmla="*/ 0 w 2441576"/>
                  <a:gd name="connsiteY77" fmla="*/ 247 h 901154"/>
                  <a:gd name="connsiteX0" fmla="*/ 0 w 2441576"/>
                  <a:gd name="connsiteY0" fmla="*/ 247 h 901154"/>
                  <a:gd name="connsiteX1" fmla="*/ 94270 w 2441576"/>
                  <a:gd name="connsiteY1" fmla="*/ 247 h 901154"/>
                  <a:gd name="connsiteX2" fmla="*/ 185400 w 2441576"/>
                  <a:gd name="connsiteY2" fmla="*/ 247 h 901154"/>
                  <a:gd name="connsiteX3" fmla="*/ 188541 w 2441576"/>
                  <a:gd name="connsiteY3" fmla="*/ 247 h 901154"/>
                  <a:gd name="connsiteX4" fmla="*/ 282811 w 2441576"/>
                  <a:gd name="connsiteY4" fmla="*/ 247 h 901154"/>
                  <a:gd name="connsiteX5" fmla="*/ 377080 w 2441576"/>
                  <a:gd name="connsiteY5" fmla="*/ 247 h 901154"/>
                  <a:gd name="connsiteX6" fmla="*/ 470246 w 2441576"/>
                  <a:gd name="connsiteY6" fmla="*/ 247 h 901154"/>
                  <a:gd name="connsiteX7" fmla="*/ 471351 w 2441576"/>
                  <a:gd name="connsiteY7" fmla="*/ 247 h 901154"/>
                  <a:gd name="connsiteX8" fmla="*/ 581332 w 2441576"/>
                  <a:gd name="connsiteY8" fmla="*/ 247 h 901154"/>
                  <a:gd name="connsiteX9" fmla="*/ 685028 w 2441576"/>
                  <a:gd name="connsiteY9" fmla="*/ 247 h 901154"/>
                  <a:gd name="connsiteX10" fmla="*/ 755093 w 2441576"/>
                  <a:gd name="connsiteY10" fmla="*/ 247 h 901154"/>
                  <a:gd name="connsiteX11" fmla="*/ 969874 w 2441576"/>
                  <a:gd name="connsiteY11" fmla="*/ 247 h 901154"/>
                  <a:gd name="connsiteX12" fmla="*/ 1039939 w 2441576"/>
                  <a:gd name="connsiteY12" fmla="*/ 247 h 901154"/>
                  <a:gd name="connsiteX13" fmla="*/ 1146839 w 2441576"/>
                  <a:gd name="connsiteY13" fmla="*/ 1 h 901154"/>
                  <a:gd name="connsiteX14" fmla="*/ 1254721 w 2441576"/>
                  <a:gd name="connsiteY14" fmla="*/ 247 h 901154"/>
                  <a:gd name="connsiteX15" fmla="*/ 1324785 w 2441576"/>
                  <a:gd name="connsiteY15" fmla="*/ 247 h 901154"/>
                  <a:gd name="connsiteX16" fmla="*/ 1430031 w 2441576"/>
                  <a:gd name="connsiteY16" fmla="*/ 0 h 901154"/>
                  <a:gd name="connsiteX17" fmla="*/ 1539566 w 2441576"/>
                  <a:gd name="connsiteY17" fmla="*/ 247 h 901154"/>
                  <a:gd name="connsiteX18" fmla="*/ 1609632 w 2441576"/>
                  <a:gd name="connsiteY18" fmla="*/ 247 h 901154"/>
                  <a:gd name="connsiteX19" fmla="*/ 1707946 w 2441576"/>
                  <a:gd name="connsiteY19" fmla="*/ 1 h 901154"/>
                  <a:gd name="connsiteX20" fmla="*/ 1824412 w 2441576"/>
                  <a:gd name="connsiteY20" fmla="*/ 247 h 901154"/>
                  <a:gd name="connsiteX21" fmla="*/ 1941949 w 2441576"/>
                  <a:gd name="connsiteY21" fmla="*/ 247 h 901154"/>
                  <a:gd name="connsiteX22" fmla="*/ 2094866 w 2441576"/>
                  <a:gd name="connsiteY22" fmla="*/ 247 h 901154"/>
                  <a:gd name="connsiteX23" fmla="*/ 2176781 w 2441576"/>
                  <a:gd name="connsiteY23" fmla="*/ 247 h 901154"/>
                  <a:gd name="connsiteX24" fmla="*/ 2258696 w 2441576"/>
                  <a:gd name="connsiteY24" fmla="*/ 247 h 901154"/>
                  <a:gd name="connsiteX25" fmla="*/ 2321561 w 2441576"/>
                  <a:gd name="connsiteY25" fmla="*/ 247 h 901154"/>
                  <a:gd name="connsiteX26" fmla="*/ 2441576 w 2441576"/>
                  <a:gd name="connsiteY26" fmla="*/ 247 h 901154"/>
                  <a:gd name="connsiteX27" fmla="*/ 2441576 w 2441576"/>
                  <a:gd name="connsiteY27" fmla="*/ 83691 h 901154"/>
                  <a:gd name="connsiteX28" fmla="*/ 2441576 w 2441576"/>
                  <a:gd name="connsiteY28" fmla="*/ 152299 h 901154"/>
                  <a:gd name="connsiteX29" fmla="*/ 2441576 w 2441576"/>
                  <a:gd name="connsiteY29" fmla="*/ 235743 h 901154"/>
                  <a:gd name="connsiteX30" fmla="*/ 2441576 w 2441576"/>
                  <a:gd name="connsiteY30" fmla="*/ 304351 h 901154"/>
                  <a:gd name="connsiteX31" fmla="*/ 2441576 w 2441576"/>
                  <a:gd name="connsiteY31" fmla="*/ 387795 h 901154"/>
                  <a:gd name="connsiteX32" fmla="*/ 2441576 w 2441576"/>
                  <a:gd name="connsiteY32" fmla="*/ 456403 h 901154"/>
                  <a:gd name="connsiteX33" fmla="*/ 2441576 w 2441576"/>
                  <a:gd name="connsiteY33" fmla="*/ 539847 h 901154"/>
                  <a:gd name="connsiteX34" fmla="*/ 2441576 w 2441576"/>
                  <a:gd name="connsiteY34" fmla="*/ 608455 h 901154"/>
                  <a:gd name="connsiteX35" fmla="*/ 2441576 w 2441576"/>
                  <a:gd name="connsiteY35" fmla="*/ 691899 h 901154"/>
                  <a:gd name="connsiteX36" fmla="*/ 2441576 w 2441576"/>
                  <a:gd name="connsiteY36" fmla="*/ 760507 h 901154"/>
                  <a:gd name="connsiteX37" fmla="*/ 2441576 w 2441576"/>
                  <a:gd name="connsiteY37" fmla="*/ 832545 h 901154"/>
                  <a:gd name="connsiteX38" fmla="*/ 2441576 w 2441576"/>
                  <a:gd name="connsiteY38" fmla="*/ 901153 h 901154"/>
                  <a:gd name="connsiteX39" fmla="*/ 2321561 w 2441576"/>
                  <a:gd name="connsiteY39" fmla="*/ 901153 h 901154"/>
                  <a:gd name="connsiteX40" fmla="*/ 2239646 w 2441576"/>
                  <a:gd name="connsiteY40" fmla="*/ 901153 h 901154"/>
                  <a:gd name="connsiteX41" fmla="*/ 2176781 w 2441576"/>
                  <a:gd name="connsiteY41" fmla="*/ 901153 h 901154"/>
                  <a:gd name="connsiteX42" fmla="*/ 2109259 w 2441576"/>
                  <a:gd name="connsiteY42" fmla="*/ 901153 h 901154"/>
                  <a:gd name="connsiteX43" fmla="*/ 2025730 w 2441576"/>
                  <a:gd name="connsiteY43" fmla="*/ 901153 h 901154"/>
                  <a:gd name="connsiteX44" fmla="*/ 1941949 w 2441576"/>
                  <a:gd name="connsiteY44" fmla="*/ 901153 h 901154"/>
                  <a:gd name="connsiteX45" fmla="*/ 1824412 w 2441576"/>
                  <a:gd name="connsiteY45" fmla="*/ 901153 h 901154"/>
                  <a:gd name="connsiteX46" fmla="*/ 1720844 w 2441576"/>
                  <a:gd name="connsiteY46" fmla="*/ 901153 h 901154"/>
                  <a:gd name="connsiteX47" fmla="*/ 1609632 w 2441576"/>
                  <a:gd name="connsiteY47" fmla="*/ 901153 h 901154"/>
                  <a:gd name="connsiteX48" fmla="*/ 1539566 w 2441576"/>
                  <a:gd name="connsiteY48" fmla="*/ 901153 h 901154"/>
                  <a:gd name="connsiteX49" fmla="*/ 1427685 w 2441576"/>
                  <a:gd name="connsiteY49" fmla="*/ 901153 h 901154"/>
                  <a:gd name="connsiteX50" fmla="*/ 1324785 w 2441576"/>
                  <a:gd name="connsiteY50" fmla="*/ 901153 h 901154"/>
                  <a:gd name="connsiteX51" fmla="*/ 1254721 w 2441576"/>
                  <a:gd name="connsiteY51" fmla="*/ 901153 h 901154"/>
                  <a:gd name="connsiteX52" fmla="*/ 1146253 w 2441576"/>
                  <a:gd name="connsiteY52" fmla="*/ 901153 h 901154"/>
                  <a:gd name="connsiteX53" fmla="*/ 1039939 w 2441576"/>
                  <a:gd name="connsiteY53" fmla="*/ 901153 h 901154"/>
                  <a:gd name="connsiteX54" fmla="*/ 969874 w 2441576"/>
                  <a:gd name="connsiteY54" fmla="*/ 901153 h 901154"/>
                  <a:gd name="connsiteX55" fmla="*/ 864820 w 2441576"/>
                  <a:gd name="connsiteY55" fmla="*/ 901154 h 901154"/>
                  <a:gd name="connsiteX56" fmla="*/ 755093 w 2441576"/>
                  <a:gd name="connsiteY56" fmla="*/ 901153 h 901154"/>
                  <a:gd name="connsiteX57" fmla="*/ 685028 w 2441576"/>
                  <a:gd name="connsiteY57" fmla="*/ 901153 h 901154"/>
                  <a:gd name="connsiteX58" fmla="*/ 581332 w 2441576"/>
                  <a:gd name="connsiteY58" fmla="*/ 901153 h 901154"/>
                  <a:gd name="connsiteX59" fmla="*/ 471351 w 2441576"/>
                  <a:gd name="connsiteY59" fmla="*/ 901153 h 901154"/>
                  <a:gd name="connsiteX60" fmla="*/ 470246 w 2441576"/>
                  <a:gd name="connsiteY60" fmla="*/ 901153 h 901154"/>
                  <a:gd name="connsiteX61" fmla="*/ 377080 w 2441576"/>
                  <a:gd name="connsiteY61" fmla="*/ 901153 h 901154"/>
                  <a:gd name="connsiteX62" fmla="*/ 282811 w 2441576"/>
                  <a:gd name="connsiteY62" fmla="*/ 901153 h 901154"/>
                  <a:gd name="connsiteX63" fmla="*/ 188541 w 2441576"/>
                  <a:gd name="connsiteY63" fmla="*/ 901153 h 901154"/>
                  <a:gd name="connsiteX64" fmla="*/ 185400 w 2441576"/>
                  <a:gd name="connsiteY64" fmla="*/ 901153 h 901154"/>
                  <a:gd name="connsiteX65" fmla="*/ 94270 w 2441576"/>
                  <a:gd name="connsiteY65" fmla="*/ 901153 h 901154"/>
                  <a:gd name="connsiteX66" fmla="*/ 0 w 2441576"/>
                  <a:gd name="connsiteY66" fmla="*/ 901153 h 901154"/>
                  <a:gd name="connsiteX67" fmla="*/ 0 w 2441576"/>
                  <a:gd name="connsiteY67" fmla="*/ 832545 h 901154"/>
                  <a:gd name="connsiteX68" fmla="*/ 0 w 2441576"/>
                  <a:gd name="connsiteY68" fmla="*/ 760507 h 901154"/>
                  <a:gd name="connsiteX69" fmla="*/ 0 w 2441576"/>
                  <a:gd name="connsiteY69" fmla="*/ 691899 h 901154"/>
                  <a:gd name="connsiteX70" fmla="*/ 0 w 2441576"/>
                  <a:gd name="connsiteY70" fmla="*/ 608455 h 901154"/>
                  <a:gd name="connsiteX71" fmla="*/ 0 w 2441576"/>
                  <a:gd name="connsiteY71" fmla="*/ 539847 h 901154"/>
                  <a:gd name="connsiteX72" fmla="*/ 0 w 2441576"/>
                  <a:gd name="connsiteY72" fmla="*/ 456403 h 901154"/>
                  <a:gd name="connsiteX73" fmla="*/ 0 w 2441576"/>
                  <a:gd name="connsiteY73" fmla="*/ 387795 h 901154"/>
                  <a:gd name="connsiteX74" fmla="*/ 0 w 2441576"/>
                  <a:gd name="connsiteY74" fmla="*/ 304351 h 901154"/>
                  <a:gd name="connsiteX75" fmla="*/ 0 w 2441576"/>
                  <a:gd name="connsiteY75" fmla="*/ 235743 h 901154"/>
                  <a:gd name="connsiteX76" fmla="*/ 0 w 2441576"/>
                  <a:gd name="connsiteY76" fmla="*/ 152299 h 901154"/>
                  <a:gd name="connsiteX77" fmla="*/ 0 w 2441576"/>
                  <a:gd name="connsiteY77" fmla="*/ 83691 h 901154"/>
                  <a:gd name="connsiteX78" fmla="*/ 0 w 2441576"/>
                  <a:gd name="connsiteY78" fmla="*/ 247 h 901154"/>
                  <a:gd name="connsiteX0" fmla="*/ 0 w 2441576"/>
                  <a:gd name="connsiteY0" fmla="*/ 247 h 901154"/>
                  <a:gd name="connsiteX1" fmla="*/ 94270 w 2441576"/>
                  <a:gd name="connsiteY1" fmla="*/ 247 h 901154"/>
                  <a:gd name="connsiteX2" fmla="*/ 185400 w 2441576"/>
                  <a:gd name="connsiteY2" fmla="*/ 247 h 901154"/>
                  <a:gd name="connsiteX3" fmla="*/ 188541 w 2441576"/>
                  <a:gd name="connsiteY3" fmla="*/ 247 h 901154"/>
                  <a:gd name="connsiteX4" fmla="*/ 282811 w 2441576"/>
                  <a:gd name="connsiteY4" fmla="*/ 247 h 901154"/>
                  <a:gd name="connsiteX5" fmla="*/ 377080 w 2441576"/>
                  <a:gd name="connsiteY5" fmla="*/ 247 h 901154"/>
                  <a:gd name="connsiteX6" fmla="*/ 470246 w 2441576"/>
                  <a:gd name="connsiteY6" fmla="*/ 247 h 901154"/>
                  <a:gd name="connsiteX7" fmla="*/ 471351 w 2441576"/>
                  <a:gd name="connsiteY7" fmla="*/ 247 h 901154"/>
                  <a:gd name="connsiteX8" fmla="*/ 581332 w 2441576"/>
                  <a:gd name="connsiteY8" fmla="*/ 247 h 901154"/>
                  <a:gd name="connsiteX9" fmla="*/ 685028 w 2441576"/>
                  <a:gd name="connsiteY9" fmla="*/ 247 h 901154"/>
                  <a:gd name="connsiteX10" fmla="*/ 755093 w 2441576"/>
                  <a:gd name="connsiteY10" fmla="*/ 247 h 901154"/>
                  <a:gd name="connsiteX11" fmla="*/ 860129 w 2441576"/>
                  <a:gd name="connsiteY11" fmla="*/ 1 h 901154"/>
                  <a:gd name="connsiteX12" fmla="*/ 969874 w 2441576"/>
                  <a:gd name="connsiteY12" fmla="*/ 247 h 901154"/>
                  <a:gd name="connsiteX13" fmla="*/ 1039939 w 2441576"/>
                  <a:gd name="connsiteY13" fmla="*/ 247 h 901154"/>
                  <a:gd name="connsiteX14" fmla="*/ 1146839 w 2441576"/>
                  <a:gd name="connsiteY14" fmla="*/ 1 h 901154"/>
                  <a:gd name="connsiteX15" fmla="*/ 1254721 w 2441576"/>
                  <a:gd name="connsiteY15" fmla="*/ 247 h 901154"/>
                  <a:gd name="connsiteX16" fmla="*/ 1324785 w 2441576"/>
                  <a:gd name="connsiteY16" fmla="*/ 247 h 901154"/>
                  <a:gd name="connsiteX17" fmla="*/ 1430031 w 2441576"/>
                  <a:gd name="connsiteY17" fmla="*/ 0 h 901154"/>
                  <a:gd name="connsiteX18" fmla="*/ 1539566 w 2441576"/>
                  <a:gd name="connsiteY18" fmla="*/ 247 h 901154"/>
                  <a:gd name="connsiteX19" fmla="*/ 1609632 w 2441576"/>
                  <a:gd name="connsiteY19" fmla="*/ 247 h 901154"/>
                  <a:gd name="connsiteX20" fmla="*/ 1707946 w 2441576"/>
                  <a:gd name="connsiteY20" fmla="*/ 1 h 901154"/>
                  <a:gd name="connsiteX21" fmla="*/ 1824412 w 2441576"/>
                  <a:gd name="connsiteY21" fmla="*/ 247 h 901154"/>
                  <a:gd name="connsiteX22" fmla="*/ 1941949 w 2441576"/>
                  <a:gd name="connsiteY22" fmla="*/ 247 h 901154"/>
                  <a:gd name="connsiteX23" fmla="*/ 2094866 w 2441576"/>
                  <a:gd name="connsiteY23" fmla="*/ 247 h 901154"/>
                  <a:gd name="connsiteX24" fmla="*/ 2176781 w 2441576"/>
                  <a:gd name="connsiteY24" fmla="*/ 247 h 901154"/>
                  <a:gd name="connsiteX25" fmla="*/ 2258696 w 2441576"/>
                  <a:gd name="connsiteY25" fmla="*/ 247 h 901154"/>
                  <a:gd name="connsiteX26" fmla="*/ 2321561 w 2441576"/>
                  <a:gd name="connsiteY26" fmla="*/ 247 h 901154"/>
                  <a:gd name="connsiteX27" fmla="*/ 2441576 w 2441576"/>
                  <a:gd name="connsiteY27" fmla="*/ 247 h 901154"/>
                  <a:gd name="connsiteX28" fmla="*/ 2441576 w 2441576"/>
                  <a:gd name="connsiteY28" fmla="*/ 83691 h 901154"/>
                  <a:gd name="connsiteX29" fmla="*/ 2441576 w 2441576"/>
                  <a:gd name="connsiteY29" fmla="*/ 152299 h 901154"/>
                  <a:gd name="connsiteX30" fmla="*/ 2441576 w 2441576"/>
                  <a:gd name="connsiteY30" fmla="*/ 235743 h 901154"/>
                  <a:gd name="connsiteX31" fmla="*/ 2441576 w 2441576"/>
                  <a:gd name="connsiteY31" fmla="*/ 304351 h 901154"/>
                  <a:gd name="connsiteX32" fmla="*/ 2441576 w 2441576"/>
                  <a:gd name="connsiteY32" fmla="*/ 387795 h 901154"/>
                  <a:gd name="connsiteX33" fmla="*/ 2441576 w 2441576"/>
                  <a:gd name="connsiteY33" fmla="*/ 456403 h 901154"/>
                  <a:gd name="connsiteX34" fmla="*/ 2441576 w 2441576"/>
                  <a:gd name="connsiteY34" fmla="*/ 539847 h 901154"/>
                  <a:gd name="connsiteX35" fmla="*/ 2441576 w 2441576"/>
                  <a:gd name="connsiteY35" fmla="*/ 608455 h 901154"/>
                  <a:gd name="connsiteX36" fmla="*/ 2441576 w 2441576"/>
                  <a:gd name="connsiteY36" fmla="*/ 691899 h 901154"/>
                  <a:gd name="connsiteX37" fmla="*/ 2441576 w 2441576"/>
                  <a:gd name="connsiteY37" fmla="*/ 760507 h 901154"/>
                  <a:gd name="connsiteX38" fmla="*/ 2441576 w 2441576"/>
                  <a:gd name="connsiteY38" fmla="*/ 832545 h 901154"/>
                  <a:gd name="connsiteX39" fmla="*/ 2441576 w 2441576"/>
                  <a:gd name="connsiteY39" fmla="*/ 901153 h 901154"/>
                  <a:gd name="connsiteX40" fmla="*/ 2321561 w 2441576"/>
                  <a:gd name="connsiteY40" fmla="*/ 901153 h 901154"/>
                  <a:gd name="connsiteX41" fmla="*/ 2239646 w 2441576"/>
                  <a:gd name="connsiteY41" fmla="*/ 901153 h 901154"/>
                  <a:gd name="connsiteX42" fmla="*/ 2176781 w 2441576"/>
                  <a:gd name="connsiteY42" fmla="*/ 901153 h 901154"/>
                  <a:gd name="connsiteX43" fmla="*/ 2109259 w 2441576"/>
                  <a:gd name="connsiteY43" fmla="*/ 901153 h 901154"/>
                  <a:gd name="connsiteX44" fmla="*/ 2025730 w 2441576"/>
                  <a:gd name="connsiteY44" fmla="*/ 901153 h 901154"/>
                  <a:gd name="connsiteX45" fmla="*/ 1941949 w 2441576"/>
                  <a:gd name="connsiteY45" fmla="*/ 901153 h 901154"/>
                  <a:gd name="connsiteX46" fmla="*/ 1824412 w 2441576"/>
                  <a:gd name="connsiteY46" fmla="*/ 901153 h 901154"/>
                  <a:gd name="connsiteX47" fmla="*/ 1720844 w 2441576"/>
                  <a:gd name="connsiteY47" fmla="*/ 901153 h 901154"/>
                  <a:gd name="connsiteX48" fmla="*/ 1609632 w 2441576"/>
                  <a:gd name="connsiteY48" fmla="*/ 901153 h 901154"/>
                  <a:gd name="connsiteX49" fmla="*/ 1539566 w 2441576"/>
                  <a:gd name="connsiteY49" fmla="*/ 901153 h 901154"/>
                  <a:gd name="connsiteX50" fmla="*/ 1427685 w 2441576"/>
                  <a:gd name="connsiteY50" fmla="*/ 901153 h 901154"/>
                  <a:gd name="connsiteX51" fmla="*/ 1324785 w 2441576"/>
                  <a:gd name="connsiteY51" fmla="*/ 901153 h 901154"/>
                  <a:gd name="connsiteX52" fmla="*/ 1254721 w 2441576"/>
                  <a:gd name="connsiteY52" fmla="*/ 901153 h 901154"/>
                  <a:gd name="connsiteX53" fmla="*/ 1146253 w 2441576"/>
                  <a:gd name="connsiteY53" fmla="*/ 901153 h 901154"/>
                  <a:gd name="connsiteX54" fmla="*/ 1039939 w 2441576"/>
                  <a:gd name="connsiteY54" fmla="*/ 901153 h 901154"/>
                  <a:gd name="connsiteX55" fmla="*/ 969874 w 2441576"/>
                  <a:gd name="connsiteY55" fmla="*/ 901153 h 901154"/>
                  <a:gd name="connsiteX56" fmla="*/ 864820 w 2441576"/>
                  <a:gd name="connsiteY56" fmla="*/ 901154 h 901154"/>
                  <a:gd name="connsiteX57" fmla="*/ 755093 w 2441576"/>
                  <a:gd name="connsiteY57" fmla="*/ 901153 h 901154"/>
                  <a:gd name="connsiteX58" fmla="*/ 685028 w 2441576"/>
                  <a:gd name="connsiteY58" fmla="*/ 901153 h 901154"/>
                  <a:gd name="connsiteX59" fmla="*/ 581332 w 2441576"/>
                  <a:gd name="connsiteY59" fmla="*/ 901153 h 901154"/>
                  <a:gd name="connsiteX60" fmla="*/ 471351 w 2441576"/>
                  <a:gd name="connsiteY60" fmla="*/ 901153 h 901154"/>
                  <a:gd name="connsiteX61" fmla="*/ 470246 w 2441576"/>
                  <a:gd name="connsiteY61" fmla="*/ 901153 h 901154"/>
                  <a:gd name="connsiteX62" fmla="*/ 377080 w 2441576"/>
                  <a:gd name="connsiteY62" fmla="*/ 901153 h 901154"/>
                  <a:gd name="connsiteX63" fmla="*/ 282811 w 2441576"/>
                  <a:gd name="connsiteY63" fmla="*/ 901153 h 901154"/>
                  <a:gd name="connsiteX64" fmla="*/ 188541 w 2441576"/>
                  <a:gd name="connsiteY64" fmla="*/ 901153 h 901154"/>
                  <a:gd name="connsiteX65" fmla="*/ 185400 w 2441576"/>
                  <a:gd name="connsiteY65" fmla="*/ 901153 h 901154"/>
                  <a:gd name="connsiteX66" fmla="*/ 94270 w 2441576"/>
                  <a:gd name="connsiteY66" fmla="*/ 901153 h 901154"/>
                  <a:gd name="connsiteX67" fmla="*/ 0 w 2441576"/>
                  <a:gd name="connsiteY67" fmla="*/ 901153 h 901154"/>
                  <a:gd name="connsiteX68" fmla="*/ 0 w 2441576"/>
                  <a:gd name="connsiteY68" fmla="*/ 832545 h 901154"/>
                  <a:gd name="connsiteX69" fmla="*/ 0 w 2441576"/>
                  <a:gd name="connsiteY69" fmla="*/ 760507 h 901154"/>
                  <a:gd name="connsiteX70" fmla="*/ 0 w 2441576"/>
                  <a:gd name="connsiteY70" fmla="*/ 691899 h 901154"/>
                  <a:gd name="connsiteX71" fmla="*/ 0 w 2441576"/>
                  <a:gd name="connsiteY71" fmla="*/ 608455 h 901154"/>
                  <a:gd name="connsiteX72" fmla="*/ 0 w 2441576"/>
                  <a:gd name="connsiteY72" fmla="*/ 539847 h 901154"/>
                  <a:gd name="connsiteX73" fmla="*/ 0 w 2441576"/>
                  <a:gd name="connsiteY73" fmla="*/ 456403 h 901154"/>
                  <a:gd name="connsiteX74" fmla="*/ 0 w 2441576"/>
                  <a:gd name="connsiteY74" fmla="*/ 387795 h 901154"/>
                  <a:gd name="connsiteX75" fmla="*/ 0 w 2441576"/>
                  <a:gd name="connsiteY75" fmla="*/ 304351 h 901154"/>
                  <a:gd name="connsiteX76" fmla="*/ 0 w 2441576"/>
                  <a:gd name="connsiteY76" fmla="*/ 235743 h 901154"/>
                  <a:gd name="connsiteX77" fmla="*/ 0 w 2441576"/>
                  <a:gd name="connsiteY77" fmla="*/ 152299 h 901154"/>
                  <a:gd name="connsiteX78" fmla="*/ 0 w 2441576"/>
                  <a:gd name="connsiteY78" fmla="*/ 83691 h 901154"/>
                  <a:gd name="connsiteX79" fmla="*/ 0 w 2441576"/>
                  <a:gd name="connsiteY79" fmla="*/ 247 h 901154"/>
                  <a:gd name="connsiteX0" fmla="*/ 0 w 2441576"/>
                  <a:gd name="connsiteY0" fmla="*/ 247 h 901154"/>
                  <a:gd name="connsiteX1" fmla="*/ 94270 w 2441576"/>
                  <a:gd name="connsiteY1" fmla="*/ 247 h 901154"/>
                  <a:gd name="connsiteX2" fmla="*/ 185400 w 2441576"/>
                  <a:gd name="connsiteY2" fmla="*/ 247 h 901154"/>
                  <a:gd name="connsiteX3" fmla="*/ 188541 w 2441576"/>
                  <a:gd name="connsiteY3" fmla="*/ 247 h 901154"/>
                  <a:gd name="connsiteX4" fmla="*/ 282811 w 2441576"/>
                  <a:gd name="connsiteY4" fmla="*/ 247 h 901154"/>
                  <a:gd name="connsiteX5" fmla="*/ 377080 w 2441576"/>
                  <a:gd name="connsiteY5" fmla="*/ 247 h 901154"/>
                  <a:gd name="connsiteX6" fmla="*/ 470246 w 2441576"/>
                  <a:gd name="connsiteY6" fmla="*/ 247 h 901154"/>
                  <a:gd name="connsiteX7" fmla="*/ 581332 w 2441576"/>
                  <a:gd name="connsiteY7" fmla="*/ 247 h 901154"/>
                  <a:gd name="connsiteX8" fmla="*/ 685028 w 2441576"/>
                  <a:gd name="connsiteY8" fmla="*/ 247 h 901154"/>
                  <a:gd name="connsiteX9" fmla="*/ 755093 w 2441576"/>
                  <a:gd name="connsiteY9" fmla="*/ 247 h 901154"/>
                  <a:gd name="connsiteX10" fmla="*/ 860129 w 2441576"/>
                  <a:gd name="connsiteY10" fmla="*/ 1 h 901154"/>
                  <a:gd name="connsiteX11" fmla="*/ 969874 w 2441576"/>
                  <a:gd name="connsiteY11" fmla="*/ 247 h 901154"/>
                  <a:gd name="connsiteX12" fmla="*/ 1039939 w 2441576"/>
                  <a:gd name="connsiteY12" fmla="*/ 247 h 901154"/>
                  <a:gd name="connsiteX13" fmla="*/ 1146839 w 2441576"/>
                  <a:gd name="connsiteY13" fmla="*/ 1 h 901154"/>
                  <a:gd name="connsiteX14" fmla="*/ 1254721 w 2441576"/>
                  <a:gd name="connsiteY14" fmla="*/ 247 h 901154"/>
                  <a:gd name="connsiteX15" fmla="*/ 1324785 w 2441576"/>
                  <a:gd name="connsiteY15" fmla="*/ 247 h 901154"/>
                  <a:gd name="connsiteX16" fmla="*/ 1430031 w 2441576"/>
                  <a:gd name="connsiteY16" fmla="*/ 0 h 901154"/>
                  <a:gd name="connsiteX17" fmla="*/ 1539566 w 2441576"/>
                  <a:gd name="connsiteY17" fmla="*/ 247 h 901154"/>
                  <a:gd name="connsiteX18" fmla="*/ 1609632 w 2441576"/>
                  <a:gd name="connsiteY18" fmla="*/ 247 h 901154"/>
                  <a:gd name="connsiteX19" fmla="*/ 1707946 w 2441576"/>
                  <a:gd name="connsiteY19" fmla="*/ 1 h 901154"/>
                  <a:gd name="connsiteX20" fmla="*/ 1824412 w 2441576"/>
                  <a:gd name="connsiteY20" fmla="*/ 247 h 901154"/>
                  <a:gd name="connsiteX21" fmla="*/ 1941949 w 2441576"/>
                  <a:gd name="connsiteY21" fmla="*/ 247 h 901154"/>
                  <a:gd name="connsiteX22" fmla="*/ 2094866 w 2441576"/>
                  <a:gd name="connsiteY22" fmla="*/ 247 h 901154"/>
                  <a:gd name="connsiteX23" fmla="*/ 2176781 w 2441576"/>
                  <a:gd name="connsiteY23" fmla="*/ 247 h 901154"/>
                  <a:gd name="connsiteX24" fmla="*/ 2258696 w 2441576"/>
                  <a:gd name="connsiteY24" fmla="*/ 247 h 901154"/>
                  <a:gd name="connsiteX25" fmla="*/ 2321561 w 2441576"/>
                  <a:gd name="connsiteY25" fmla="*/ 247 h 901154"/>
                  <a:gd name="connsiteX26" fmla="*/ 2441576 w 2441576"/>
                  <a:gd name="connsiteY26" fmla="*/ 247 h 901154"/>
                  <a:gd name="connsiteX27" fmla="*/ 2441576 w 2441576"/>
                  <a:gd name="connsiteY27" fmla="*/ 83691 h 901154"/>
                  <a:gd name="connsiteX28" fmla="*/ 2441576 w 2441576"/>
                  <a:gd name="connsiteY28" fmla="*/ 152299 h 901154"/>
                  <a:gd name="connsiteX29" fmla="*/ 2441576 w 2441576"/>
                  <a:gd name="connsiteY29" fmla="*/ 235743 h 901154"/>
                  <a:gd name="connsiteX30" fmla="*/ 2441576 w 2441576"/>
                  <a:gd name="connsiteY30" fmla="*/ 304351 h 901154"/>
                  <a:gd name="connsiteX31" fmla="*/ 2441576 w 2441576"/>
                  <a:gd name="connsiteY31" fmla="*/ 387795 h 901154"/>
                  <a:gd name="connsiteX32" fmla="*/ 2441576 w 2441576"/>
                  <a:gd name="connsiteY32" fmla="*/ 456403 h 901154"/>
                  <a:gd name="connsiteX33" fmla="*/ 2441576 w 2441576"/>
                  <a:gd name="connsiteY33" fmla="*/ 539847 h 901154"/>
                  <a:gd name="connsiteX34" fmla="*/ 2441576 w 2441576"/>
                  <a:gd name="connsiteY34" fmla="*/ 608455 h 901154"/>
                  <a:gd name="connsiteX35" fmla="*/ 2441576 w 2441576"/>
                  <a:gd name="connsiteY35" fmla="*/ 691899 h 901154"/>
                  <a:gd name="connsiteX36" fmla="*/ 2441576 w 2441576"/>
                  <a:gd name="connsiteY36" fmla="*/ 760507 h 901154"/>
                  <a:gd name="connsiteX37" fmla="*/ 2441576 w 2441576"/>
                  <a:gd name="connsiteY37" fmla="*/ 832545 h 901154"/>
                  <a:gd name="connsiteX38" fmla="*/ 2441576 w 2441576"/>
                  <a:gd name="connsiteY38" fmla="*/ 901153 h 901154"/>
                  <a:gd name="connsiteX39" fmla="*/ 2321561 w 2441576"/>
                  <a:gd name="connsiteY39" fmla="*/ 901153 h 901154"/>
                  <a:gd name="connsiteX40" fmla="*/ 2239646 w 2441576"/>
                  <a:gd name="connsiteY40" fmla="*/ 901153 h 901154"/>
                  <a:gd name="connsiteX41" fmla="*/ 2176781 w 2441576"/>
                  <a:gd name="connsiteY41" fmla="*/ 901153 h 901154"/>
                  <a:gd name="connsiteX42" fmla="*/ 2109259 w 2441576"/>
                  <a:gd name="connsiteY42" fmla="*/ 901153 h 901154"/>
                  <a:gd name="connsiteX43" fmla="*/ 2025730 w 2441576"/>
                  <a:gd name="connsiteY43" fmla="*/ 901153 h 901154"/>
                  <a:gd name="connsiteX44" fmla="*/ 1941949 w 2441576"/>
                  <a:gd name="connsiteY44" fmla="*/ 901153 h 901154"/>
                  <a:gd name="connsiteX45" fmla="*/ 1824412 w 2441576"/>
                  <a:gd name="connsiteY45" fmla="*/ 901153 h 901154"/>
                  <a:gd name="connsiteX46" fmla="*/ 1720844 w 2441576"/>
                  <a:gd name="connsiteY46" fmla="*/ 901153 h 901154"/>
                  <a:gd name="connsiteX47" fmla="*/ 1609632 w 2441576"/>
                  <a:gd name="connsiteY47" fmla="*/ 901153 h 901154"/>
                  <a:gd name="connsiteX48" fmla="*/ 1539566 w 2441576"/>
                  <a:gd name="connsiteY48" fmla="*/ 901153 h 901154"/>
                  <a:gd name="connsiteX49" fmla="*/ 1427685 w 2441576"/>
                  <a:gd name="connsiteY49" fmla="*/ 901153 h 901154"/>
                  <a:gd name="connsiteX50" fmla="*/ 1324785 w 2441576"/>
                  <a:gd name="connsiteY50" fmla="*/ 901153 h 901154"/>
                  <a:gd name="connsiteX51" fmla="*/ 1254721 w 2441576"/>
                  <a:gd name="connsiteY51" fmla="*/ 901153 h 901154"/>
                  <a:gd name="connsiteX52" fmla="*/ 1146253 w 2441576"/>
                  <a:gd name="connsiteY52" fmla="*/ 901153 h 901154"/>
                  <a:gd name="connsiteX53" fmla="*/ 1039939 w 2441576"/>
                  <a:gd name="connsiteY53" fmla="*/ 901153 h 901154"/>
                  <a:gd name="connsiteX54" fmla="*/ 969874 w 2441576"/>
                  <a:gd name="connsiteY54" fmla="*/ 901153 h 901154"/>
                  <a:gd name="connsiteX55" fmla="*/ 864820 w 2441576"/>
                  <a:gd name="connsiteY55" fmla="*/ 901154 h 901154"/>
                  <a:gd name="connsiteX56" fmla="*/ 755093 w 2441576"/>
                  <a:gd name="connsiteY56" fmla="*/ 901153 h 901154"/>
                  <a:gd name="connsiteX57" fmla="*/ 685028 w 2441576"/>
                  <a:gd name="connsiteY57" fmla="*/ 901153 h 901154"/>
                  <a:gd name="connsiteX58" fmla="*/ 581332 w 2441576"/>
                  <a:gd name="connsiteY58" fmla="*/ 901153 h 901154"/>
                  <a:gd name="connsiteX59" fmla="*/ 471351 w 2441576"/>
                  <a:gd name="connsiteY59" fmla="*/ 901153 h 901154"/>
                  <a:gd name="connsiteX60" fmla="*/ 470246 w 2441576"/>
                  <a:gd name="connsiteY60" fmla="*/ 901153 h 901154"/>
                  <a:gd name="connsiteX61" fmla="*/ 377080 w 2441576"/>
                  <a:gd name="connsiteY61" fmla="*/ 901153 h 901154"/>
                  <a:gd name="connsiteX62" fmla="*/ 282811 w 2441576"/>
                  <a:gd name="connsiteY62" fmla="*/ 901153 h 901154"/>
                  <a:gd name="connsiteX63" fmla="*/ 188541 w 2441576"/>
                  <a:gd name="connsiteY63" fmla="*/ 901153 h 901154"/>
                  <a:gd name="connsiteX64" fmla="*/ 185400 w 2441576"/>
                  <a:gd name="connsiteY64" fmla="*/ 901153 h 901154"/>
                  <a:gd name="connsiteX65" fmla="*/ 94270 w 2441576"/>
                  <a:gd name="connsiteY65" fmla="*/ 901153 h 901154"/>
                  <a:gd name="connsiteX66" fmla="*/ 0 w 2441576"/>
                  <a:gd name="connsiteY66" fmla="*/ 901153 h 901154"/>
                  <a:gd name="connsiteX67" fmla="*/ 0 w 2441576"/>
                  <a:gd name="connsiteY67" fmla="*/ 832545 h 901154"/>
                  <a:gd name="connsiteX68" fmla="*/ 0 w 2441576"/>
                  <a:gd name="connsiteY68" fmla="*/ 760507 h 901154"/>
                  <a:gd name="connsiteX69" fmla="*/ 0 w 2441576"/>
                  <a:gd name="connsiteY69" fmla="*/ 691899 h 901154"/>
                  <a:gd name="connsiteX70" fmla="*/ 0 w 2441576"/>
                  <a:gd name="connsiteY70" fmla="*/ 608455 h 901154"/>
                  <a:gd name="connsiteX71" fmla="*/ 0 w 2441576"/>
                  <a:gd name="connsiteY71" fmla="*/ 539847 h 901154"/>
                  <a:gd name="connsiteX72" fmla="*/ 0 w 2441576"/>
                  <a:gd name="connsiteY72" fmla="*/ 456403 h 901154"/>
                  <a:gd name="connsiteX73" fmla="*/ 0 w 2441576"/>
                  <a:gd name="connsiteY73" fmla="*/ 387795 h 901154"/>
                  <a:gd name="connsiteX74" fmla="*/ 0 w 2441576"/>
                  <a:gd name="connsiteY74" fmla="*/ 304351 h 901154"/>
                  <a:gd name="connsiteX75" fmla="*/ 0 w 2441576"/>
                  <a:gd name="connsiteY75" fmla="*/ 235743 h 901154"/>
                  <a:gd name="connsiteX76" fmla="*/ 0 w 2441576"/>
                  <a:gd name="connsiteY76" fmla="*/ 152299 h 901154"/>
                  <a:gd name="connsiteX77" fmla="*/ 0 w 2441576"/>
                  <a:gd name="connsiteY77" fmla="*/ 83691 h 901154"/>
                  <a:gd name="connsiteX78" fmla="*/ 0 w 2441576"/>
                  <a:gd name="connsiteY78" fmla="*/ 247 h 901154"/>
                  <a:gd name="connsiteX0" fmla="*/ 0 w 2441576"/>
                  <a:gd name="connsiteY0" fmla="*/ 247 h 901154"/>
                  <a:gd name="connsiteX1" fmla="*/ 94270 w 2441576"/>
                  <a:gd name="connsiteY1" fmla="*/ 247 h 901154"/>
                  <a:gd name="connsiteX2" fmla="*/ 185400 w 2441576"/>
                  <a:gd name="connsiteY2" fmla="*/ 247 h 901154"/>
                  <a:gd name="connsiteX3" fmla="*/ 282811 w 2441576"/>
                  <a:gd name="connsiteY3" fmla="*/ 247 h 901154"/>
                  <a:gd name="connsiteX4" fmla="*/ 377080 w 2441576"/>
                  <a:gd name="connsiteY4" fmla="*/ 247 h 901154"/>
                  <a:gd name="connsiteX5" fmla="*/ 470246 w 2441576"/>
                  <a:gd name="connsiteY5" fmla="*/ 247 h 901154"/>
                  <a:gd name="connsiteX6" fmla="*/ 581332 w 2441576"/>
                  <a:gd name="connsiteY6" fmla="*/ 247 h 901154"/>
                  <a:gd name="connsiteX7" fmla="*/ 685028 w 2441576"/>
                  <a:gd name="connsiteY7" fmla="*/ 247 h 901154"/>
                  <a:gd name="connsiteX8" fmla="*/ 755093 w 2441576"/>
                  <a:gd name="connsiteY8" fmla="*/ 247 h 901154"/>
                  <a:gd name="connsiteX9" fmla="*/ 860129 w 2441576"/>
                  <a:gd name="connsiteY9" fmla="*/ 1 h 901154"/>
                  <a:gd name="connsiteX10" fmla="*/ 969874 w 2441576"/>
                  <a:gd name="connsiteY10" fmla="*/ 247 h 901154"/>
                  <a:gd name="connsiteX11" fmla="*/ 1039939 w 2441576"/>
                  <a:gd name="connsiteY11" fmla="*/ 247 h 901154"/>
                  <a:gd name="connsiteX12" fmla="*/ 1146839 w 2441576"/>
                  <a:gd name="connsiteY12" fmla="*/ 1 h 901154"/>
                  <a:gd name="connsiteX13" fmla="*/ 1254721 w 2441576"/>
                  <a:gd name="connsiteY13" fmla="*/ 247 h 901154"/>
                  <a:gd name="connsiteX14" fmla="*/ 1324785 w 2441576"/>
                  <a:gd name="connsiteY14" fmla="*/ 247 h 901154"/>
                  <a:gd name="connsiteX15" fmla="*/ 1430031 w 2441576"/>
                  <a:gd name="connsiteY15" fmla="*/ 0 h 901154"/>
                  <a:gd name="connsiteX16" fmla="*/ 1539566 w 2441576"/>
                  <a:gd name="connsiteY16" fmla="*/ 247 h 901154"/>
                  <a:gd name="connsiteX17" fmla="*/ 1609632 w 2441576"/>
                  <a:gd name="connsiteY17" fmla="*/ 247 h 901154"/>
                  <a:gd name="connsiteX18" fmla="*/ 1707946 w 2441576"/>
                  <a:gd name="connsiteY18" fmla="*/ 1 h 901154"/>
                  <a:gd name="connsiteX19" fmla="*/ 1824412 w 2441576"/>
                  <a:gd name="connsiteY19" fmla="*/ 247 h 901154"/>
                  <a:gd name="connsiteX20" fmla="*/ 1941949 w 2441576"/>
                  <a:gd name="connsiteY20" fmla="*/ 247 h 901154"/>
                  <a:gd name="connsiteX21" fmla="*/ 2094866 w 2441576"/>
                  <a:gd name="connsiteY21" fmla="*/ 247 h 901154"/>
                  <a:gd name="connsiteX22" fmla="*/ 2176781 w 2441576"/>
                  <a:gd name="connsiteY22" fmla="*/ 247 h 901154"/>
                  <a:gd name="connsiteX23" fmla="*/ 2258696 w 2441576"/>
                  <a:gd name="connsiteY23" fmla="*/ 247 h 901154"/>
                  <a:gd name="connsiteX24" fmla="*/ 2321561 w 2441576"/>
                  <a:gd name="connsiteY24" fmla="*/ 247 h 901154"/>
                  <a:gd name="connsiteX25" fmla="*/ 2441576 w 2441576"/>
                  <a:gd name="connsiteY25" fmla="*/ 247 h 901154"/>
                  <a:gd name="connsiteX26" fmla="*/ 2441576 w 2441576"/>
                  <a:gd name="connsiteY26" fmla="*/ 83691 h 901154"/>
                  <a:gd name="connsiteX27" fmla="*/ 2441576 w 2441576"/>
                  <a:gd name="connsiteY27" fmla="*/ 152299 h 901154"/>
                  <a:gd name="connsiteX28" fmla="*/ 2441576 w 2441576"/>
                  <a:gd name="connsiteY28" fmla="*/ 235743 h 901154"/>
                  <a:gd name="connsiteX29" fmla="*/ 2441576 w 2441576"/>
                  <a:gd name="connsiteY29" fmla="*/ 304351 h 901154"/>
                  <a:gd name="connsiteX30" fmla="*/ 2441576 w 2441576"/>
                  <a:gd name="connsiteY30" fmla="*/ 387795 h 901154"/>
                  <a:gd name="connsiteX31" fmla="*/ 2441576 w 2441576"/>
                  <a:gd name="connsiteY31" fmla="*/ 456403 h 901154"/>
                  <a:gd name="connsiteX32" fmla="*/ 2441576 w 2441576"/>
                  <a:gd name="connsiteY32" fmla="*/ 539847 h 901154"/>
                  <a:gd name="connsiteX33" fmla="*/ 2441576 w 2441576"/>
                  <a:gd name="connsiteY33" fmla="*/ 608455 h 901154"/>
                  <a:gd name="connsiteX34" fmla="*/ 2441576 w 2441576"/>
                  <a:gd name="connsiteY34" fmla="*/ 691899 h 901154"/>
                  <a:gd name="connsiteX35" fmla="*/ 2441576 w 2441576"/>
                  <a:gd name="connsiteY35" fmla="*/ 760507 h 901154"/>
                  <a:gd name="connsiteX36" fmla="*/ 2441576 w 2441576"/>
                  <a:gd name="connsiteY36" fmla="*/ 832545 h 901154"/>
                  <a:gd name="connsiteX37" fmla="*/ 2441576 w 2441576"/>
                  <a:gd name="connsiteY37" fmla="*/ 901153 h 901154"/>
                  <a:gd name="connsiteX38" fmla="*/ 2321561 w 2441576"/>
                  <a:gd name="connsiteY38" fmla="*/ 901153 h 901154"/>
                  <a:gd name="connsiteX39" fmla="*/ 2239646 w 2441576"/>
                  <a:gd name="connsiteY39" fmla="*/ 901153 h 901154"/>
                  <a:gd name="connsiteX40" fmla="*/ 2176781 w 2441576"/>
                  <a:gd name="connsiteY40" fmla="*/ 901153 h 901154"/>
                  <a:gd name="connsiteX41" fmla="*/ 2109259 w 2441576"/>
                  <a:gd name="connsiteY41" fmla="*/ 901153 h 901154"/>
                  <a:gd name="connsiteX42" fmla="*/ 2025730 w 2441576"/>
                  <a:gd name="connsiteY42" fmla="*/ 901153 h 901154"/>
                  <a:gd name="connsiteX43" fmla="*/ 1941949 w 2441576"/>
                  <a:gd name="connsiteY43" fmla="*/ 901153 h 901154"/>
                  <a:gd name="connsiteX44" fmla="*/ 1824412 w 2441576"/>
                  <a:gd name="connsiteY44" fmla="*/ 901153 h 901154"/>
                  <a:gd name="connsiteX45" fmla="*/ 1720844 w 2441576"/>
                  <a:gd name="connsiteY45" fmla="*/ 901153 h 901154"/>
                  <a:gd name="connsiteX46" fmla="*/ 1609632 w 2441576"/>
                  <a:gd name="connsiteY46" fmla="*/ 901153 h 901154"/>
                  <a:gd name="connsiteX47" fmla="*/ 1539566 w 2441576"/>
                  <a:gd name="connsiteY47" fmla="*/ 901153 h 901154"/>
                  <a:gd name="connsiteX48" fmla="*/ 1427685 w 2441576"/>
                  <a:gd name="connsiteY48" fmla="*/ 901153 h 901154"/>
                  <a:gd name="connsiteX49" fmla="*/ 1324785 w 2441576"/>
                  <a:gd name="connsiteY49" fmla="*/ 901153 h 901154"/>
                  <a:gd name="connsiteX50" fmla="*/ 1254721 w 2441576"/>
                  <a:gd name="connsiteY50" fmla="*/ 901153 h 901154"/>
                  <a:gd name="connsiteX51" fmla="*/ 1146253 w 2441576"/>
                  <a:gd name="connsiteY51" fmla="*/ 901153 h 901154"/>
                  <a:gd name="connsiteX52" fmla="*/ 1039939 w 2441576"/>
                  <a:gd name="connsiteY52" fmla="*/ 901153 h 901154"/>
                  <a:gd name="connsiteX53" fmla="*/ 969874 w 2441576"/>
                  <a:gd name="connsiteY53" fmla="*/ 901153 h 901154"/>
                  <a:gd name="connsiteX54" fmla="*/ 864820 w 2441576"/>
                  <a:gd name="connsiteY54" fmla="*/ 901154 h 901154"/>
                  <a:gd name="connsiteX55" fmla="*/ 755093 w 2441576"/>
                  <a:gd name="connsiteY55" fmla="*/ 901153 h 901154"/>
                  <a:gd name="connsiteX56" fmla="*/ 685028 w 2441576"/>
                  <a:gd name="connsiteY56" fmla="*/ 901153 h 901154"/>
                  <a:gd name="connsiteX57" fmla="*/ 581332 w 2441576"/>
                  <a:gd name="connsiteY57" fmla="*/ 901153 h 901154"/>
                  <a:gd name="connsiteX58" fmla="*/ 471351 w 2441576"/>
                  <a:gd name="connsiteY58" fmla="*/ 901153 h 901154"/>
                  <a:gd name="connsiteX59" fmla="*/ 470246 w 2441576"/>
                  <a:gd name="connsiteY59" fmla="*/ 901153 h 901154"/>
                  <a:gd name="connsiteX60" fmla="*/ 377080 w 2441576"/>
                  <a:gd name="connsiteY60" fmla="*/ 901153 h 901154"/>
                  <a:gd name="connsiteX61" fmla="*/ 282811 w 2441576"/>
                  <a:gd name="connsiteY61" fmla="*/ 901153 h 901154"/>
                  <a:gd name="connsiteX62" fmla="*/ 188541 w 2441576"/>
                  <a:gd name="connsiteY62" fmla="*/ 901153 h 901154"/>
                  <a:gd name="connsiteX63" fmla="*/ 185400 w 2441576"/>
                  <a:gd name="connsiteY63" fmla="*/ 901153 h 901154"/>
                  <a:gd name="connsiteX64" fmla="*/ 94270 w 2441576"/>
                  <a:gd name="connsiteY64" fmla="*/ 901153 h 901154"/>
                  <a:gd name="connsiteX65" fmla="*/ 0 w 2441576"/>
                  <a:gd name="connsiteY65" fmla="*/ 901153 h 901154"/>
                  <a:gd name="connsiteX66" fmla="*/ 0 w 2441576"/>
                  <a:gd name="connsiteY66" fmla="*/ 832545 h 901154"/>
                  <a:gd name="connsiteX67" fmla="*/ 0 w 2441576"/>
                  <a:gd name="connsiteY67" fmla="*/ 760507 h 901154"/>
                  <a:gd name="connsiteX68" fmla="*/ 0 w 2441576"/>
                  <a:gd name="connsiteY68" fmla="*/ 691899 h 901154"/>
                  <a:gd name="connsiteX69" fmla="*/ 0 w 2441576"/>
                  <a:gd name="connsiteY69" fmla="*/ 608455 h 901154"/>
                  <a:gd name="connsiteX70" fmla="*/ 0 w 2441576"/>
                  <a:gd name="connsiteY70" fmla="*/ 539847 h 901154"/>
                  <a:gd name="connsiteX71" fmla="*/ 0 w 2441576"/>
                  <a:gd name="connsiteY71" fmla="*/ 456403 h 901154"/>
                  <a:gd name="connsiteX72" fmla="*/ 0 w 2441576"/>
                  <a:gd name="connsiteY72" fmla="*/ 387795 h 901154"/>
                  <a:gd name="connsiteX73" fmla="*/ 0 w 2441576"/>
                  <a:gd name="connsiteY73" fmla="*/ 304351 h 901154"/>
                  <a:gd name="connsiteX74" fmla="*/ 0 w 2441576"/>
                  <a:gd name="connsiteY74" fmla="*/ 235743 h 901154"/>
                  <a:gd name="connsiteX75" fmla="*/ 0 w 2441576"/>
                  <a:gd name="connsiteY75" fmla="*/ 152299 h 901154"/>
                  <a:gd name="connsiteX76" fmla="*/ 0 w 2441576"/>
                  <a:gd name="connsiteY76" fmla="*/ 83691 h 901154"/>
                  <a:gd name="connsiteX77" fmla="*/ 0 w 2441576"/>
                  <a:gd name="connsiteY77" fmla="*/ 247 h 901154"/>
                  <a:gd name="connsiteX0" fmla="*/ 0 w 2441576"/>
                  <a:gd name="connsiteY0" fmla="*/ 247 h 901154"/>
                  <a:gd name="connsiteX1" fmla="*/ 94270 w 2441576"/>
                  <a:gd name="connsiteY1" fmla="*/ 247 h 901154"/>
                  <a:gd name="connsiteX2" fmla="*/ 185400 w 2441576"/>
                  <a:gd name="connsiteY2" fmla="*/ 247 h 901154"/>
                  <a:gd name="connsiteX3" fmla="*/ 282811 w 2441576"/>
                  <a:gd name="connsiteY3" fmla="*/ 247 h 901154"/>
                  <a:gd name="connsiteX4" fmla="*/ 377080 w 2441576"/>
                  <a:gd name="connsiteY4" fmla="*/ 247 h 901154"/>
                  <a:gd name="connsiteX5" fmla="*/ 470246 w 2441576"/>
                  <a:gd name="connsiteY5" fmla="*/ 247 h 901154"/>
                  <a:gd name="connsiteX6" fmla="*/ 581332 w 2441576"/>
                  <a:gd name="connsiteY6" fmla="*/ 247 h 901154"/>
                  <a:gd name="connsiteX7" fmla="*/ 685028 w 2441576"/>
                  <a:gd name="connsiteY7" fmla="*/ 247 h 901154"/>
                  <a:gd name="connsiteX8" fmla="*/ 755093 w 2441576"/>
                  <a:gd name="connsiteY8" fmla="*/ 247 h 901154"/>
                  <a:gd name="connsiteX9" fmla="*/ 860129 w 2441576"/>
                  <a:gd name="connsiteY9" fmla="*/ 1 h 901154"/>
                  <a:gd name="connsiteX10" fmla="*/ 969874 w 2441576"/>
                  <a:gd name="connsiteY10" fmla="*/ 247 h 901154"/>
                  <a:gd name="connsiteX11" fmla="*/ 1039939 w 2441576"/>
                  <a:gd name="connsiteY11" fmla="*/ 247 h 901154"/>
                  <a:gd name="connsiteX12" fmla="*/ 1146839 w 2441576"/>
                  <a:gd name="connsiteY12" fmla="*/ 1 h 901154"/>
                  <a:gd name="connsiteX13" fmla="*/ 1254721 w 2441576"/>
                  <a:gd name="connsiteY13" fmla="*/ 247 h 901154"/>
                  <a:gd name="connsiteX14" fmla="*/ 1324785 w 2441576"/>
                  <a:gd name="connsiteY14" fmla="*/ 247 h 901154"/>
                  <a:gd name="connsiteX15" fmla="*/ 1430031 w 2441576"/>
                  <a:gd name="connsiteY15" fmla="*/ 0 h 901154"/>
                  <a:gd name="connsiteX16" fmla="*/ 1539566 w 2441576"/>
                  <a:gd name="connsiteY16" fmla="*/ 247 h 901154"/>
                  <a:gd name="connsiteX17" fmla="*/ 1609632 w 2441576"/>
                  <a:gd name="connsiteY17" fmla="*/ 247 h 901154"/>
                  <a:gd name="connsiteX18" fmla="*/ 1707946 w 2441576"/>
                  <a:gd name="connsiteY18" fmla="*/ 1 h 901154"/>
                  <a:gd name="connsiteX19" fmla="*/ 1824412 w 2441576"/>
                  <a:gd name="connsiteY19" fmla="*/ 247 h 901154"/>
                  <a:gd name="connsiteX20" fmla="*/ 1941949 w 2441576"/>
                  <a:gd name="connsiteY20" fmla="*/ 247 h 901154"/>
                  <a:gd name="connsiteX21" fmla="*/ 2094866 w 2441576"/>
                  <a:gd name="connsiteY21" fmla="*/ 247 h 901154"/>
                  <a:gd name="connsiteX22" fmla="*/ 2176781 w 2441576"/>
                  <a:gd name="connsiteY22" fmla="*/ 247 h 901154"/>
                  <a:gd name="connsiteX23" fmla="*/ 2258696 w 2441576"/>
                  <a:gd name="connsiteY23" fmla="*/ 247 h 901154"/>
                  <a:gd name="connsiteX24" fmla="*/ 2321561 w 2441576"/>
                  <a:gd name="connsiteY24" fmla="*/ 247 h 901154"/>
                  <a:gd name="connsiteX25" fmla="*/ 2441576 w 2441576"/>
                  <a:gd name="connsiteY25" fmla="*/ 247 h 901154"/>
                  <a:gd name="connsiteX26" fmla="*/ 2441576 w 2441576"/>
                  <a:gd name="connsiteY26" fmla="*/ 83691 h 901154"/>
                  <a:gd name="connsiteX27" fmla="*/ 2441576 w 2441576"/>
                  <a:gd name="connsiteY27" fmla="*/ 152299 h 901154"/>
                  <a:gd name="connsiteX28" fmla="*/ 2441576 w 2441576"/>
                  <a:gd name="connsiteY28" fmla="*/ 235743 h 901154"/>
                  <a:gd name="connsiteX29" fmla="*/ 2441576 w 2441576"/>
                  <a:gd name="connsiteY29" fmla="*/ 304351 h 901154"/>
                  <a:gd name="connsiteX30" fmla="*/ 2441576 w 2441576"/>
                  <a:gd name="connsiteY30" fmla="*/ 387795 h 901154"/>
                  <a:gd name="connsiteX31" fmla="*/ 2441576 w 2441576"/>
                  <a:gd name="connsiteY31" fmla="*/ 456403 h 901154"/>
                  <a:gd name="connsiteX32" fmla="*/ 2441576 w 2441576"/>
                  <a:gd name="connsiteY32" fmla="*/ 539847 h 901154"/>
                  <a:gd name="connsiteX33" fmla="*/ 2441576 w 2441576"/>
                  <a:gd name="connsiteY33" fmla="*/ 608455 h 901154"/>
                  <a:gd name="connsiteX34" fmla="*/ 2441576 w 2441576"/>
                  <a:gd name="connsiteY34" fmla="*/ 691899 h 901154"/>
                  <a:gd name="connsiteX35" fmla="*/ 2441576 w 2441576"/>
                  <a:gd name="connsiteY35" fmla="*/ 760507 h 901154"/>
                  <a:gd name="connsiteX36" fmla="*/ 2441576 w 2441576"/>
                  <a:gd name="connsiteY36" fmla="*/ 832545 h 901154"/>
                  <a:gd name="connsiteX37" fmla="*/ 2441576 w 2441576"/>
                  <a:gd name="connsiteY37" fmla="*/ 901153 h 901154"/>
                  <a:gd name="connsiteX38" fmla="*/ 2321561 w 2441576"/>
                  <a:gd name="connsiteY38" fmla="*/ 901153 h 901154"/>
                  <a:gd name="connsiteX39" fmla="*/ 2239646 w 2441576"/>
                  <a:gd name="connsiteY39" fmla="*/ 901153 h 901154"/>
                  <a:gd name="connsiteX40" fmla="*/ 2176781 w 2441576"/>
                  <a:gd name="connsiteY40" fmla="*/ 901153 h 901154"/>
                  <a:gd name="connsiteX41" fmla="*/ 2109259 w 2441576"/>
                  <a:gd name="connsiteY41" fmla="*/ 901153 h 901154"/>
                  <a:gd name="connsiteX42" fmla="*/ 2025730 w 2441576"/>
                  <a:gd name="connsiteY42" fmla="*/ 901153 h 901154"/>
                  <a:gd name="connsiteX43" fmla="*/ 1941949 w 2441576"/>
                  <a:gd name="connsiteY43" fmla="*/ 901153 h 901154"/>
                  <a:gd name="connsiteX44" fmla="*/ 1824412 w 2441576"/>
                  <a:gd name="connsiteY44" fmla="*/ 901153 h 901154"/>
                  <a:gd name="connsiteX45" fmla="*/ 1720844 w 2441576"/>
                  <a:gd name="connsiteY45" fmla="*/ 901153 h 901154"/>
                  <a:gd name="connsiteX46" fmla="*/ 1609632 w 2441576"/>
                  <a:gd name="connsiteY46" fmla="*/ 901153 h 901154"/>
                  <a:gd name="connsiteX47" fmla="*/ 1539566 w 2441576"/>
                  <a:gd name="connsiteY47" fmla="*/ 901153 h 901154"/>
                  <a:gd name="connsiteX48" fmla="*/ 1427685 w 2441576"/>
                  <a:gd name="connsiteY48" fmla="*/ 901153 h 901154"/>
                  <a:gd name="connsiteX49" fmla="*/ 1324785 w 2441576"/>
                  <a:gd name="connsiteY49" fmla="*/ 901153 h 901154"/>
                  <a:gd name="connsiteX50" fmla="*/ 1254721 w 2441576"/>
                  <a:gd name="connsiteY50" fmla="*/ 901153 h 901154"/>
                  <a:gd name="connsiteX51" fmla="*/ 1146253 w 2441576"/>
                  <a:gd name="connsiteY51" fmla="*/ 901153 h 901154"/>
                  <a:gd name="connsiteX52" fmla="*/ 1039939 w 2441576"/>
                  <a:gd name="connsiteY52" fmla="*/ 901153 h 901154"/>
                  <a:gd name="connsiteX53" fmla="*/ 969874 w 2441576"/>
                  <a:gd name="connsiteY53" fmla="*/ 901153 h 901154"/>
                  <a:gd name="connsiteX54" fmla="*/ 864820 w 2441576"/>
                  <a:gd name="connsiteY54" fmla="*/ 901154 h 901154"/>
                  <a:gd name="connsiteX55" fmla="*/ 755093 w 2441576"/>
                  <a:gd name="connsiteY55" fmla="*/ 901153 h 901154"/>
                  <a:gd name="connsiteX56" fmla="*/ 685028 w 2441576"/>
                  <a:gd name="connsiteY56" fmla="*/ 901153 h 901154"/>
                  <a:gd name="connsiteX57" fmla="*/ 581332 w 2441576"/>
                  <a:gd name="connsiteY57" fmla="*/ 901153 h 901154"/>
                  <a:gd name="connsiteX58" fmla="*/ 471351 w 2441576"/>
                  <a:gd name="connsiteY58" fmla="*/ 901153 h 901154"/>
                  <a:gd name="connsiteX59" fmla="*/ 470246 w 2441576"/>
                  <a:gd name="connsiteY59" fmla="*/ 901153 h 901154"/>
                  <a:gd name="connsiteX60" fmla="*/ 377080 w 2441576"/>
                  <a:gd name="connsiteY60" fmla="*/ 901153 h 901154"/>
                  <a:gd name="connsiteX61" fmla="*/ 282811 w 2441576"/>
                  <a:gd name="connsiteY61" fmla="*/ 901153 h 901154"/>
                  <a:gd name="connsiteX62" fmla="*/ 185400 w 2441576"/>
                  <a:gd name="connsiteY62" fmla="*/ 901153 h 901154"/>
                  <a:gd name="connsiteX63" fmla="*/ 94270 w 2441576"/>
                  <a:gd name="connsiteY63" fmla="*/ 901153 h 901154"/>
                  <a:gd name="connsiteX64" fmla="*/ 0 w 2441576"/>
                  <a:gd name="connsiteY64" fmla="*/ 901153 h 901154"/>
                  <a:gd name="connsiteX65" fmla="*/ 0 w 2441576"/>
                  <a:gd name="connsiteY65" fmla="*/ 832545 h 901154"/>
                  <a:gd name="connsiteX66" fmla="*/ 0 w 2441576"/>
                  <a:gd name="connsiteY66" fmla="*/ 760507 h 901154"/>
                  <a:gd name="connsiteX67" fmla="*/ 0 w 2441576"/>
                  <a:gd name="connsiteY67" fmla="*/ 691899 h 901154"/>
                  <a:gd name="connsiteX68" fmla="*/ 0 w 2441576"/>
                  <a:gd name="connsiteY68" fmla="*/ 608455 h 901154"/>
                  <a:gd name="connsiteX69" fmla="*/ 0 w 2441576"/>
                  <a:gd name="connsiteY69" fmla="*/ 539847 h 901154"/>
                  <a:gd name="connsiteX70" fmla="*/ 0 w 2441576"/>
                  <a:gd name="connsiteY70" fmla="*/ 456403 h 901154"/>
                  <a:gd name="connsiteX71" fmla="*/ 0 w 2441576"/>
                  <a:gd name="connsiteY71" fmla="*/ 387795 h 901154"/>
                  <a:gd name="connsiteX72" fmla="*/ 0 w 2441576"/>
                  <a:gd name="connsiteY72" fmla="*/ 304351 h 901154"/>
                  <a:gd name="connsiteX73" fmla="*/ 0 w 2441576"/>
                  <a:gd name="connsiteY73" fmla="*/ 235743 h 901154"/>
                  <a:gd name="connsiteX74" fmla="*/ 0 w 2441576"/>
                  <a:gd name="connsiteY74" fmla="*/ 152299 h 901154"/>
                  <a:gd name="connsiteX75" fmla="*/ 0 w 2441576"/>
                  <a:gd name="connsiteY75" fmla="*/ 83691 h 901154"/>
                  <a:gd name="connsiteX76" fmla="*/ 0 w 2441576"/>
                  <a:gd name="connsiteY76" fmla="*/ 247 h 901154"/>
                  <a:gd name="connsiteX0" fmla="*/ 0 w 2441576"/>
                  <a:gd name="connsiteY0" fmla="*/ 247 h 1193517"/>
                  <a:gd name="connsiteX1" fmla="*/ 94270 w 2441576"/>
                  <a:gd name="connsiteY1" fmla="*/ 247 h 1193517"/>
                  <a:gd name="connsiteX2" fmla="*/ 185400 w 2441576"/>
                  <a:gd name="connsiteY2" fmla="*/ 247 h 1193517"/>
                  <a:gd name="connsiteX3" fmla="*/ 282811 w 2441576"/>
                  <a:gd name="connsiteY3" fmla="*/ 247 h 1193517"/>
                  <a:gd name="connsiteX4" fmla="*/ 377080 w 2441576"/>
                  <a:gd name="connsiteY4" fmla="*/ 247 h 1193517"/>
                  <a:gd name="connsiteX5" fmla="*/ 470246 w 2441576"/>
                  <a:gd name="connsiteY5" fmla="*/ 247 h 1193517"/>
                  <a:gd name="connsiteX6" fmla="*/ 581332 w 2441576"/>
                  <a:gd name="connsiteY6" fmla="*/ 247 h 1193517"/>
                  <a:gd name="connsiteX7" fmla="*/ 685028 w 2441576"/>
                  <a:gd name="connsiteY7" fmla="*/ 247 h 1193517"/>
                  <a:gd name="connsiteX8" fmla="*/ 755093 w 2441576"/>
                  <a:gd name="connsiteY8" fmla="*/ 247 h 1193517"/>
                  <a:gd name="connsiteX9" fmla="*/ 860129 w 2441576"/>
                  <a:gd name="connsiteY9" fmla="*/ 1 h 1193517"/>
                  <a:gd name="connsiteX10" fmla="*/ 969874 w 2441576"/>
                  <a:gd name="connsiteY10" fmla="*/ 247 h 1193517"/>
                  <a:gd name="connsiteX11" fmla="*/ 1039939 w 2441576"/>
                  <a:gd name="connsiteY11" fmla="*/ 247 h 1193517"/>
                  <a:gd name="connsiteX12" fmla="*/ 1146839 w 2441576"/>
                  <a:gd name="connsiteY12" fmla="*/ 1 h 1193517"/>
                  <a:gd name="connsiteX13" fmla="*/ 1254721 w 2441576"/>
                  <a:gd name="connsiteY13" fmla="*/ 247 h 1193517"/>
                  <a:gd name="connsiteX14" fmla="*/ 1324785 w 2441576"/>
                  <a:gd name="connsiteY14" fmla="*/ 247 h 1193517"/>
                  <a:gd name="connsiteX15" fmla="*/ 1430031 w 2441576"/>
                  <a:gd name="connsiteY15" fmla="*/ 0 h 1193517"/>
                  <a:gd name="connsiteX16" fmla="*/ 1539566 w 2441576"/>
                  <a:gd name="connsiteY16" fmla="*/ 247 h 1193517"/>
                  <a:gd name="connsiteX17" fmla="*/ 1609632 w 2441576"/>
                  <a:gd name="connsiteY17" fmla="*/ 247 h 1193517"/>
                  <a:gd name="connsiteX18" fmla="*/ 1707946 w 2441576"/>
                  <a:gd name="connsiteY18" fmla="*/ 1 h 1193517"/>
                  <a:gd name="connsiteX19" fmla="*/ 1824412 w 2441576"/>
                  <a:gd name="connsiteY19" fmla="*/ 247 h 1193517"/>
                  <a:gd name="connsiteX20" fmla="*/ 1941949 w 2441576"/>
                  <a:gd name="connsiteY20" fmla="*/ 247 h 1193517"/>
                  <a:gd name="connsiteX21" fmla="*/ 2094866 w 2441576"/>
                  <a:gd name="connsiteY21" fmla="*/ 247 h 1193517"/>
                  <a:gd name="connsiteX22" fmla="*/ 2176781 w 2441576"/>
                  <a:gd name="connsiteY22" fmla="*/ 247 h 1193517"/>
                  <a:gd name="connsiteX23" fmla="*/ 2258696 w 2441576"/>
                  <a:gd name="connsiteY23" fmla="*/ 247 h 1193517"/>
                  <a:gd name="connsiteX24" fmla="*/ 2321561 w 2441576"/>
                  <a:gd name="connsiteY24" fmla="*/ 247 h 1193517"/>
                  <a:gd name="connsiteX25" fmla="*/ 2441576 w 2441576"/>
                  <a:gd name="connsiteY25" fmla="*/ 247 h 1193517"/>
                  <a:gd name="connsiteX26" fmla="*/ 2441576 w 2441576"/>
                  <a:gd name="connsiteY26" fmla="*/ 83691 h 1193517"/>
                  <a:gd name="connsiteX27" fmla="*/ 2441576 w 2441576"/>
                  <a:gd name="connsiteY27" fmla="*/ 152299 h 1193517"/>
                  <a:gd name="connsiteX28" fmla="*/ 2441576 w 2441576"/>
                  <a:gd name="connsiteY28" fmla="*/ 235743 h 1193517"/>
                  <a:gd name="connsiteX29" fmla="*/ 2441576 w 2441576"/>
                  <a:gd name="connsiteY29" fmla="*/ 304351 h 1193517"/>
                  <a:gd name="connsiteX30" fmla="*/ 2441576 w 2441576"/>
                  <a:gd name="connsiteY30" fmla="*/ 387795 h 1193517"/>
                  <a:gd name="connsiteX31" fmla="*/ 2441576 w 2441576"/>
                  <a:gd name="connsiteY31" fmla="*/ 456403 h 1193517"/>
                  <a:gd name="connsiteX32" fmla="*/ 2441576 w 2441576"/>
                  <a:gd name="connsiteY32" fmla="*/ 539847 h 1193517"/>
                  <a:gd name="connsiteX33" fmla="*/ 2441576 w 2441576"/>
                  <a:gd name="connsiteY33" fmla="*/ 608455 h 1193517"/>
                  <a:gd name="connsiteX34" fmla="*/ 2441576 w 2441576"/>
                  <a:gd name="connsiteY34" fmla="*/ 691899 h 1193517"/>
                  <a:gd name="connsiteX35" fmla="*/ 2441576 w 2441576"/>
                  <a:gd name="connsiteY35" fmla="*/ 760507 h 1193517"/>
                  <a:gd name="connsiteX36" fmla="*/ 2441576 w 2441576"/>
                  <a:gd name="connsiteY36" fmla="*/ 832545 h 1193517"/>
                  <a:gd name="connsiteX37" fmla="*/ 2441576 w 2441576"/>
                  <a:gd name="connsiteY37" fmla="*/ 901153 h 1193517"/>
                  <a:gd name="connsiteX38" fmla="*/ 2321561 w 2441576"/>
                  <a:gd name="connsiteY38" fmla="*/ 901153 h 1193517"/>
                  <a:gd name="connsiteX39" fmla="*/ 2239646 w 2441576"/>
                  <a:gd name="connsiteY39" fmla="*/ 901153 h 1193517"/>
                  <a:gd name="connsiteX40" fmla="*/ 2176781 w 2441576"/>
                  <a:gd name="connsiteY40" fmla="*/ 901153 h 1193517"/>
                  <a:gd name="connsiteX41" fmla="*/ 2109259 w 2441576"/>
                  <a:gd name="connsiteY41" fmla="*/ 901153 h 1193517"/>
                  <a:gd name="connsiteX42" fmla="*/ 2025730 w 2441576"/>
                  <a:gd name="connsiteY42" fmla="*/ 901153 h 1193517"/>
                  <a:gd name="connsiteX43" fmla="*/ 1941949 w 2441576"/>
                  <a:gd name="connsiteY43" fmla="*/ 901153 h 1193517"/>
                  <a:gd name="connsiteX44" fmla="*/ 1824412 w 2441576"/>
                  <a:gd name="connsiteY44" fmla="*/ 901153 h 1193517"/>
                  <a:gd name="connsiteX45" fmla="*/ 1720844 w 2441576"/>
                  <a:gd name="connsiteY45" fmla="*/ 901153 h 1193517"/>
                  <a:gd name="connsiteX46" fmla="*/ 1829119 w 2441576"/>
                  <a:gd name="connsiteY46" fmla="*/ 1193517 h 1193517"/>
                  <a:gd name="connsiteX47" fmla="*/ 1539566 w 2441576"/>
                  <a:gd name="connsiteY47" fmla="*/ 901153 h 1193517"/>
                  <a:gd name="connsiteX48" fmla="*/ 1427685 w 2441576"/>
                  <a:gd name="connsiteY48" fmla="*/ 901153 h 1193517"/>
                  <a:gd name="connsiteX49" fmla="*/ 1324785 w 2441576"/>
                  <a:gd name="connsiteY49" fmla="*/ 901153 h 1193517"/>
                  <a:gd name="connsiteX50" fmla="*/ 1254721 w 2441576"/>
                  <a:gd name="connsiteY50" fmla="*/ 901153 h 1193517"/>
                  <a:gd name="connsiteX51" fmla="*/ 1146253 w 2441576"/>
                  <a:gd name="connsiteY51" fmla="*/ 901153 h 1193517"/>
                  <a:gd name="connsiteX52" fmla="*/ 1039939 w 2441576"/>
                  <a:gd name="connsiteY52" fmla="*/ 901153 h 1193517"/>
                  <a:gd name="connsiteX53" fmla="*/ 969874 w 2441576"/>
                  <a:gd name="connsiteY53" fmla="*/ 901153 h 1193517"/>
                  <a:gd name="connsiteX54" fmla="*/ 864820 w 2441576"/>
                  <a:gd name="connsiteY54" fmla="*/ 901154 h 1193517"/>
                  <a:gd name="connsiteX55" fmla="*/ 755093 w 2441576"/>
                  <a:gd name="connsiteY55" fmla="*/ 901153 h 1193517"/>
                  <a:gd name="connsiteX56" fmla="*/ 685028 w 2441576"/>
                  <a:gd name="connsiteY56" fmla="*/ 901153 h 1193517"/>
                  <a:gd name="connsiteX57" fmla="*/ 581332 w 2441576"/>
                  <a:gd name="connsiteY57" fmla="*/ 901153 h 1193517"/>
                  <a:gd name="connsiteX58" fmla="*/ 471351 w 2441576"/>
                  <a:gd name="connsiteY58" fmla="*/ 901153 h 1193517"/>
                  <a:gd name="connsiteX59" fmla="*/ 470246 w 2441576"/>
                  <a:gd name="connsiteY59" fmla="*/ 901153 h 1193517"/>
                  <a:gd name="connsiteX60" fmla="*/ 377080 w 2441576"/>
                  <a:gd name="connsiteY60" fmla="*/ 901153 h 1193517"/>
                  <a:gd name="connsiteX61" fmla="*/ 282811 w 2441576"/>
                  <a:gd name="connsiteY61" fmla="*/ 901153 h 1193517"/>
                  <a:gd name="connsiteX62" fmla="*/ 185400 w 2441576"/>
                  <a:gd name="connsiteY62" fmla="*/ 901153 h 1193517"/>
                  <a:gd name="connsiteX63" fmla="*/ 94270 w 2441576"/>
                  <a:gd name="connsiteY63" fmla="*/ 901153 h 1193517"/>
                  <a:gd name="connsiteX64" fmla="*/ 0 w 2441576"/>
                  <a:gd name="connsiteY64" fmla="*/ 901153 h 1193517"/>
                  <a:gd name="connsiteX65" fmla="*/ 0 w 2441576"/>
                  <a:gd name="connsiteY65" fmla="*/ 832545 h 1193517"/>
                  <a:gd name="connsiteX66" fmla="*/ 0 w 2441576"/>
                  <a:gd name="connsiteY66" fmla="*/ 760507 h 1193517"/>
                  <a:gd name="connsiteX67" fmla="*/ 0 w 2441576"/>
                  <a:gd name="connsiteY67" fmla="*/ 691899 h 1193517"/>
                  <a:gd name="connsiteX68" fmla="*/ 0 w 2441576"/>
                  <a:gd name="connsiteY68" fmla="*/ 608455 h 1193517"/>
                  <a:gd name="connsiteX69" fmla="*/ 0 w 2441576"/>
                  <a:gd name="connsiteY69" fmla="*/ 539847 h 1193517"/>
                  <a:gd name="connsiteX70" fmla="*/ 0 w 2441576"/>
                  <a:gd name="connsiteY70" fmla="*/ 456403 h 1193517"/>
                  <a:gd name="connsiteX71" fmla="*/ 0 w 2441576"/>
                  <a:gd name="connsiteY71" fmla="*/ 387795 h 1193517"/>
                  <a:gd name="connsiteX72" fmla="*/ 0 w 2441576"/>
                  <a:gd name="connsiteY72" fmla="*/ 304351 h 1193517"/>
                  <a:gd name="connsiteX73" fmla="*/ 0 w 2441576"/>
                  <a:gd name="connsiteY73" fmla="*/ 235743 h 1193517"/>
                  <a:gd name="connsiteX74" fmla="*/ 0 w 2441576"/>
                  <a:gd name="connsiteY74" fmla="*/ 152299 h 1193517"/>
                  <a:gd name="connsiteX75" fmla="*/ 0 w 2441576"/>
                  <a:gd name="connsiteY75" fmla="*/ 83691 h 1193517"/>
                  <a:gd name="connsiteX76" fmla="*/ 0 w 2441576"/>
                  <a:gd name="connsiteY76" fmla="*/ 247 h 11935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</a:cxnLst>
                <a:rect l="l" t="t" r="r" b="b"/>
                <a:pathLst>
                  <a:path w="2441576" h="1193517">
                    <a:moveTo>
                      <a:pt x="0" y="247"/>
                    </a:moveTo>
                    <a:lnTo>
                      <a:pt x="94270" y="247"/>
                    </a:lnTo>
                    <a:lnTo>
                      <a:pt x="185400" y="247"/>
                    </a:lnTo>
                    <a:lnTo>
                      <a:pt x="282811" y="247"/>
                    </a:lnTo>
                    <a:lnTo>
                      <a:pt x="377080" y="247"/>
                    </a:lnTo>
                    <a:lnTo>
                      <a:pt x="470246" y="247"/>
                    </a:lnTo>
                    <a:lnTo>
                      <a:pt x="581332" y="247"/>
                    </a:lnTo>
                    <a:lnTo>
                      <a:pt x="685028" y="247"/>
                    </a:lnTo>
                    <a:lnTo>
                      <a:pt x="755093" y="247"/>
                    </a:lnTo>
                    <a:lnTo>
                      <a:pt x="860129" y="1"/>
                    </a:lnTo>
                    <a:lnTo>
                      <a:pt x="969874" y="247"/>
                    </a:lnTo>
                    <a:lnTo>
                      <a:pt x="1039939" y="247"/>
                    </a:lnTo>
                    <a:lnTo>
                      <a:pt x="1146839" y="1"/>
                    </a:lnTo>
                    <a:lnTo>
                      <a:pt x="1254721" y="247"/>
                    </a:lnTo>
                    <a:lnTo>
                      <a:pt x="1324785" y="247"/>
                    </a:lnTo>
                    <a:lnTo>
                      <a:pt x="1430031" y="0"/>
                    </a:lnTo>
                    <a:lnTo>
                      <a:pt x="1539566" y="247"/>
                    </a:lnTo>
                    <a:lnTo>
                      <a:pt x="1609632" y="247"/>
                    </a:lnTo>
                    <a:lnTo>
                      <a:pt x="1707946" y="1"/>
                    </a:lnTo>
                    <a:lnTo>
                      <a:pt x="1824412" y="247"/>
                    </a:lnTo>
                    <a:lnTo>
                      <a:pt x="1941949" y="247"/>
                    </a:lnTo>
                    <a:lnTo>
                      <a:pt x="2094866" y="247"/>
                    </a:lnTo>
                    <a:lnTo>
                      <a:pt x="2176781" y="247"/>
                    </a:lnTo>
                    <a:lnTo>
                      <a:pt x="2258696" y="247"/>
                    </a:lnTo>
                    <a:lnTo>
                      <a:pt x="2321561" y="247"/>
                    </a:lnTo>
                    <a:lnTo>
                      <a:pt x="2441576" y="247"/>
                    </a:lnTo>
                    <a:lnTo>
                      <a:pt x="2441576" y="83691"/>
                    </a:lnTo>
                    <a:lnTo>
                      <a:pt x="2441576" y="152299"/>
                    </a:lnTo>
                    <a:lnTo>
                      <a:pt x="2441576" y="235743"/>
                    </a:lnTo>
                    <a:lnTo>
                      <a:pt x="2441576" y="304351"/>
                    </a:lnTo>
                    <a:lnTo>
                      <a:pt x="2441576" y="387795"/>
                    </a:lnTo>
                    <a:lnTo>
                      <a:pt x="2441576" y="456403"/>
                    </a:lnTo>
                    <a:lnTo>
                      <a:pt x="2441576" y="539847"/>
                    </a:lnTo>
                    <a:lnTo>
                      <a:pt x="2441576" y="608455"/>
                    </a:lnTo>
                    <a:lnTo>
                      <a:pt x="2441576" y="691899"/>
                    </a:lnTo>
                    <a:lnTo>
                      <a:pt x="2441576" y="760507"/>
                    </a:lnTo>
                    <a:lnTo>
                      <a:pt x="2441576" y="832545"/>
                    </a:lnTo>
                    <a:lnTo>
                      <a:pt x="2441576" y="901153"/>
                    </a:lnTo>
                    <a:lnTo>
                      <a:pt x="2321561" y="901153"/>
                    </a:lnTo>
                    <a:lnTo>
                      <a:pt x="2239646" y="901153"/>
                    </a:lnTo>
                    <a:lnTo>
                      <a:pt x="2176781" y="901153"/>
                    </a:lnTo>
                    <a:lnTo>
                      <a:pt x="2109259" y="901153"/>
                    </a:lnTo>
                    <a:lnTo>
                      <a:pt x="2025730" y="901153"/>
                    </a:lnTo>
                    <a:lnTo>
                      <a:pt x="1941949" y="901153"/>
                    </a:lnTo>
                    <a:lnTo>
                      <a:pt x="1824412" y="901153"/>
                    </a:lnTo>
                    <a:lnTo>
                      <a:pt x="1720844" y="901153"/>
                    </a:lnTo>
                    <a:lnTo>
                      <a:pt x="1829119" y="1193517"/>
                    </a:lnTo>
                    <a:lnTo>
                      <a:pt x="1539566" y="901153"/>
                    </a:lnTo>
                    <a:lnTo>
                      <a:pt x="1427685" y="901153"/>
                    </a:lnTo>
                    <a:lnTo>
                      <a:pt x="1324785" y="901153"/>
                    </a:lnTo>
                    <a:lnTo>
                      <a:pt x="1254721" y="901153"/>
                    </a:lnTo>
                    <a:lnTo>
                      <a:pt x="1146253" y="901153"/>
                    </a:lnTo>
                    <a:lnTo>
                      <a:pt x="1039939" y="901153"/>
                    </a:lnTo>
                    <a:lnTo>
                      <a:pt x="969874" y="901153"/>
                    </a:lnTo>
                    <a:lnTo>
                      <a:pt x="864820" y="901154"/>
                    </a:lnTo>
                    <a:lnTo>
                      <a:pt x="755093" y="901153"/>
                    </a:lnTo>
                    <a:lnTo>
                      <a:pt x="685028" y="901153"/>
                    </a:lnTo>
                    <a:lnTo>
                      <a:pt x="581332" y="901153"/>
                    </a:lnTo>
                    <a:lnTo>
                      <a:pt x="471351" y="901153"/>
                    </a:lnTo>
                    <a:lnTo>
                      <a:pt x="470246" y="901153"/>
                    </a:lnTo>
                    <a:lnTo>
                      <a:pt x="377080" y="901153"/>
                    </a:lnTo>
                    <a:lnTo>
                      <a:pt x="282811" y="901153"/>
                    </a:lnTo>
                    <a:lnTo>
                      <a:pt x="185400" y="901153"/>
                    </a:lnTo>
                    <a:lnTo>
                      <a:pt x="94270" y="901153"/>
                    </a:lnTo>
                    <a:lnTo>
                      <a:pt x="0" y="901153"/>
                    </a:lnTo>
                    <a:lnTo>
                      <a:pt x="0" y="832545"/>
                    </a:lnTo>
                    <a:lnTo>
                      <a:pt x="0" y="760507"/>
                    </a:lnTo>
                    <a:lnTo>
                      <a:pt x="0" y="691899"/>
                    </a:lnTo>
                    <a:lnTo>
                      <a:pt x="0" y="608455"/>
                    </a:lnTo>
                    <a:lnTo>
                      <a:pt x="0" y="539847"/>
                    </a:lnTo>
                    <a:lnTo>
                      <a:pt x="0" y="456403"/>
                    </a:lnTo>
                    <a:lnTo>
                      <a:pt x="0" y="387795"/>
                    </a:lnTo>
                    <a:lnTo>
                      <a:pt x="0" y="304351"/>
                    </a:lnTo>
                    <a:lnTo>
                      <a:pt x="0" y="235743"/>
                    </a:lnTo>
                    <a:lnTo>
                      <a:pt x="0" y="152299"/>
                    </a:lnTo>
                    <a:lnTo>
                      <a:pt x="0" y="83691"/>
                    </a:lnTo>
                    <a:lnTo>
                      <a:pt x="0" y="247"/>
                    </a:lnTo>
                    <a:close/>
                  </a:path>
                </a:pathLst>
              </a:custGeom>
              <a:solidFill>
                <a:schemeClr val="bg2"/>
              </a:solidFill>
              <a:ln w="12700" algn="ctr">
                <a:solidFill>
                  <a:schemeClr val="accent2"/>
                </a:solidFill>
                <a:miter lim="800000"/>
                <a:headEnd/>
                <a:tailEnd/>
              </a:ln>
              <a:effectLst>
                <a:outerShdw dist="53340" dir="2700000" algn="tl" rotWithShape="0">
                  <a:schemeClr val="tx1">
                    <a:alpha val="8000"/>
                  </a:scheme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1104248"/>
                <a:endParaRPr lang="es-ES_tradnl" sz="1200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07" name="Rectangle 22"/>
              <p:cNvSpPr txBox="1"/>
              <p:nvPr>
                <p:custDataLst>
                  <p:tags r:id="rId14"/>
                </p:custDataLst>
              </p:nvPr>
            </p:nvSpPr>
            <p:spPr>
              <a:xfrm flipH="1">
                <a:off x="-5386" y="2325072"/>
                <a:ext cx="930594" cy="41704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>
                  <a:buClr>
                    <a:srgbClr val="009A46"/>
                  </a:buClr>
                </a:pPr>
                <a:r>
                  <a:rPr lang="es-ES_tradnl" sz="1200" dirty="0">
                    <a:solidFill>
                      <a:srgbClr val="000000"/>
                    </a:solidFill>
                    <a:cs typeface="Arial" panose="020B0604020202020204" pitchFamily="34" charset="0"/>
                  </a:rPr>
                  <a:t>Análisis de problemas</a:t>
                </a:r>
              </a:p>
            </p:txBody>
          </p:sp>
        </p:grpSp>
      </p:grpSp>
      <p:grpSp>
        <p:nvGrpSpPr>
          <p:cNvPr id="14" name="Group 210"/>
          <p:cNvGrpSpPr/>
          <p:nvPr/>
        </p:nvGrpSpPr>
        <p:grpSpPr>
          <a:xfrm>
            <a:off x="3477760" y="2132631"/>
            <a:ext cx="1203155" cy="550968"/>
            <a:chOff x="581576" y="2313408"/>
            <a:chExt cx="1059559" cy="622141"/>
          </a:xfrm>
        </p:grpSpPr>
        <p:sp>
          <p:nvSpPr>
            <p:cNvPr id="212" name="Rectangle 1"/>
            <p:cNvSpPr>
              <a:spLocks/>
            </p:cNvSpPr>
            <p:nvPr/>
          </p:nvSpPr>
          <p:spPr>
            <a:xfrm>
              <a:off x="581576" y="2313408"/>
              <a:ext cx="1059559" cy="622141"/>
            </a:xfrm>
            <a:custGeom>
              <a:avLst/>
              <a:gdLst>
                <a:gd name="connsiteX0" fmla="*/ 0 w 2441576"/>
                <a:gd name="connsiteY0" fmla="*/ 0 h 900906"/>
                <a:gd name="connsiteX1" fmla="*/ 94270 w 2441576"/>
                <a:gd name="connsiteY1" fmla="*/ 0 h 900906"/>
                <a:gd name="connsiteX2" fmla="*/ 185400 w 2441576"/>
                <a:gd name="connsiteY2" fmla="*/ 0 h 900906"/>
                <a:gd name="connsiteX3" fmla="*/ 188541 w 2441576"/>
                <a:gd name="connsiteY3" fmla="*/ 0 h 900906"/>
                <a:gd name="connsiteX4" fmla="*/ 282811 w 2441576"/>
                <a:gd name="connsiteY4" fmla="*/ 0 h 900906"/>
                <a:gd name="connsiteX5" fmla="*/ 377080 w 2441576"/>
                <a:gd name="connsiteY5" fmla="*/ 0 h 900906"/>
                <a:gd name="connsiteX6" fmla="*/ 470246 w 2441576"/>
                <a:gd name="connsiteY6" fmla="*/ 0 h 900906"/>
                <a:gd name="connsiteX7" fmla="*/ 471351 w 2441576"/>
                <a:gd name="connsiteY7" fmla="*/ 0 h 900906"/>
                <a:gd name="connsiteX8" fmla="*/ 581332 w 2441576"/>
                <a:gd name="connsiteY8" fmla="*/ 0 h 900906"/>
                <a:gd name="connsiteX9" fmla="*/ 685028 w 2441576"/>
                <a:gd name="connsiteY9" fmla="*/ 0 h 900906"/>
                <a:gd name="connsiteX10" fmla="*/ 755093 w 2441576"/>
                <a:gd name="connsiteY10" fmla="*/ 0 h 900906"/>
                <a:gd name="connsiteX11" fmla="*/ 969874 w 2441576"/>
                <a:gd name="connsiteY11" fmla="*/ 0 h 900906"/>
                <a:gd name="connsiteX12" fmla="*/ 1039939 w 2441576"/>
                <a:gd name="connsiteY12" fmla="*/ 0 h 900906"/>
                <a:gd name="connsiteX13" fmla="*/ 1254721 w 2441576"/>
                <a:gd name="connsiteY13" fmla="*/ 0 h 900906"/>
                <a:gd name="connsiteX14" fmla="*/ 1324785 w 2441576"/>
                <a:gd name="connsiteY14" fmla="*/ 0 h 900906"/>
                <a:gd name="connsiteX15" fmla="*/ 1539566 w 2441576"/>
                <a:gd name="connsiteY15" fmla="*/ 0 h 900906"/>
                <a:gd name="connsiteX16" fmla="*/ 1609632 w 2441576"/>
                <a:gd name="connsiteY16" fmla="*/ 0 h 900906"/>
                <a:gd name="connsiteX17" fmla="*/ 1824412 w 2441576"/>
                <a:gd name="connsiteY17" fmla="*/ 0 h 900906"/>
                <a:gd name="connsiteX18" fmla="*/ 1941949 w 2441576"/>
                <a:gd name="connsiteY18" fmla="*/ 0 h 900906"/>
                <a:gd name="connsiteX19" fmla="*/ 2094866 w 2441576"/>
                <a:gd name="connsiteY19" fmla="*/ 0 h 900906"/>
                <a:gd name="connsiteX20" fmla="*/ 2176781 w 2441576"/>
                <a:gd name="connsiteY20" fmla="*/ 0 h 900906"/>
                <a:gd name="connsiteX21" fmla="*/ 2258696 w 2441576"/>
                <a:gd name="connsiteY21" fmla="*/ 0 h 900906"/>
                <a:gd name="connsiteX22" fmla="*/ 2321561 w 2441576"/>
                <a:gd name="connsiteY22" fmla="*/ 0 h 900906"/>
                <a:gd name="connsiteX23" fmla="*/ 2403476 w 2441576"/>
                <a:gd name="connsiteY23" fmla="*/ 0 h 900906"/>
                <a:gd name="connsiteX24" fmla="*/ 2441576 w 2441576"/>
                <a:gd name="connsiteY24" fmla="*/ 0 h 900906"/>
                <a:gd name="connsiteX25" fmla="*/ 2441576 w 2441576"/>
                <a:gd name="connsiteY25" fmla="*/ 83444 h 900906"/>
                <a:gd name="connsiteX26" fmla="*/ 2441576 w 2441576"/>
                <a:gd name="connsiteY26" fmla="*/ 152052 h 900906"/>
                <a:gd name="connsiteX27" fmla="*/ 2441576 w 2441576"/>
                <a:gd name="connsiteY27" fmla="*/ 235496 h 900906"/>
                <a:gd name="connsiteX28" fmla="*/ 2441576 w 2441576"/>
                <a:gd name="connsiteY28" fmla="*/ 304104 h 900906"/>
                <a:gd name="connsiteX29" fmla="*/ 2441576 w 2441576"/>
                <a:gd name="connsiteY29" fmla="*/ 387548 h 900906"/>
                <a:gd name="connsiteX30" fmla="*/ 2441576 w 2441576"/>
                <a:gd name="connsiteY30" fmla="*/ 456156 h 900906"/>
                <a:gd name="connsiteX31" fmla="*/ 2441576 w 2441576"/>
                <a:gd name="connsiteY31" fmla="*/ 539600 h 900906"/>
                <a:gd name="connsiteX32" fmla="*/ 2441576 w 2441576"/>
                <a:gd name="connsiteY32" fmla="*/ 608208 h 900906"/>
                <a:gd name="connsiteX33" fmla="*/ 2441576 w 2441576"/>
                <a:gd name="connsiteY33" fmla="*/ 691652 h 900906"/>
                <a:gd name="connsiteX34" fmla="*/ 2441576 w 2441576"/>
                <a:gd name="connsiteY34" fmla="*/ 748854 h 900906"/>
                <a:gd name="connsiteX35" fmla="*/ 2441576 w 2441576"/>
                <a:gd name="connsiteY35" fmla="*/ 760260 h 900906"/>
                <a:gd name="connsiteX36" fmla="*/ 2441576 w 2441576"/>
                <a:gd name="connsiteY36" fmla="*/ 832298 h 900906"/>
                <a:gd name="connsiteX37" fmla="*/ 2441576 w 2441576"/>
                <a:gd name="connsiteY37" fmla="*/ 900906 h 900906"/>
                <a:gd name="connsiteX38" fmla="*/ 2403476 w 2441576"/>
                <a:gd name="connsiteY38" fmla="*/ 900906 h 900906"/>
                <a:gd name="connsiteX39" fmla="*/ 2321561 w 2441576"/>
                <a:gd name="connsiteY39" fmla="*/ 900906 h 900906"/>
                <a:gd name="connsiteX40" fmla="*/ 2239646 w 2441576"/>
                <a:gd name="connsiteY40" fmla="*/ 900906 h 900906"/>
                <a:gd name="connsiteX41" fmla="*/ 2176781 w 2441576"/>
                <a:gd name="connsiteY41" fmla="*/ 900906 h 900906"/>
                <a:gd name="connsiteX42" fmla="*/ 2109259 w 2441576"/>
                <a:gd name="connsiteY42" fmla="*/ 900906 h 900906"/>
                <a:gd name="connsiteX43" fmla="*/ 2094866 w 2441576"/>
                <a:gd name="connsiteY43" fmla="*/ 900906 h 900906"/>
                <a:gd name="connsiteX44" fmla="*/ 1941949 w 2441576"/>
                <a:gd name="connsiteY44" fmla="*/ 900906 h 900906"/>
                <a:gd name="connsiteX45" fmla="*/ 1824412 w 2441576"/>
                <a:gd name="connsiteY45" fmla="*/ 900906 h 900906"/>
                <a:gd name="connsiteX46" fmla="*/ 1609632 w 2441576"/>
                <a:gd name="connsiteY46" fmla="*/ 900906 h 900906"/>
                <a:gd name="connsiteX47" fmla="*/ 1539566 w 2441576"/>
                <a:gd name="connsiteY47" fmla="*/ 900906 h 900906"/>
                <a:gd name="connsiteX48" fmla="*/ 1324785 w 2441576"/>
                <a:gd name="connsiteY48" fmla="*/ 900906 h 900906"/>
                <a:gd name="connsiteX49" fmla="*/ 1254721 w 2441576"/>
                <a:gd name="connsiteY49" fmla="*/ 900906 h 900906"/>
                <a:gd name="connsiteX50" fmla="*/ 1039939 w 2441576"/>
                <a:gd name="connsiteY50" fmla="*/ 900906 h 900906"/>
                <a:gd name="connsiteX51" fmla="*/ 969874 w 2441576"/>
                <a:gd name="connsiteY51" fmla="*/ 900906 h 900906"/>
                <a:gd name="connsiteX52" fmla="*/ 755093 w 2441576"/>
                <a:gd name="connsiteY52" fmla="*/ 900906 h 900906"/>
                <a:gd name="connsiteX53" fmla="*/ 685028 w 2441576"/>
                <a:gd name="connsiteY53" fmla="*/ 900906 h 900906"/>
                <a:gd name="connsiteX54" fmla="*/ 581332 w 2441576"/>
                <a:gd name="connsiteY54" fmla="*/ 900906 h 900906"/>
                <a:gd name="connsiteX55" fmla="*/ 471351 w 2441576"/>
                <a:gd name="connsiteY55" fmla="*/ 900906 h 900906"/>
                <a:gd name="connsiteX56" fmla="*/ 470246 w 2441576"/>
                <a:gd name="connsiteY56" fmla="*/ 900906 h 900906"/>
                <a:gd name="connsiteX57" fmla="*/ 377080 w 2441576"/>
                <a:gd name="connsiteY57" fmla="*/ 900906 h 900906"/>
                <a:gd name="connsiteX58" fmla="*/ 282811 w 2441576"/>
                <a:gd name="connsiteY58" fmla="*/ 900906 h 900906"/>
                <a:gd name="connsiteX59" fmla="*/ 188541 w 2441576"/>
                <a:gd name="connsiteY59" fmla="*/ 900906 h 900906"/>
                <a:gd name="connsiteX60" fmla="*/ 185400 w 2441576"/>
                <a:gd name="connsiteY60" fmla="*/ 900906 h 900906"/>
                <a:gd name="connsiteX61" fmla="*/ 94270 w 2441576"/>
                <a:gd name="connsiteY61" fmla="*/ 900906 h 900906"/>
                <a:gd name="connsiteX62" fmla="*/ 0 w 2441576"/>
                <a:gd name="connsiteY62" fmla="*/ 900906 h 900906"/>
                <a:gd name="connsiteX63" fmla="*/ 0 w 2441576"/>
                <a:gd name="connsiteY63" fmla="*/ 832298 h 900906"/>
                <a:gd name="connsiteX64" fmla="*/ 0 w 2441576"/>
                <a:gd name="connsiteY64" fmla="*/ 760260 h 900906"/>
                <a:gd name="connsiteX65" fmla="*/ 0 w 2441576"/>
                <a:gd name="connsiteY65" fmla="*/ 748854 h 900906"/>
                <a:gd name="connsiteX66" fmla="*/ 0 w 2441576"/>
                <a:gd name="connsiteY66" fmla="*/ 691652 h 900906"/>
                <a:gd name="connsiteX67" fmla="*/ 0 w 2441576"/>
                <a:gd name="connsiteY67" fmla="*/ 608208 h 900906"/>
                <a:gd name="connsiteX68" fmla="*/ 0 w 2441576"/>
                <a:gd name="connsiteY68" fmla="*/ 539600 h 900906"/>
                <a:gd name="connsiteX69" fmla="*/ 0 w 2441576"/>
                <a:gd name="connsiteY69" fmla="*/ 456156 h 900906"/>
                <a:gd name="connsiteX70" fmla="*/ 0 w 2441576"/>
                <a:gd name="connsiteY70" fmla="*/ 387548 h 900906"/>
                <a:gd name="connsiteX71" fmla="*/ 0 w 2441576"/>
                <a:gd name="connsiteY71" fmla="*/ 304104 h 900906"/>
                <a:gd name="connsiteX72" fmla="*/ 0 w 2441576"/>
                <a:gd name="connsiteY72" fmla="*/ 235496 h 900906"/>
                <a:gd name="connsiteX73" fmla="*/ 0 w 2441576"/>
                <a:gd name="connsiteY73" fmla="*/ 152052 h 900906"/>
                <a:gd name="connsiteX74" fmla="*/ 0 w 2441576"/>
                <a:gd name="connsiteY74" fmla="*/ 83444 h 900906"/>
                <a:gd name="connsiteX75" fmla="*/ 0 w 2441576"/>
                <a:gd name="connsiteY75" fmla="*/ 0 h 900906"/>
                <a:gd name="connsiteX0" fmla="*/ 0 w 2441576"/>
                <a:gd name="connsiteY0" fmla="*/ 0 h 900906"/>
                <a:gd name="connsiteX1" fmla="*/ 94270 w 2441576"/>
                <a:gd name="connsiteY1" fmla="*/ 0 h 900906"/>
                <a:gd name="connsiteX2" fmla="*/ 185400 w 2441576"/>
                <a:gd name="connsiteY2" fmla="*/ 0 h 900906"/>
                <a:gd name="connsiteX3" fmla="*/ 188541 w 2441576"/>
                <a:gd name="connsiteY3" fmla="*/ 0 h 900906"/>
                <a:gd name="connsiteX4" fmla="*/ 282811 w 2441576"/>
                <a:gd name="connsiteY4" fmla="*/ 0 h 900906"/>
                <a:gd name="connsiteX5" fmla="*/ 377080 w 2441576"/>
                <a:gd name="connsiteY5" fmla="*/ 0 h 900906"/>
                <a:gd name="connsiteX6" fmla="*/ 470246 w 2441576"/>
                <a:gd name="connsiteY6" fmla="*/ 0 h 900906"/>
                <a:gd name="connsiteX7" fmla="*/ 471351 w 2441576"/>
                <a:gd name="connsiteY7" fmla="*/ 0 h 900906"/>
                <a:gd name="connsiteX8" fmla="*/ 581332 w 2441576"/>
                <a:gd name="connsiteY8" fmla="*/ 0 h 900906"/>
                <a:gd name="connsiteX9" fmla="*/ 685028 w 2441576"/>
                <a:gd name="connsiteY9" fmla="*/ 0 h 900906"/>
                <a:gd name="connsiteX10" fmla="*/ 755093 w 2441576"/>
                <a:gd name="connsiteY10" fmla="*/ 0 h 900906"/>
                <a:gd name="connsiteX11" fmla="*/ 969874 w 2441576"/>
                <a:gd name="connsiteY11" fmla="*/ 0 h 900906"/>
                <a:gd name="connsiteX12" fmla="*/ 1039939 w 2441576"/>
                <a:gd name="connsiteY12" fmla="*/ 0 h 900906"/>
                <a:gd name="connsiteX13" fmla="*/ 1254721 w 2441576"/>
                <a:gd name="connsiteY13" fmla="*/ 0 h 900906"/>
                <a:gd name="connsiteX14" fmla="*/ 1324785 w 2441576"/>
                <a:gd name="connsiteY14" fmla="*/ 0 h 900906"/>
                <a:gd name="connsiteX15" fmla="*/ 1539566 w 2441576"/>
                <a:gd name="connsiteY15" fmla="*/ 0 h 900906"/>
                <a:gd name="connsiteX16" fmla="*/ 1609632 w 2441576"/>
                <a:gd name="connsiteY16" fmla="*/ 0 h 900906"/>
                <a:gd name="connsiteX17" fmla="*/ 1824412 w 2441576"/>
                <a:gd name="connsiteY17" fmla="*/ 0 h 900906"/>
                <a:gd name="connsiteX18" fmla="*/ 1941949 w 2441576"/>
                <a:gd name="connsiteY18" fmla="*/ 0 h 900906"/>
                <a:gd name="connsiteX19" fmla="*/ 2094866 w 2441576"/>
                <a:gd name="connsiteY19" fmla="*/ 0 h 900906"/>
                <a:gd name="connsiteX20" fmla="*/ 2176781 w 2441576"/>
                <a:gd name="connsiteY20" fmla="*/ 0 h 900906"/>
                <a:gd name="connsiteX21" fmla="*/ 2258696 w 2441576"/>
                <a:gd name="connsiteY21" fmla="*/ 0 h 900906"/>
                <a:gd name="connsiteX22" fmla="*/ 2321561 w 2441576"/>
                <a:gd name="connsiteY22" fmla="*/ 0 h 900906"/>
                <a:gd name="connsiteX23" fmla="*/ 2403476 w 2441576"/>
                <a:gd name="connsiteY23" fmla="*/ 0 h 900906"/>
                <a:gd name="connsiteX24" fmla="*/ 2441576 w 2441576"/>
                <a:gd name="connsiteY24" fmla="*/ 0 h 900906"/>
                <a:gd name="connsiteX25" fmla="*/ 2441576 w 2441576"/>
                <a:gd name="connsiteY25" fmla="*/ 83444 h 900906"/>
                <a:gd name="connsiteX26" fmla="*/ 2441576 w 2441576"/>
                <a:gd name="connsiteY26" fmla="*/ 152052 h 900906"/>
                <a:gd name="connsiteX27" fmla="*/ 2441576 w 2441576"/>
                <a:gd name="connsiteY27" fmla="*/ 235496 h 900906"/>
                <a:gd name="connsiteX28" fmla="*/ 2441576 w 2441576"/>
                <a:gd name="connsiteY28" fmla="*/ 304104 h 900906"/>
                <a:gd name="connsiteX29" fmla="*/ 2441576 w 2441576"/>
                <a:gd name="connsiteY29" fmla="*/ 387548 h 900906"/>
                <a:gd name="connsiteX30" fmla="*/ 2441576 w 2441576"/>
                <a:gd name="connsiteY30" fmla="*/ 456156 h 900906"/>
                <a:gd name="connsiteX31" fmla="*/ 2441576 w 2441576"/>
                <a:gd name="connsiteY31" fmla="*/ 539600 h 900906"/>
                <a:gd name="connsiteX32" fmla="*/ 2441576 w 2441576"/>
                <a:gd name="connsiteY32" fmla="*/ 608208 h 900906"/>
                <a:gd name="connsiteX33" fmla="*/ 2441576 w 2441576"/>
                <a:gd name="connsiteY33" fmla="*/ 691652 h 900906"/>
                <a:gd name="connsiteX34" fmla="*/ 2441576 w 2441576"/>
                <a:gd name="connsiteY34" fmla="*/ 748854 h 900906"/>
                <a:gd name="connsiteX35" fmla="*/ 2441576 w 2441576"/>
                <a:gd name="connsiteY35" fmla="*/ 760260 h 900906"/>
                <a:gd name="connsiteX36" fmla="*/ 2441576 w 2441576"/>
                <a:gd name="connsiteY36" fmla="*/ 832298 h 900906"/>
                <a:gd name="connsiteX37" fmla="*/ 2441576 w 2441576"/>
                <a:gd name="connsiteY37" fmla="*/ 900906 h 900906"/>
                <a:gd name="connsiteX38" fmla="*/ 2403476 w 2441576"/>
                <a:gd name="connsiteY38" fmla="*/ 900906 h 900906"/>
                <a:gd name="connsiteX39" fmla="*/ 2321561 w 2441576"/>
                <a:gd name="connsiteY39" fmla="*/ 900906 h 900906"/>
                <a:gd name="connsiteX40" fmla="*/ 2239646 w 2441576"/>
                <a:gd name="connsiteY40" fmla="*/ 900906 h 900906"/>
                <a:gd name="connsiteX41" fmla="*/ 2176781 w 2441576"/>
                <a:gd name="connsiteY41" fmla="*/ 900906 h 900906"/>
                <a:gd name="connsiteX42" fmla="*/ 2109259 w 2441576"/>
                <a:gd name="connsiteY42" fmla="*/ 900906 h 900906"/>
                <a:gd name="connsiteX43" fmla="*/ 1941949 w 2441576"/>
                <a:gd name="connsiteY43" fmla="*/ 900906 h 900906"/>
                <a:gd name="connsiteX44" fmla="*/ 1824412 w 2441576"/>
                <a:gd name="connsiteY44" fmla="*/ 900906 h 900906"/>
                <a:gd name="connsiteX45" fmla="*/ 1609632 w 2441576"/>
                <a:gd name="connsiteY45" fmla="*/ 900906 h 900906"/>
                <a:gd name="connsiteX46" fmla="*/ 1539566 w 2441576"/>
                <a:gd name="connsiteY46" fmla="*/ 900906 h 900906"/>
                <a:gd name="connsiteX47" fmla="*/ 1324785 w 2441576"/>
                <a:gd name="connsiteY47" fmla="*/ 900906 h 900906"/>
                <a:gd name="connsiteX48" fmla="*/ 1254721 w 2441576"/>
                <a:gd name="connsiteY48" fmla="*/ 900906 h 900906"/>
                <a:gd name="connsiteX49" fmla="*/ 1039939 w 2441576"/>
                <a:gd name="connsiteY49" fmla="*/ 900906 h 900906"/>
                <a:gd name="connsiteX50" fmla="*/ 969874 w 2441576"/>
                <a:gd name="connsiteY50" fmla="*/ 900906 h 900906"/>
                <a:gd name="connsiteX51" fmla="*/ 755093 w 2441576"/>
                <a:gd name="connsiteY51" fmla="*/ 900906 h 900906"/>
                <a:gd name="connsiteX52" fmla="*/ 685028 w 2441576"/>
                <a:gd name="connsiteY52" fmla="*/ 900906 h 900906"/>
                <a:gd name="connsiteX53" fmla="*/ 581332 w 2441576"/>
                <a:gd name="connsiteY53" fmla="*/ 900906 h 900906"/>
                <a:gd name="connsiteX54" fmla="*/ 471351 w 2441576"/>
                <a:gd name="connsiteY54" fmla="*/ 900906 h 900906"/>
                <a:gd name="connsiteX55" fmla="*/ 470246 w 2441576"/>
                <a:gd name="connsiteY55" fmla="*/ 900906 h 900906"/>
                <a:gd name="connsiteX56" fmla="*/ 377080 w 2441576"/>
                <a:gd name="connsiteY56" fmla="*/ 900906 h 900906"/>
                <a:gd name="connsiteX57" fmla="*/ 282811 w 2441576"/>
                <a:gd name="connsiteY57" fmla="*/ 900906 h 900906"/>
                <a:gd name="connsiteX58" fmla="*/ 188541 w 2441576"/>
                <a:gd name="connsiteY58" fmla="*/ 900906 h 900906"/>
                <a:gd name="connsiteX59" fmla="*/ 185400 w 2441576"/>
                <a:gd name="connsiteY59" fmla="*/ 900906 h 900906"/>
                <a:gd name="connsiteX60" fmla="*/ 94270 w 2441576"/>
                <a:gd name="connsiteY60" fmla="*/ 900906 h 900906"/>
                <a:gd name="connsiteX61" fmla="*/ 0 w 2441576"/>
                <a:gd name="connsiteY61" fmla="*/ 900906 h 900906"/>
                <a:gd name="connsiteX62" fmla="*/ 0 w 2441576"/>
                <a:gd name="connsiteY62" fmla="*/ 832298 h 900906"/>
                <a:gd name="connsiteX63" fmla="*/ 0 w 2441576"/>
                <a:gd name="connsiteY63" fmla="*/ 760260 h 900906"/>
                <a:gd name="connsiteX64" fmla="*/ 0 w 2441576"/>
                <a:gd name="connsiteY64" fmla="*/ 748854 h 900906"/>
                <a:gd name="connsiteX65" fmla="*/ 0 w 2441576"/>
                <a:gd name="connsiteY65" fmla="*/ 691652 h 900906"/>
                <a:gd name="connsiteX66" fmla="*/ 0 w 2441576"/>
                <a:gd name="connsiteY66" fmla="*/ 608208 h 900906"/>
                <a:gd name="connsiteX67" fmla="*/ 0 w 2441576"/>
                <a:gd name="connsiteY67" fmla="*/ 539600 h 900906"/>
                <a:gd name="connsiteX68" fmla="*/ 0 w 2441576"/>
                <a:gd name="connsiteY68" fmla="*/ 456156 h 900906"/>
                <a:gd name="connsiteX69" fmla="*/ 0 w 2441576"/>
                <a:gd name="connsiteY69" fmla="*/ 387548 h 900906"/>
                <a:gd name="connsiteX70" fmla="*/ 0 w 2441576"/>
                <a:gd name="connsiteY70" fmla="*/ 304104 h 900906"/>
                <a:gd name="connsiteX71" fmla="*/ 0 w 2441576"/>
                <a:gd name="connsiteY71" fmla="*/ 235496 h 900906"/>
                <a:gd name="connsiteX72" fmla="*/ 0 w 2441576"/>
                <a:gd name="connsiteY72" fmla="*/ 152052 h 900906"/>
                <a:gd name="connsiteX73" fmla="*/ 0 w 2441576"/>
                <a:gd name="connsiteY73" fmla="*/ 83444 h 900906"/>
                <a:gd name="connsiteX74" fmla="*/ 0 w 2441576"/>
                <a:gd name="connsiteY74" fmla="*/ 0 h 900906"/>
                <a:gd name="connsiteX0" fmla="*/ 0 w 2441576"/>
                <a:gd name="connsiteY0" fmla="*/ 0 h 900906"/>
                <a:gd name="connsiteX1" fmla="*/ 94270 w 2441576"/>
                <a:gd name="connsiteY1" fmla="*/ 0 h 900906"/>
                <a:gd name="connsiteX2" fmla="*/ 185400 w 2441576"/>
                <a:gd name="connsiteY2" fmla="*/ 0 h 900906"/>
                <a:gd name="connsiteX3" fmla="*/ 188541 w 2441576"/>
                <a:gd name="connsiteY3" fmla="*/ 0 h 900906"/>
                <a:gd name="connsiteX4" fmla="*/ 282811 w 2441576"/>
                <a:gd name="connsiteY4" fmla="*/ 0 h 900906"/>
                <a:gd name="connsiteX5" fmla="*/ 377080 w 2441576"/>
                <a:gd name="connsiteY5" fmla="*/ 0 h 900906"/>
                <a:gd name="connsiteX6" fmla="*/ 470246 w 2441576"/>
                <a:gd name="connsiteY6" fmla="*/ 0 h 900906"/>
                <a:gd name="connsiteX7" fmla="*/ 471351 w 2441576"/>
                <a:gd name="connsiteY7" fmla="*/ 0 h 900906"/>
                <a:gd name="connsiteX8" fmla="*/ 581332 w 2441576"/>
                <a:gd name="connsiteY8" fmla="*/ 0 h 900906"/>
                <a:gd name="connsiteX9" fmla="*/ 685028 w 2441576"/>
                <a:gd name="connsiteY9" fmla="*/ 0 h 900906"/>
                <a:gd name="connsiteX10" fmla="*/ 755093 w 2441576"/>
                <a:gd name="connsiteY10" fmla="*/ 0 h 900906"/>
                <a:gd name="connsiteX11" fmla="*/ 969874 w 2441576"/>
                <a:gd name="connsiteY11" fmla="*/ 0 h 900906"/>
                <a:gd name="connsiteX12" fmla="*/ 1039939 w 2441576"/>
                <a:gd name="connsiteY12" fmla="*/ 0 h 900906"/>
                <a:gd name="connsiteX13" fmla="*/ 1254721 w 2441576"/>
                <a:gd name="connsiteY13" fmla="*/ 0 h 900906"/>
                <a:gd name="connsiteX14" fmla="*/ 1324785 w 2441576"/>
                <a:gd name="connsiteY14" fmla="*/ 0 h 900906"/>
                <a:gd name="connsiteX15" fmla="*/ 1539566 w 2441576"/>
                <a:gd name="connsiteY15" fmla="*/ 0 h 900906"/>
                <a:gd name="connsiteX16" fmla="*/ 1609632 w 2441576"/>
                <a:gd name="connsiteY16" fmla="*/ 0 h 900906"/>
                <a:gd name="connsiteX17" fmla="*/ 1824412 w 2441576"/>
                <a:gd name="connsiteY17" fmla="*/ 0 h 900906"/>
                <a:gd name="connsiteX18" fmla="*/ 1941949 w 2441576"/>
                <a:gd name="connsiteY18" fmla="*/ 0 h 900906"/>
                <a:gd name="connsiteX19" fmla="*/ 2094866 w 2441576"/>
                <a:gd name="connsiteY19" fmla="*/ 0 h 900906"/>
                <a:gd name="connsiteX20" fmla="*/ 2176781 w 2441576"/>
                <a:gd name="connsiteY20" fmla="*/ 0 h 900906"/>
                <a:gd name="connsiteX21" fmla="*/ 2258696 w 2441576"/>
                <a:gd name="connsiteY21" fmla="*/ 0 h 900906"/>
                <a:gd name="connsiteX22" fmla="*/ 2321561 w 2441576"/>
                <a:gd name="connsiteY22" fmla="*/ 0 h 900906"/>
                <a:gd name="connsiteX23" fmla="*/ 2441576 w 2441576"/>
                <a:gd name="connsiteY23" fmla="*/ 0 h 900906"/>
                <a:gd name="connsiteX24" fmla="*/ 2441576 w 2441576"/>
                <a:gd name="connsiteY24" fmla="*/ 83444 h 900906"/>
                <a:gd name="connsiteX25" fmla="*/ 2441576 w 2441576"/>
                <a:gd name="connsiteY25" fmla="*/ 152052 h 900906"/>
                <a:gd name="connsiteX26" fmla="*/ 2441576 w 2441576"/>
                <a:gd name="connsiteY26" fmla="*/ 235496 h 900906"/>
                <a:gd name="connsiteX27" fmla="*/ 2441576 w 2441576"/>
                <a:gd name="connsiteY27" fmla="*/ 304104 h 900906"/>
                <a:gd name="connsiteX28" fmla="*/ 2441576 w 2441576"/>
                <a:gd name="connsiteY28" fmla="*/ 387548 h 900906"/>
                <a:gd name="connsiteX29" fmla="*/ 2441576 w 2441576"/>
                <a:gd name="connsiteY29" fmla="*/ 456156 h 900906"/>
                <a:gd name="connsiteX30" fmla="*/ 2441576 w 2441576"/>
                <a:gd name="connsiteY30" fmla="*/ 539600 h 900906"/>
                <a:gd name="connsiteX31" fmla="*/ 2441576 w 2441576"/>
                <a:gd name="connsiteY31" fmla="*/ 608208 h 900906"/>
                <a:gd name="connsiteX32" fmla="*/ 2441576 w 2441576"/>
                <a:gd name="connsiteY32" fmla="*/ 691652 h 900906"/>
                <a:gd name="connsiteX33" fmla="*/ 2441576 w 2441576"/>
                <a:gd name="connsiteY33" fmla="*/ 748854 h 900906"/>
                <a:gd name="connsiteX34" fmla="*/ 2441576 w 2441576"/>
                <a:gd name="connsiteY34" fmla="*/ 760260 h 900906"/>
                <a:gd name="connsiteX35" fmla="*/ 2441576 w 2441576"/>
                <a:gd name="connsiteY35" fmla="*/ 832298 h 900906"/>
                <a:gd name="connsiteX36" fmla="*/ 2441576 w 2441576"/>
                <a:gd name="connsiteY36" fmla="*/ 900906 h 900906"/>
                <a:gd name="connsiteX37" fmla="*/ 2403476 w 2441576"/>
                <a:gd name="connsiteY37" fmla="*/ 900906 h 900906"/>
                <a:gd name="connsiteX38" fmla="*/ 2321561 w 2441576"/>
                <a:gd name="connsiteY38" fmla="*/ 900906 h 900906"/>
                <a:gd name="connsiteX39" fmla="*/ 2239646 w 2441576"/>
                <a:gd name="connsiteY39" fmla="*/ 900906 h 900906"/>
                <a:gd name="connsiteX40" fmla="*/ 2176781 w 2441576"/>
                <a:gd name="connsiteY40" fmla="*/ 900906 h 900906"/>
                <a:gd name="connsiteX41" fmla="*/ 2109259 w 2441576"/>
                <a:gd name="connsiteY41" fmla="*/ 900906 h 900906"/>
                <a:gd name="connsiteX42" fmla="*/ 1941949 w 2441576"/>
                <a:gd name="connsiteY42" fmla="*/ 900906 h 900906"/>
                <a:gd name="connsiteX43" fmla="*/ 1824412 w 2441576"/>
                <a:gd name="connsiteY43" fmla="*/ 900906 h 900906"/>
                <a:gd name="connsiteX44" fmla="*/ 1609632 w 2441576"/>
                <a:gd name="connsiteY44" fmla="*/ 900906 h 900906"/>
                <a:gd name="connsiteX45" fmla="*/ 1539566 w 2441576"/>
                <a:gd name="connsiteY45" fmla="*/ 900906 h 900906"/>
                <a:gd name="connsiteX46" fmla="*/ 1324785 w 2441576"/>
                <a:gd name="connsiteY46" fmla="*/ 900906 h 900906"/>
                <a:gd name="connsiteX47" fmla="*/ 1254721 w 2441576"/>
                <a:gd name="connsiteY47" fmla="*/ 900906 h 900906"/>
                <a:gd name="connsiteX48" fmla="*/ 1039939 w 2441576"/>
                <a:gd name="connsiteY48" fmla="*/ 900906 h 900906"/>
                <a:gd name="connsiteX49" fmla="*/ 969874 w 2441576"/>
                <a:gd name="connsiteY49" fmla="*/ 900906 h 900906"/>
                <a:gd name="connsiteX50" fmla="*/ 755093 w 2441576"/>
                <a:gd name="connsiteY50" fmla="*/ 900906 h 900906"/>
                <a:gd name="connsiteX51" fmla="*/ 685028 w 2441576"/>
                <a:gd name="connsiteY51" fmla="*/ 900906 h 900906"/>
                <a:gd name="connsiteX52" fmla="*/ 581332 w 2441576"/>
                <a:gd name="connsiteY52" fmla="*/ 900906 h 900906"/>
                <a:gd name="connsiteX53" fmla="*/ 471351 w 2441576"/>
                <a:gd name="connsiteY53" fmla="*/ 900906 h 900906"/>
                <a:gd name="connsiteX54" fmla="*/ 470246 w 2441576"/>
                <a:gd name="connsiteY54" fmla="*/ 900906 h 900906"/>
                <a:gd name="connsiteX55" fmla="*/ 377080 w 2441576"/>
                <a:gd name="connsiteY55" fmla="*/ 900906 h 900906"/>
                <a:gd name="connsiteX56" fmla="*/ 282811 w 2441576"/>
                <a:gd name="connsiteY56" fmla="*/ 900906 h 900906"/>
                <a:gd name="connsiteX57" fmla="*/ 188541 w 2441576"/>
                <a:gd name="connsiteY57" fmla="*/ 900906 h 900906"/>
                <a:gd name="connsiteX58" fmla="*/ 185400 w 2441576"/>
                <a:gd name="connsiteY58" fmla="*/ 900906 h 900906"/>
                <a:gd name="connsiteX59" fmla="*/ 94270 w 2441576"/>
                <a:gd name="connsiteY59" fmla="*/ 900906 h 900906"/>
                <a:gd name="connsiteX60" fmla="*/ 0 w 2441576"/>
                <a:gd name="connsiteY60" fmla="*/ 900906 h 900906"/>
                <a:gd name="connsiteX61" fmla="*/ 0 w 2441576"/>
                <a:gd name="connsiteY61" fmla="*/ 832298 h 900906"/>
                <a:gd name="connsiteX62" fmla="*/ 0 w 2441576"/>
                <a:gd name="connsiteY62" fmla="*/ 760260 h 900906"/>
                <a:gd name="connsiteX63" fmla="*/ 0 w 2441576"/>
                <a:gd name="connsiteY63" fmla="*/ 748854 h 900906"/>
                <a:gd name="connsiteX64" fmla="*/ 0 w 2441576"/>
                <a:gd name="connsiteY64" fmla="*/ 691652 h 900906"/>
                <a:gd name="connsiteX65" fmla="*/ 0 w 2441576"/>
                <a:gd name="connsiteY65" fmla="*/ 608208 h 900906"/>
                <a:gd name="connsiteX66" fmla="*/ 0 w 2441576"/>
                <a:gd name="connsiteY66" fmla="*/ 539600 h 900906"/>
                <a:gd name="connsiteX67" fmla="*/ 0 w 2441576"/>
                <a:gd name="connsiteY67" fmla="*/ 456156 h 900906"/>
                <a:gd name="connsiteX68" fmla="*/ 0 w 2441576"/>
                <a:gd name="connsiteY68" fmla="*/ 387548 h 900906"/>
                <a:gd name="connsiteX69" fmla="*/ 0 w 2441576"/>
                <a:gd name="connsiteY69" fmla="*/ 304104 h 900906"/>
                <a:gd name="connsiteX70" fmla="*/ 0 w 2441576"/>
                <a:gd name="connsiteY70" fmla="*/ 235496 h 900906"/>
                <a:gd name="connsiteX71" fmla="*/ 0 w 2441576"/>
                <a:gd name="connsiteY71" fmla="*/ 152052 h 900906"/>
                <a:gd name="connsiteX72" fmla="*/ 0 w 2441576"/>
                <a:gd name="connsiteY72" fmla="*/ 83444 h 900906"/>
                <a:gd name="connsiteX73" fmla="*/ 0 w 2441576"/>
                <a:gd name="connsiteY73" fmla="*/ 0 h 900906"/>
                <a:gd name="connsiteX0" fmla="*/ 0 w 2441576"/>
                <a:gd name="connsiteY0" fmla="*/ 0 h 900906"/>
                <a:gd name="connsiteX1" fmla="*/ 94270 w 2441576"/>
                <a:gd name="connsiteY1" fmla="*/ 0 h 900906"/>
                <a:gd name="connsiteX2" fmla="*/ 185400 w 2441576"/>
                <a:gd name="connsiteY2" fmla="*/ 0 h 900906"/>
                <a:gd name="connsiteX3" fmla="*/ 188541 w 2441576"/>
                <a:gd name="connsiteY3" fmla="*/ 0 h 900906"/>
                <a:gd name="connsiteX4" fmla="*/ 282811 w 2441576"/>
                <a:gd name="connsiteY4" fmla="*/ 0 h 900906"/>
                <a:gd name="connsiteX5" fmla="*/ 377080 w 2441576"/>
                <a:gd name="connsiteY5" fmla="*/ 0 h 900906"/>
                <a:gd name="connsiteX6" fmla="*/ 470246 w 2441576"/>
                <a:gd name="connsiteY6" fmla="*/ 0 h 900906"/>
                <a:gd name="connsiteX7" fmla="*/ 471351 w 2441576"/>
                <a:gd name="connsiteY7" fmla="*/ 0 h 900906"/>
                <a:gd name="connsiteX8" fmla="*/ 581332 w 2441576"/>
                <a:gd name="connsiteY8" fmla="*/ 0 h 900906"/>
                <a:gd name="connsiteX9" fmla="*/ 685028 w 2441576"/>
                <a:gd name="connsiteY9" fmla="*/ 0 h 900906"/>
                <a:gd name="connsiteX10" fmla="*/ 755093 w 2441576"/>
                <a:gd name="connsiteY10" fmla="*/ 0 h 900906"/>
                <a:gd name="connsiteX11" fmla="*/ 969874 w 2441576"/>
                <a:gd name="connsiteY11" fmla="*/ 0 h 900906"/>
                <a:gd name="connsiteX12" fmla="*/ 1039939 w 2441576"/>
                <a:gd name="connsiteY12" fmla="*/ 0 h 900906"/>
                <a:gd name="connsiteX13" fmla="*/ 1254721 w 2441576"/>
                <a:gd name="connsiteY13" fmla="*/ 0 h 900906"/>
                <a:gd name="connsiteX14" fmla="*/ 1324785 w 2441576"/>
                <a:gd name="connsiteY14" fmla="*/ 0 h 900906"/>
                <a:gd name="connsiteX15" fmla="*/ 1539566 w 2441576"/>
                <a:gd name="connsiteY15" fmla="*/ 0 h 900906"/>
                <a:gd name="connsiteX16" fmla="*/ 1609632 w 2441576"/>
                <a:gd name="connsiteY16" fmla="*/ 0 h 900906"/>
                <a:gd name="connsiteX17" fmla="*/ 1824412 w 2441576"/>
                <a:gd name="connsiteY17" fmla="*/ 0 h 900906"/>
                <a:gd name="connsiteX18" fmla="*/ 1941949 w 2441576"/>
                <a:gd name="connsiteY18" fmla="*/ 0 h 900906"/>
                <a:gd name="connsiteX19" fmla="*/ 2094866 w 2441576"/>
                <a:gd name="connsiteY19" fmla="*/ 0 h 900906"/>
                <a:gd name="connsiteX20" fmla="*/ 2176781 w 2441576"/>
                <a:gd name="connsiteY20" fmla="*/ 0 h 900906"/>
                <a:gd name="connsiteX21" fmla="*/ 2258696 w 2441576"/>
                <a:gd name="connsiteY21" fmla="*/ 0 h 900906"/>
                <a:gd name="connsiteX22" fmla="*/ 2321561 w 2441576"/>
                <a:gd name="connsiteY22" fmla="*/ 0 h 900906"/>
                <a:gd name="connsiteX23" fmla="*/ 2441576 w 2441576"/>
                <a:gd name="connsiteY23" fmla="*/ 0 h 900906"/>
                <a:gd name="connsiteX24" fmla="*/ 2441576 w 2441576"/>
                <a:gd name="connsiteY24" fmla="*/ 83444 h 900906"/>
                <a:gd name="connsiteX25" fmla="*/ 2441576 w 2441576"/>
                <a:gd name="connsiteY25" fmla="*/ 152052 h 900906"/>
                <a:gd name="connsiteX26" fmla="*/ 2441576 w 2441576"/>
                <a:gd name="connsiteY26" fmla="*/ 235496 h 900906"/>
                <a:gd name="connsiteX27" fmla="*/ 2441576 w 2441576"/>
                <a:gd name="connsiteY27" fmla="*/ 304104 h 900906"/>
                <a:gd name="connsiteX28" fmla="*/ 2441576 w 2441576"/>
                <a:gd name="connsiteY28" fmla="*/ 387548 h 900906"/>
                <a:gd name="connsiteX29" fmla="*/ 2441576 w 2441576"/>
                <a:gd name="connsiteY29" fmla="*/ 456156 h 900906"/>
                <a:gd name="connsiteX30" fmla="*/ 2441576 w 2441576"/>
                <a:gd name="connsiteY30" fmla="*/ 539600 h 900906"/>
                <a:gd name="connsiteX31" fmla="*/ 2441576 w 2441576"/>
                <a:gd name="connsiteY31" fmla="*/ 608208 h 900906"/>
                <a:gd name="connsiteX32" fmla="*/ 2441576 w 2441576"/>
                <a:gd name="connsiteY32" fmla="*/ 691652 h 900906"/>
                <a:gd name="connsiteX33" fmla="*/ 2441576 w 2441576"/>
                <a:gd name="connsiteY33" fmla="*/ 748854 h 900906"/>
                <a:gd name="connsiteX34" fmla="*/ 2441576 w 2441576"/>
                <a:gd name="connsiteY34" fmla="*/ 760260 h 900906"/>
                <a:gd name="connsiteX35" fmla="*/ 2441576 w 2441576"/>
                <a:gd name="connsiteY35" fmla="*/ 832298 h 900906"/>
                <a:gd name="connsiteX36" fmla="*/ 2441576 w 2441576"/>
                <a:gd name="connsiteY36" fmla="*/ 900906 h 900906"/>
                <a:gd name="connsiteX37" fmla="*/ 2321561 w 2441576"/>
                <a:gd name="connsiteY37" fmla="*/ 900906 h 900906"/>
                <a:gd name="connsiteX38" fmla="*/ 2239646 w 2441576"/>
                <a:gd name="connsiteY38" fmla="*/ 900906 h 900906"/>
                <a:gd name="connsiteX39" fmla="*/ 2176781 w 2441576"/>
                <a:gd name="connsiteY39" fmla="*/ 900906 h 900906"/>
                <a:gd name="connsiteX40" fmla="*/ 2109259 w 2441576"/>
                <a:gd name="connsiteY40" fmla="*/ 900906 h 900906"/>
                <a:gd name="connsiteX41" fmla="*/ 1941949 w 2441576"/>
                <a:gd name="connsiteY41" fmla="*/ 900906 h 900906"/>
                <a:gd name="connsiteX42" fmla="*/ 1824412 w 2441576"/>
                <a:gd name="connsiteY42" fmla="*/ 900906 h 900906"/>
                <a:gd name="connsiteX43" fmla="*/ 1609632 w 2441576"/>
                <a:gd name="connsiteY43" fmla="*/ 900906 h 900906"/>
                <a:gd name="connsiteX44" fmla="*/ 1539566 w 2441576"/>
                <a:gd name="connsiteY44" fmla="*/ 900906 h 900906"/>
                <a:gd name="connsiteX45" fmla="*/ 1324785 w 2441576"/>
                <a:gd name="connsiteY45" fmla="*/ 900906 h 900906"/>
                <a:gd name="connsiteX46" fmla="*/ 1254721 w 2441576"/>
                <a:gd name="connsiteY46" fmla="*/ 900906 h 900906"/>
                <a:gd name="connsiteX47" fmla="*/ 1039939 w 2441576"/>
                <a:gd name="connsiteY47" fmla="*/ 900906 h 900906"/>
                <a:gd name="connsiteX48" fmla="*/ 969874 w 2441576"/>
                <a:gd name="connsiteY48" fmla="*/ 900906 h 900906"/>
                <a:gd name="connsiteX49" fmla="*/ 755093 w 2441576"/>
                <a:gd name="connsiteY49" fmla="*/ 900906 h 900906"/>
                <a:gd name="connsiteX50" fmla="*/ 685028 w 2441576"/>
                <a:gd name="connsiteY50" fmla="*/ 900906 h 900906"/>
                <a:gd name="connsiteX51" fmla="*/ 581332 w 2441576"/>
                <a:gd name="connsiteY51" fmla="*/ 900906 h 900906"/>
                <a:gd name="connsiteX52" fmla="*/ 471351 w 2441576"/>
                <a:gd name="connsiteY52" fmla="*/ 900906 h 900906"/>
                <a:gd name="connsiteX53" fmla="*/ 470246 w 2441576"/>
                <a:gd name="connsiteY53" fmla="*/ 900906 h 900906"/>
                <a:gd name="connsiteX54" fmla="*/ 377080 w 2441576"/>
                <a:gd name="connsiteY54" fmla="*/ 900906 h 900906"/>
                <a:gd name="connsiteX55" fmla="*/ 282811 w 2441576"/>
                <a:gd name="connsiteY55" fmla="*/ 900906 h 900906"/>
                <a:gd name="connsiteX56" fmla="*/ 188541 w 2441576"/>
                <a:gd name="connsiteY56" fmla="*/ 900906 h 900906"/>
                <a:gd name="connsiteX57" fmla="*/ 185400 w 2441576"/>
                <a:gd name="connsiteY57" fmla="*/ 900906 h 900906"/>
                <a:gd name="connsiteX58" fmla="*/ 94270 w 2441576"/>
                <a:gd name="connsiteY58" fmla="*/ 900906 h 900906"/>
                <a:gd name="connsiteX59" fmla="*/ 0 w 2441576"/>
                <a:gd name="connsiteY59" fmla="*/ 900906 h 900906"/>
                <a:gd name="connsiteX60" fmla="*/ 0 w 2441576"/>
                <a:gd name="connsiteY60" fmla="*/ 832298 h 900906"/>
                <a:gd name="connsiteX61" fmla="*/ 0 w 2441576"/>
                <a:gd name="connsiteY61" fmla="*/ 760260 h 900906"/>
                <a:gd name="connsiteX62" fmla="*/ 0 w 2441576"/>
                <a:gd name="connsiteY62" fmla="*/ 748854 h 900906"/>
                <a:gd name="connsiteX63" fmla="*/ 0 w 2441576"/>
                <a:gd name="connsiteY63" fmla="*/ 691652 h 900906"/>
                <a:gd name="connsiteX64" fmla="*/ 0 w 2441576"/>
                <a:gd name="connsiteY64" fmla="*/ 608208 h 900906"/>
                <a:gd name="connsiteX65" fmla="*/ 0 w 2441576"/>
                <a:gd name="connsiteY65" fmla="*/ 539600 h 900906"/>
                <a:gd name="connsiteX66" fmla="*/ 0 w 2441576"/>
                <a:gd name="connsiteY66" fmla="*/ 456156 h 900906"/>
                <a:gd name="connsiteX67" fmla="*/ 0 w 2441576"/>
                <a:gd name="connsiteY67" fmla="*/ 387548 h 900906"/>
                <a:gd name="connsiteX68" fmla="*/ 0 w 2441576"/>
                <a:gd name="connsiteY68" fmla="*/ 304104 h 900906"/>
                <a:gd name="connsiteX69" fmla="*/ 0 w 2441576"/>
                <a:gd name="connsiteY69" fmla="*/ 235496 h 900906"/>
                <a:gd name="connsiteX70" fmla="*/ 0 w 2441576"/>
                <a:gd name="connsiteY70" fmla="*/ 152052 h 900906"/>
                <a:gd name="connsiteX71" fmla="*/ 0 w 2441576"/>
                <a:gd name="connsiteY71" fmla="*/ 83444 h 900906"/>
                <a:gd name="connsiteX72" fmla="*/ 0 w 2441576"/>
                <a:gd name="connsiteY72" fmla="*/ 0 h 900906"/>
                <a:gd name="connsiteX0" fmla="*/ 0 w 2441576"/>
                <a:gd name="connsiteY0" fmla="*/ 0 h 900906"/>
                <a:gd name="connsiteX1" fmla="*/ 94270 w 2441576"/>
                <a:gd name="connsiteY1" fmla="*/ 0 h 900906"/>
                <a:gd name="connsiteX2" fmla="*/ 185400 w 2441576"/>
                <a:gd name="connsiteY2" fmla="*/ 0 h 900906"/>
                <a:gd name="connsiteX3" fmla="*/ 188541 w 2441576"/>
                <a:gd name="connsiteY3" fmla="*/ 0 h 900906"/>
                <a:gd name="connsiteX4" fmla="*/ 282811 w 2441576"/>
                <a:gd name="connsiteY4" fmla="*/ 0 h 900906"/>
                <a:gd name="connsiteX5" fmla="*/ 377080 w 2441576"/>
                <a:gd name="connsiteY5" fmla="*/ 0 h 900906"/>
                <a:gd name="connsiteX6" fmla="*/ 470246 w 2441576"/>
                <a:gd name="connsiteY6" fmla="*/ 0 h 900906"/>
                <a:gd name="connsiteX7" fmla="*/ 471351 w 2441576"/>
                <a:gd name="connsiteY7" fmla="*/ 0 h 900906"/>
                <a:gd name="connsiteX8" fmla="*/ 581332 w 2441576"/>
                <a:gd name="connsiteY8" fmla="*/ 0 h 900906"/>
                <a:gd name="connsiteX9" fmla="*/ 685028 w 2441576"/>
                <a:gd name="connsiteY9" fmla="*/ 0 h 900906"/>
                <a:gd name="connsiteX10" fmla="*/ 755093 w 2441576"/>
                <a:gd name="connsiteY10" fmla="*/ 0 h 900906"/>
                <a:gd name="connsiteX11" fmla="*/ 969874 w 2441576"/>
                <a:gd name="connsiteY11" fmla="*/ 0 h 900906"/>
                <a:gd name="connsiteX12" fmla="*/ 1039939 w 2441576"/>
                <a:gd name="connsiteY12" fmla="*/ 0 h 900906"/>
                <a:gd name="connsiteX13" fmla="*/ 1254721 w 2441576"/>
                <a:gd name="connsiteY13" fmla="*/ 0 h 900906"/>
                <a:gd name="connsiteX14" fmla="*/ 1324785 w 2441576"/>
                <a:gd name="connsiteY14" fmla="*/ 0 h 900906"/>
                <a:gd name="connsiteX15" fmla="*/ 1539566 w 2441576"/>
                <a:gd name="connsiteY15" fmla="*/ 0 h 900906"/>
                <a:gd name="connsiteX16" fmla="*/ 1609632 w 2441576"/>
                <a:gd name="connsiteY16" fmla="*/ 0 h 900906"/>
                <a:gd name="connsiteX17" fmla="*/ 1824412 w 2441576"/>
                <a:gd name="connsiteY17" fmla="*/ 0 h 900906"/>
                <a:gd name="connsiteX18" fmla="*/ 1941949 w 2441576"/>
                <a:gd name="connsiteY18" fmla="*/ 0 h 900906"/>
                <a:gd name="connsiteX19" fmla="*/ 2094866 w 2441576"/>
                <a:gd name="connsiteY19" fmla="*/ 0 h 900906"/>
                <a:gd name="connsiteX20" fmla="*/ 2176781 w 2441576"/>
                <a:gd name="connsiteY20" fmla="*/ 0 h 900906"/>
                <a:gd name="connsiteX21" fmla="*/ 2258696 w 2441576"/>
                <a:gd name="connsiteY21" fmla="*/ 0 h 900906"/>
                <a:gd name="connsiteX22" fmla="*/ 2321561 w 2441576"/>
                <a:gd name="connsiteY22" fmla="*/ 0 h 900906"/>
                <a:gd name="connsiteX23" fmla="*/ 2441576 w 2441576"/>
                <a:gd name="connsiteY23" fmla="*/ 0 h 900906"/>
                <a:gd name="connsiteX24" fmla="*/ 2441576 w 2441576"/>
                <a:gd name="connsiteY24" fmla="*/ 83444 h 900906"/>
                <a:gd name="connsiteX25" fmla="*/ 2441576 w 2441576"/>
                <a:gd name="connsiteY25" fmla="*/ 152052 h 900906"/>
                <a:gd name="connsiteX26" fmla="*/ 2441576 w 2441576"/>
                <a:gd name="connsiteY26" fmla="*/ 235496 h 900906"/>
                <a:gd name="connsiteX27" fmla="*/ 2441576 w 2441576"/>
                <a:gd name="connsiteY27" fmla="*/ 304104 h 900906"/>
                <a:gd name="connsiteX28" fmla="*/ 2441576 w 2441576"/>
                <a:gd name="connsiteY28" fmla="*/ 387548 h 900906"/>
                <a:gd name="connsiteX29" fmla="*/ 2441576 w 2441576"/>
                <a:gd name="connsiteY29" fmla="*/ 456156 h 900906"/>
                <a:gd name="connsiteX30" fmla="*/ 2441576 w 2441576"/>
                <a:gd name="connsiteY30" fmla="*/ 539600 h 900906"/>
                <a:gd name="connsiteX31" fmla="*/ 2441576 w 2441576"/>
                <a:gd name="connsiteY31" fmla="*/ 608208 h 900906"/>
                <a:gd name="connsiteX32" fmla="*/ 2441576 w 2441576"/>
                <a:gd name="connsiteY32" fmla="*/ 691652 h 900906"/>
                <a:gd name="connsiteX33" fmla="*/ 2441576 w 2441576"/>
                <a:gd name="connsiteY33" fmla="*/ 760260 h 900906"/>
                <a:gd name="connsiteX34" fmla="*/ 2441576 w 2441576"/>
                <a:gd name="connsiteY34" fmla="*/ 832298 h 900906"/>
                <a:gd name="connsiteX35" fmla="*/ 2441576 w 2441576"/>
                <a:gd name="connsiteY35" fmla="*/ 900906 h 900906"/>
                <a:gd name="connsiteX36" fmla="*/ 2321561 w 2441576"/>
                <a:gd name="connsiteY36" fmla="*/ 900906 h 900906"/>
                <a:gd name="connsiteX37" fmla="*/ 2239646 w 2441576"/>
                <a:gd name="connsiteY37" fmla="*/ 900906 h 900906"/>
                <a:gd name="connsiteX38" fmla="*/ 2176781 w 2441576"/>
                <a:gd name="connsiteY38" fmla="*/ 900906 h 900906"/>
                <a:gd name="connsiteX39" fmla="*/ 2109259 w 2441576"/>
                <a:gd name="connsiteY39" fmla="*/ 900906 h 900906"/>
                <a:gd name="connsiteX40" fmla="*/ 1941949 w 2441576"/>
                <a:gd name="connsiteY40" fmla="*/ 900906 h 900906"/>
                <a:gd name="connsiteX41" fmla="*/ 1824412 w 2441576"/>
                <a:gd name="connsiteY41" fmla="*/ 900906 h 900906"/>
                <a:gd name="connsiteX42" fmla="*/ 1609632 w 2441576"/>
                <a:gd name="connsiteY42" fmla="*/ 900906 h 900906"/>
                <a:gd name="connsiteX43" fmla="*/ 1539566 w 2441576"/>
                <a:gd name="connsiteY43" fmla="*/ 900906 h 900906"/>
                <a:gd name="connsiteX44" fmla="*/ 1324785 w 2441576"/>
                <a:gd name="connsiteY44" fmla="*/ 900906 h 900906"/>
                <a:gd name="connsiteX45" fmla="*/ 1254721 w 2441576"/>
                <a:gd name="connsiteY45" fmla="*/ 900906 h 900906"/>
                <a:gd name="connsiteX46" fmla="*/ 1039939 w 2441576"/>
                <a:gd name="connsiteY46" fmla="*/ 900906 h 900906"/>
                <a:gd name="connsiteX47" fmla="*/ 969874 w 2441576"/>
                <a:gd name="connsiteY47" fmla="*/ 900906 h 900906"/>
                <a:gd name="connsiteX48" fmla="*/ 755093 w 2441576"/>
                <a:gd name="connsiteY48" fmla="*/ 900906 h 900906"/>
                <a:gd name="connsiteX49" fmla="*/ 685028 w 2441576"/>
                <a:gd name="connsiteY49" fmla="*/ 900906 h 900906"/>
                <a:gd name="connsiteX50" fmla="*/ 581332 w 2441576"/>
                <a:gd name="connsiteY50" fmla="*/ 900906 h 900906"/>
                <a:gd name="connsiteX51" fmla="*/ 471351 w 2441576"/>
                <a:gd name="connsiteY51" fmla="*/ 900906 h 900906"/>
                <a:gd name="connsiteX52" fmla="*/ 470246 w 2441576"/>
                <a:gd name="connsiteY52" fmla="*/ 900906 h 900906"/>
                <a:gd name="connsiteX53" fmla="*/ 377080 w 2441576"/>
                <a:gd name="connsiteY53" fmla="*/ 900906 h 900906"/>
                <a:gd name="connsiteX54" fmla="*/ 282811 w 2441576"/>
                <a:gd name="connsiteY54" fmla="*/ 900906 h 900906"/>
                <a:gd name="connsiteX55" fmla="*/ 188541 w 2441576"/>
                <a:gd name="connsiteY55" fmla="*/ 900906 h 900906"/>
                <a:gd name="connsiteX56" fmla="*/ 185400 w 2441576"/>
                <a:gd name="connsiteY56" fmla="*/ 900906 h 900906"/>
                <a:gd name="connsiteX57" fmla="*/ 94270 w 2441576"/>
                <a:gd name="connsiteY57" fmla="*/ 900906 h 900906"/>
                <a:gd name="connsiteX58" fmla="*/ 0 w 2441576"/>
                <a:gd name="connsiteY58" fmla="*/ 900906 h 900906"/>
                <a:gd name="connsiteX59" fmla="*/ 0 w 2441576"/>
                <a:gd name="connsiteY59" fmla="*/ 832298 h 900906"/>
                <a:gd name="connsiteX60" fmla="*/ 0 w 2441576"/>
                <a:gd name="connsiteY60" fmla="*/ 760260 h 900906"/>
                <a:gd name="connsiteX61" fmla="*/ 0 w 2441576"/>
                <a:gd name="connsiteY61" fmla="*/ 748854 h 900906"/>
                <a:gd name="connsiteX62" fmla="*/ 0 w 2441576"/>
                <a:gd name="connsiteY62" fmla="*/ 691652 h 900906"/>
                <a:gd name="connsiteX63" fmla="*/ 0 w 2441576"/>
                <a:gd name="connsiteY63" fmla="*/ 608208 h 900906"/>
                <a:gd name="connsiteX64" fmla="*/ 0 w 2441576"/>
                <a:gd name="connsiteY64" fmla="*/ 539600 h 900906"/>
                <a:gd name="connsiteX65" fmla="*/ 0 w 2441576"/>
                <a:gd name="connsiteY65" fmla="*/ 456156 h 900906"/>
                <a:gd name="connsiteX66" fmla="*/ 0 w 2441576"/>
                <a:gd name="connsiteY66" fmla="*/ 387548 h 900906"/>
                <a:gd name="connsiteX67" fmla="*/ 0 w 2441576"/>
                <a:gd name="connsiteY67" fmla="*/ 304104 h 900906"/>
                <a:gd name="connsiteX68" fmla="*/ 0 w 2441576"/>
                <a:gd name="connsiteY68" fmla="*/ 235496 h 900906"/>
                <a:gd name="connsiteX69" fmla="*/ 0 w 2441576"/>
                <a:gd name="connsiteY69" fmla="*/ 152052 h 900906"/>
                <a:gd name="connsiteX70" fmla="*/ 0 w 2441576"/>
                <a:gd name="connsiteY70" fmla="*/ 83444 h 900906"/>
                <a:gd name="connsiteX71" fmla="*/ 0 w 2441576"/>
                <a:gd name="connsiteY71" fmla="*/ 0 h 900906"/>
                <a:gd name="connsiteX0" fmla="*/ 0 w 2441576"/>
                <a:gd name="connsiteY0" fmla="*/ 0 h 900906"/>
                <a:gd name="connsiteX1" fmla="*/ 94270 w 2441576"/>
                <a:gd name="connsiteY1" fmla="*/ 0 h 900906"/>
                <a:gd name="connsiteX2" fmla="*/ 185400 w 2441576"/>
                <a:gd name="connsiteY2" fmla="*/ 0 h 900906"/>
                <a:gd name="connsiteX3" fmla="*/ 188541 w 2441576"/>
                <a:gd name="connsiteY3" fmla="*/ 0 h 900906"/>
                <a:gd name="connsiteX4" fmla="*/ 282811 w 2441576"/>
                <a:gd name="connsiteY4" fmla="*/ 0 h 900906"/>
                <a:gd name="connsiteX5" fmla="*/ 377080 w 2441576"/>
                <a:gd name="connsiteY5" fmla="*/ 0 h 900906"/>
                <a:gd name="connsiteX6" fmla="*/ 470246 w 2441576"/>
                <a:gd name="connsiteY6" fmla="*/ 0 h 900906"/>
                <a:gd name="connsiteX7" fmla="*/ 471351 w 2441576"/>
                <a:gd name="connsiteY7" fmla="*/ 0 h 900906"/>
                <a:gd name="connsiteX8" fmla="*/ 581332 w 2441576"/>
                <a:gd name="connsiteY8" fmla="*/ 0 h 900906"/>
                <a:gd name="connsiteX9" fmla="*/ 685028 w 2441576"/>
                <a:gd name="connsiteY9" fmla="*/ 0 h 900906"/>
                <a:gd name="connsiteX10" fmla="*/ 755093 w 2441576"/>
                <a:gd name="connsiteY10" fmla="*/ 0 h 900906"/>
                <a:gd name="connsiteX11" fmla="*/ 969874 w 2441576"/>
                <a:gd name="connsiteY11" fmla="*/ 0 h 900906"/>
                <a:gd name="connsiteX12" fmla="*/ 1039939 w 2441576"/>
                <a:gd name="connsiteY12" fmla="*/ 0 h 900906"/>
                <a:gd name="connsiteX13" fmla="*/ 1254721 w 2441576"/>
                <a:gd name="connsiteY13" fmla="*/ 0 h 900906"/>
                <a:gd name="connsiteX14" fmla="*/ 1324785 w 2441576"/>
                <a:gd name="connsiteY14" fmla="*/ 0 h 900906"/>
                <a:gd name="connsiteX15" fmla="*/ 1539566 w 2441576"/>
                <a:gd name="connsiteY15" fmla="*/ 0 h 900906"/>
                <a:gd name="connsiteX16" fmla="*/ 1609632 w 2441576"/>
                <a:gd name="connsiteY16" fmla="*/ 0 h 900906"/>
                <a:gd name="connsiteX17" fmla="*/ 1824412 w 2441576"/>
                <a:gd name="connsiteY17" fmla="*/ 0 h 900906"/>
                <a:gd name="connsiteX18" fmla="*/ 1941949 w 2441576"/>
                <a:gd name="connsiteY18" fmla="*/ 0 h 900906"/>
                <a:gd name="connsiteX19" fmla="*/ 2094866 w 2441576"/>
                <a:gd name="connsiteY19" fmla="*/ 0 h 900906"/>
                <a:gd name="connsiteX20" fmla="*/ 2176781 w 2441576"/>
                <a:gd name="connsiteY20" fmla="*/ 0 h 900906"/>
                <a:gd name="connsiteX21" fmla="*/ 2258696 w 2441576"/>
                <a:gd name="connsiteY21" fmla="*/ 0 h 900906"/>
                <a:gd name="connsiteX22" fmla="*/ 2321561 w 2441576"/>
                <a:gd name="connsiteY22" fmla="*/ 0 h 900906"/>
                <a:gd name="connsiteX23" fmla="*/ 2441576 w 2441576"/>
                <a:gd name="connsiteY23" fmla="*/ 0 h 900906"/>
                <a:gd name="connsiteX24" fmla="*/ 2441576 w 2441576"/>
                <a:gd name="connsiteY24" fmla="*/ 83444 h 900906"/>
                <a:gd name="connsiteX25" fmla="*/ 2441576 w 2441576"/>
                <a:gd name="connsiteY25" fmla="*/ 152052 h 900906"/>
                <a:gd name="connsiteX26" fmla="*/ 2441576 w 2441576"/>
                <a:gd name="connsiteY26" fmla="*/ 235496 h 900906"/>
                <a:gd name="connsiteX27" fmla="*/ 2441576 w 2441576"/>
                <a:gd name="connsiteY27" fmla="*/ 304104 h 900906"/>
                <a:gd name="connsiteX28" fmla="*/ 2441576 w 2441576"/>
                <a:gd name="connsiteY28" fmla="*/ 387548 h 900906"/>
                <a:gd name="connsiteX29" fmla="*/ 2441576 w 2441576"/>
                <a:gd name="connsiteY29" fmla="*/ 456156 h 900906"/>
                <a:gd name="connsiteX30" fmla="*/ 2441576 w 2441576"/>
                <a:gd name="connsiteY30" fmla="*/ 539600 h 900906"/>
                <a:gd name="connsiteX31" fmla="*/ 2441576 w 2441576"/>
                <a:gd name="connsiteY31" fmla="*/ 608208 h 900906"/>
                <a:gd name="connsiteX32" fmla="*/ 2441576 w 2441576"/>
                <a:gd name="connsiteY32" fmla="*/ 691652 h 900906"/>
                <a:gd name="connsiteX33" fmla="*/ 2441576 w 2441576"/>
                <a:gd name="connsiteY33" fmla="*/ 760260 h 900906"/>
                <a:gd name="connsiteX34" fmla="*/ 2441576 w 2441576"/>
                <a:gd name="connsiteY34" fmla="*/ 832298 h 900906"/>
                <a:gd name="connsiteX35" fmla="*/ 2441576 w 2441576"/>
                <a:gd name="connsiteY35" fmla="*/ 900906 h 900906"/>
                <a:gd name="connsiteX36" fmla="*/ 2321561 w 2441576"/>
                <a:gd name="connsiteY36" fmla="*/ 900906 h 900906"/>
                <a:gd name="connsiteX37" fmla="*/ 2239646 w 2441576"/>
                <a:gd name="connsiteY37" fmla="*/ 900906 h 900906"/>
                <a:gd name="connsiteX38" fmla="*/ 2176781 w 2441576"/>
                <a:gd name="connsiteY38" fmla="*/ 900906 h 900906"/>
                <a:gd name="connsiteX39" fmla="*/ 2109259 w 2441576"/>
                <a:gd name="connsiteY39" fmla="*/ 900906 h 900906"/>
                <a:gd name="connsiteX40" fmla="*/ 1941949 w 2441576"/>
                <a:gd name="connsiteY40" fmla="*/ 900906 h 900906"/>
                <a:gd name="connsiteX41" fmla="*/ 1824412 w 2441576"/>
                <a:gd name="connsiteY41" fmla="*/ 900906 h 900906"/>
                <a:gd name="connsiteX42" fmla="*/ 1609632 w 2441576"/>
                <a:gd name="connsiteY42" fmla="*/ 900906 h 900906"/>
                <a:gd name="connsiteX43" fmla="*/ 1539566 w 2441576"/>
                <a:gd name="connsiteY43" fmla="*/ 900906 h 900906"/>
                <a:gd name="connsiteX44" fmla="*/ 1324785 w 2441576"/>
                <a:gd name="connsiteY44" fmla="*/ 900906 h 900906"/>
                <a:gd name="connsiteX45" fmla="*/ 1254721 w 2441576"/>
                <a:gd name="connsiteY45" fmla="*/ 900906 h 900906"/>
                <a:gd name="connsiteX46" fmla="*/ 1039939 w 2441576"/>
                <a:gd name="connsiteY46" fmla="*/ 900906 h 900906"/>
                <a:gd name="connsiteX47" fmla="*/ 969874 w 2441576"/>
                <a:gd name="connsiteY47" fmla="*/ 900906 h 900906"/>
                <a:gd name="connsiteX48" fmla="*/ 755093 w 2441576"/>
                <a:gd name="connsiteY48" fmla="*/ 900906 h 900906"/>
                <a:gd name="connsiteX49" fmla="*/ 685028 w 2441576"/>
                <a:gd name="connsiteY49" fmla="*/ 900906 h 900906"/>
                <a:gd name="connsiteX50" fmla="*/ 581332 w 2441576"/>
                <a:gd name="connsiteY50" fmla="*/ 900906 h 900906"/>
                <a:gd name="connsiteX51" fmla="*/ 471351 w 2441576"/>
                <a:gd name="connsiteY51" fmla="*/ 900906 h 900906"/>
                <a:gd name="connsiteX52" fmla="*/ 470246 w 2441576"/>
                <a:gd name="connsiteY52" fmla="*/ 900906 h 900906"/>
                <a:gd name="connsiteX53" fmla="*/ 377080 w 2441576"/>
                <a:gd name="connsiteY53" fmla="*/ 900906 h 900906"/>
                <a:gd name="connsiteX54" fmla="*/ 282811 w 2441576"/>
                <a:gd name="connsiteY54" fmla="*/ 900906 h 900906"/>
                <a:gd name="connsiteX55" fmla="*/ 188541 w 2441576"/>
                <a:gd name="connsiteY55" fmla="*/ 900906 h 900906"/>
                <a:gd name="connsiteX56" fmla="*/ 185400 w 2441576"/>
                <a:gd name="connsiteY56" fmla="*/ 900906 h 900906"/>
                <a:gd name="connsiteX57" fmla="*/ 94270 w 2441576"/>
                <a:gd name="connsiteY57" fmla="*/ 900906 h 900906"/>
                <a:gd name="connsiteX58" fmla="*/ 0 w 2441576"/>
                <a:gd name="connsiteY58" fmla="*/ 900906 h 900906"/>
                <a:gd name="connsiteX59" fmla="*/ 0 w 2441576"/>
                <a:gd name="connsiteY59" fmla="*/ 832298 h 900906"/>
                <a:gd name="connsiteX60" fmla="*/ 0 w 2441576"/>
                <a:gd name="connsiteY60" fmla="*/ 760260 h 900906"/>
                <a:gd name="connsiteX61" fmla="*/ 0 w 2441576"/>
                <a:gd name="connsiteY61" fmla="*/ 691652 h 900906"/>
                <a:gd name="connsiteX62" fmla="*/ 0 w 2441576"/>
                <a:gd name="connsiteY62" fmla="*/ 608208 h 900906"/>
                <a:gd name="connsiteX63" fmla="*/ 0 w 2441576"/>
                <a:gd name="connsiteY63" fmla="*/ 539600 h 900906"/>
                <a:gd name="connsiteX64" fmla="*/ 0 w 2441576"/>
                <a:gd name="connsiteY64" fmla="*/ 456156 h 900906"/>
                <a:gd name="connsiteX65" fmla="*/ 0 w 2441576"/>
                <a:gd name="connsiteY65" fmla="*/ 387548 h 900906"/>
                <a:gd name="connsiteX66" fmla="*/ 0 w 2441576"/>
                <a:gd name="connsiteY66" fmla="*/ 304104 h 900906"/>
                <a:gd name="connsiteX67" fmla="*/ 0 w 2441576"/>
                <a:gd name="connsiteY67" fmla="*/ 235496 h 900906"/>
                <a:gd name="connsiteX68" fmla="*/ 0 w 2441576"/>
                <a:gd name="connsiteY68" fmla="*/ 152052 h 900906"/>
                <a:gd name="connsiteX69" fmla="*/ 0 w 2441576"/>
                <a:gd name="connsiteY69" fmla="*/ 83444 h 900906"/>
                <a:gd name="connsiteX70" fmla="*/ 0 w 2441576"/>
                <a:gd name="connsiteY70" fmla="*/ 0 h 900906"/>
                <a:gd name="connsiteX0" fmla="*/ 0 w 2441576"/>
                <a:gd name="connsiteY0" fmla="*/ 247 h 901153"/>
                <a:gd name="connsiteX1" fmla="*/ 94270 w 2441576"/>
                <a:gd name="connsiteY1" fmla="*/ 247 h 901153"/>
                <a:gd name="connsiteX2" fmla="*/ 185400 w 2441576"/>
                <a:gd name="connsiteY2" fmla="*/ 247 h 901153"/>
                <a:gd name="connsiteX3" fmla="*/ 188541 w 2441576"/>
                <a:gd name="connsiteY3" fmla="*/ 247 h 901153"/>
                <a:gd name="connsiteX4" fmla="*/ 282811 w 2441576"/>
                <a:gd name="connsiteY4" fmla="*/ 247 h 901153"/>
                <a:gd name="connsiteX5" fmla="*/ 377080 w 2441576"/>
                <a:gd name="connsiteY5" fmla="*/ 247 h 901153"/>
                <a:gd name="connsiteX6" fmla="*/ 470246 w 2441576"/>
                <a:gd name="connsiteY6" fmla="*/ 247 h 901153"/>
                <a:gd name="connsiteX7" fmla="*/ 471351 w 2441576"/>
                <a:gd name="connsiteY7" fmla="*/ 247 h 901153"/>
                <a:gd name="connsiteX8" fmla="*/ 581332 w 2441576"/>
                <a:gd name="connsiteY8" fmla="*/ 247 h 901153"/>
                <a:gd name="connsiteX9" fmla="*/ 685028 w 2441576"/>
                <a:gd name="connsiteY9" fmla="*/ 247 h 901153"/>
                <a:gd name="connsiteX10" fmla="*/ 755093 w 2441576"/>
                <a:gd name="connsiteY10" fmla="*/ 247 h 901153"/>
                <a:gd name="connsiteX11" fmla="*/ 969874 w 2441576"/>
                <a:gd name="connsiteY11" fmla="*/ 247 h 901153"/>
                <a:gd name="connsiteX12" fmla="*/ 1039939 w 2441576"/>
                <a:gd name="connsiteY12" fmla="*/ 247 h 901153"/>
                <a:gd name="connsiteX13" fmla="*/ 1254721 w 2441576"/>
                <a:gd name="connsiteY13" fmla="*/ 247 h 901153"/>
                <a:gd name="connsiteX14" fmla="*/ 1324785 w 2441576"/>
                <a:gd name="connsiteY14" fmla="*/ 247 h 901153"/>
                <a:gd name="connsiteX15" fmla="*/ 1430031 w 2441576"/>
                <a:gd name="connsiteY15" fmla="*/ 0 h 901153"/>
                <a:gd name="connsiteX16" fmla="*/ 1539566 w 2441576"/>
                <a:gd name="connsiteY16" fmla="*/ 247 h 901153"/>
                <a:gd name="connsiteX17" fmla="*/ 1609632 w 2441576"/>
                <a:gd name="connsiteY17" fmla="*/ 247 h 901153"/>
                <a:gd name="connsiteX18" fmla="*/ 1824412 w 2441576"/>
                <a:gd name="connsiteY18" fmla="*/ 247 h 901153"/>
                <a:gd name="connsiteX19" fmla="*/ 1941949 w 2441576"/>
                <a:gd name="connsiteY19" fmla="*/ 247 h 901153"/>
                <a:gd name="connsiteX20" fmla="*/ 2094866 w 2441576"/>
                <a:gd name="connsiteY20" fmla="*/ 247 h 901153"/>
                <a:gd name="connsiteX21" fmla="*/ 2176781 w 2441576"/>
                <a:gd name="connsiteY21" fmla="*/ 247 h 901153"/>
                <a:gd name="connsiteX22" fmla="*/ 2258696 w 2441576"/>
                <a:gd name="connsiteY22" fmla="*/ 247 h 901153"/>
                <a:gd name="connsiteX23" fmla="*/ 2321561 w 2441576"/>
                <a:gd name="connsiteY23" fmla="*/ 247 h 901153"/>
                <a:gd name="connsiteX24" fmla="*/ 2441576 w 2441576"/>
                <a:gd name="connsiteY24" fmla="*/ 247 h 901153"/>
                <a:gd name="connsiteX25" fmla="*/ 2441576 w 2441576"/>
                <a:gd name="connsiteY25" fmla="*/ 83691 h 901153"/>
                <a:gd name="connsiteX26" fmla="*/ 2441576 w 2441576"/>
                <a:gd name="connsiteY26" fmla="*/ 152299 h 901153"/>
                <a:gd name="connsiteX27" fmla="*/ 2441576 w 2441576"/>
                <a:gd name="connsiteY27" fmla="*/ 235743 h 901153"/>
                <a:gd name="connsiteX28" fmla="*/ 2441576 w 2441576"/>
                <a:gd name="connsiteY28" fmla="*/ 304351 h 901153"/>
                <a:gd name="connsiteX29" fmla="*/ 2441576 w 2441576"/>
                <a:gd name="connsiteY29" fmla="*/ 387795 h 901153"/>
                <a:gd name="connsiteX30" fmla="*/ 2441576 w 2441576"/>
                <a:gd name="connsiteY30" fmla="*/ 456403 h 901153"/>
                <a:gd name="connsiteX31" fmla="*/ 2441576 w 2441576"/>
                <a:gd name="connsiteY31" fmla="*/ 539847 h 901153"/>
                <a:gd name="connsiteX32" fmla="*/ 2441576 w 2441576"/>
                <a:gd name="connsiteY32" fmla="*/ 608455 h 901153"/>
                <a:gd name="connsiteX33" fmla="*/ 2441576 w 2441576"/>
                <a:gd name="connsiteY33" fmla="*/ 691899 h 901153"/>
                <a:gd name="connsiteX34" fmla="*/ 2441576 w 2441576"/>
                <a:gd name="connsiteY34" fmla="*/ 760507 h 901153"/>
                <a:gd name="connsiteX35" fmla="*/ 2441576 w 2441576"/>
                <a:gd name="connsiteY35" fmla="*/ 832545 h 901153"/>
                <a:gd name="connsiteX36" fmla="*/ 2441576 w 2441576"/>
                <a:gd name="connsiteY36" fmla="*/ 901153 h 901153"/>
                <a:gd name="connsiteX37" fmla="*/ 2321561 w 2441576"/>
                <a:gd name="connsiteY37" fmla="*/ 901153 h 901153"/>
                <a:gd name="connsiteX38" fmla="*/ 2239646 w 2441576"/>
                <a:gd name="connsiteY38" fmla="*/ 901153 h 901153"/>
                <a:gd name="connsiteX39" fmla="*/ 2176781 w 2441576"/>
                <a:gd name="connsiteY39" fmla="*/ 901153 h 901153"/>
                <a:gd name="connsiteX40" fmla="*/ 2109259 w 2441576"/>
                <a:gd name="connsiteY40" fmla="*/ 901153 h 901153"/>
                <a:gd name="connsiteX41" fmla="*/ 1941949 w 2441576"/>
                <a:gd name="connsiteY41" fmla="*/ 901153 h 901153"/>
                <a:gd name="connsiteX42" fmla="*/ 1824412 w 2441576"/>
                <a:gd name="connsiteY42" fmla="*/ 901153 h 901153"/>
                <a:gd name="connsiteX43" fmla="*/ 1609632 w 2441576"/>
                <a:gd name="connsiteY43" fmla="*/ 901153 h 901153"/>
                <a:gd name="connsiteX44" fmla="*/ 1539566 w 2441576"/>
                <a:gd name="connsiteY44" fmla="*/ 901153 h 901153"/>
                <a:gd name="connsiteX45" fmla="*/ 1324785 w 2441576"/>
                <a:gd name="connsiteY45" fmla="*/ 901153 h 901153"/>
                <a:gd name="connsiteX46" fmla="*/ 1254721 w 2441576"/>
                <a:gd name="connsiteY46" fmla="*/ 901153 h 901153"/>
                <a:gd name="connsiteX47" fmla="*/ 1039939 w 2441576"/>
                <a:gd name="connsiteY47" fmla="*/ 901153 h 901153"/>
                <a:gd name="connsiteX48" fmla="*/ 969874 w 2441576"/>
                <a:gd name="connsiteY48" fmla="*/ 901153 h 901153"/>
                <a:gd name="connsiteX49" fmla="*/ 755093 w 2441576"/>
                <a:gd name="connsiteY49" fmla="*/ 901153 h 901153"/>
                <a:gd name="connsiteX50" fmla="*/ 685028 w 2441576"/>
                <a:gd name="connsiteY50" fmla="*/ 901153 h 901153"/>
                <a:gd name="connsiteX51" fmla="*/ 581332 w 2441576"/>
                <a:gd name="connsiteY51" fmla="*/ 901153 h 901153"/>
                <a:gd name="connsiteX52" fmla="*/ 471351 w 2441576"/>
                <a:gd name="connsiteY52" fmla="*/ 901153 h 901153"/>
                <a:gd name="connsiteX53" fmla="*/ 470246 w 2441576"/>
                <a:gd name="connsiteY53" fmla="*/ 901153 h 901153"/>
                <a:gd name="connsiteX54" fmla="*/ 377080 w 2441576"/>
                <a:gd name="connsiteY54" fmla="*/ 901153 h 901153"/>
                <a:gd name="connsiteX55" fmla="*/ 282811 w 2441576"/>
                <a:gd name="connsiteY55" fmla="*/ 901153 h 901153"/>
                <a:gd name="connsiteX56" fmla="*/ 188541 w 2441576"/>
                <a:gd name="connsiteY56" fmla="*/ 901153 h 901153"/>
                <a:gd name="connsiteX57" fmla="*/ 185400 w 2441576"/>
                <a:gd name="connsiteY57" fmla="*/ 901153 h 901153"/>
                <a:gd name="connsiteX58" fmla="*/ 94270 w 2441576"/>
                <a:gd name="connsiteY58" fmla="*/ 901153 h 901153"/>
                <a:gd name="connsiteX59" fmla="*/ 0 w 2441576"/>
                <a:gd name="connsiteY59" fmla="*/ 901153 h 901153"/>
                <a:gd name="connsiteX60" fmla="*/ 0 w 2441576"/>
                <a:gd name="connsiteY60" fmla="*/ 832545 h 901153"/>
                <a:gd name="connsiteX61" fmla="*/ 0 w 2441576"/>
                <a:gd name="connsiteY61" fmla="*/ 760507 h 901153"/>
                <a:gd name="connsiteX62" fmla="*/ 0 w 2441576"/>
                <a:gd name="connsiteY62" fmla="*/ 691899 h 901153"/>
                <a:gd name="connsiteX63" fmla="*/ 0 w 2441576"/>
                <a:gd name="connsiteY63" fmla="*/ 608455 h 901153"/>
                <a:gd name="connsiteX64" fmla="*/ 0 w 2441576"/>
                <a:gd name="connsiteY64" fmla="*/ 539847 h 901153"/>
                <a:gd name="connsiteX65" fmla="*/ 0 w 2441576"/>
                <a:gd name="connsiteY65" fmla="*/ 456403 h 901153"/>
                <a:gd name="connsiteX66" fmla="*/ 0 w 2441576"/>
                <a:gd name="connsiteY66" fmla="*/ 387795 h 901153"/>
                <a:gd name="connsiteX67" fmla="*/ 0 w 2441576"/>
                <a:gd name="connsiteY67" fmla="*/ 304351 h 901153"/>
                <a:gd name="connsiteX68" fmla="*/ 0 w 2441576"/>
                <a:gd name="connsiteY68" fmla="*/ 235743 h 901153"/>
                <a:gd name="connsiteX69" fmla="*/ 0 w 2441576"/>
                <a:gd name="connsiteY69" fmla="*/ 152299 h 901153"/>
                <a:gd name="connsiteX70" fmla="*/ 0 w 2441576"/>
                <a:gd name="connsiteY70" fmla="*/ 83691 h 901153"/>
                <a:gd name="connsiteX71" fmla="*/ 0 w 2441576"/>
                <a:gd name="connsiteY71" fmla="*/ 247 h 901153"/>
                <a:gd name="connsiteX0" fmla="*/ 0 w 2441576"/>
                <a:gd name="connsiteY0" fmla="*/ 247 h 901154"/>
                <a:gd name="connsiteX1" fmla="*/ 94270 w 2441576"/>
                <a:gd name="connsiteY1" fmla="*/ 247 h 901154"/>
                <a:gd name="connsiteX2" fmla="*/ 185400 w 2441576"/>
                <a:gd name="connsiteY2" fmla="*/ 247 h 901154"/>
                <a:gd name="connsiteX3" fmla="*/ 188541 w 2441576"/>
                <a:gd name="connsiteY3" fmla="*/ 247 h 901154"/>
                <a:gd name="connsiteX4" fmla="*/ 282811 w 2441576"/>
                <a:gd name="connsiteY4" fmla="*/ 247 h 901154"/>
                <a:gd name="connsiteX5" fmla="*/ 377080 w 2441576"/>
                <a:gd name="connsiteY5" fmla="*/ 247 h 901154"/>
                <a:gd name="connsiteX6" fmla="*/ 470246 w 2441576"/>
                <a:gd name="connsiteY6" fmla="*/ 247 h 901154"/>
                <a:gd name="connsiteX7" fmla="*/ 471351 w 2441576"/>
                <a:gd name="connsiteY7" fmla="*/ 247 h 901154"/>
                <a:gd name="connsiteX8" fmla="*/ 581332 w 2441576"/>
                <a:gd name="connsiteY8" fmla="*/ 247 h 901154"/>
                <a:gd name="connsiteX9" fmla="*/ 685028 w 2441576"/>
                <a:gd name="connsiteY9" fmla="*/ 247 h 901154"/>
                <a:gd name="connsiteX10" fmla="*/ 755093 w 2441576"/>
                <a:gd name="connsiteY10" fmla="*/ 247 h 901154"/>
                <a:gd name="connsiteX11" fmla="*/ 969874 w 2441576"/>
                <a:gd name="connsiteY11" fmla="*/ 247 h 901154"/>
                <a:gd name="connsiteX12" fmla="*/ 1039939 w 2441576"/>
                <a:gd name="connsiteY12" fmla="*/ 247 h 901154"/>
                <a:gd name="connsiteX13" fmla="*/ 1254721 w 2441576"/>
                <a:gd name="connsiteY13" fmla="*/ 247 h 901154"/>
                <a:gd name="connsiteX14" fmla="*/ 1324785 w 2441576"/>
                <a:gd name="connsiteY14" fmla="*/ 247 h 901154"/>
                <a:gd name="connsiteX15" fmla="*/ 1430031 w 2441576"/>
                <a:gd name="connsiteY15" fmla="*/ 0 h 901154"/>
                <a:gd name="connsiteX16" fmla="*/ 1539566 w 2441576"/>
                <a:gd name="connsiteY16" fmla="*/ 247 h 901154"/>
                <a:gd name="connsiteX17" fmla="*/ 1609632 w 2441576"/>
                <a:gd name="connsiteY17" fmla="*/ 247 h 901154"/>
                <a:gd name="connsiteX18" fmla="*/ 1824412 w 2441576"/>
                <a:gd name="connsiteY18" fmla="*/ 247 h 901154"/>
                <a:gd name="connsiteX19" fmla="*/ 1941949 w 2441576"/>
                <a:gd name="connsiteY19" fmla="*/ 247 h 901154"/>
                <a:gd name="connsiteX20" fmla="*/ 2094866 w 2441576"/>
                <a:gd name="connsiteY20" fmla="*/ 247 h 901154"/>
                <a:gd name="connsiteX21" fmla="*/ 2176781 w 2441576"/>
                <a:gd name="connsiteY21" fmla="*/ 247 h 901154"/>
                <a:gd name="connsiteX22" fmla="*/ 2258696 w 2441576"/>
                <a:gd name="connsiteY22" fmla="*/ 247 h 901154"/>
                <a:gd name="connsiteX23" fmla="*/ 2321561 w 2441576"/>
                <a:gd name="connsiteY23" fmla="*/ 247 h 901154"/>
                <a:gd name="connsiteX24" fmla="*/ 2441576 w 2441576"/>
                <a:gd name="connsiteY24" fmla="*/ 247 h 901154"/>
                <a:gd name="connsiteX25" fmla="*/ 2441576 w 2441576"/>
                <a:gd name="connsiteY25" fmla="*/ 83691 h 901154"/>
                <a:gd name="connsiteX26" fmla="*/ 2441576 w 2441576"/>
                <a:gd name="connsiteY26" fmla="*/ 152299 h 901154"/>
                <a:gd name="connsiteX27" fmla="*/ 2441576 w 2441576"/>
                <a:gd name="connsiteY27" fmla="*/ 235743 h 901154"/>
                <a:gd name="connsiteX28" fmla="*/ 2441576 w 2441576"/>
                <a:gd name="connsiteY28" fmla="*/ 304351 h 901154"/>
                <a:gd name="connsiteX29" fmla="*/ 2441576 w 2441576"/>
                <a:gd name="connsiteY29" fmla="*/ 387795 h 901154"/>
                <a:gd name="connsiteX30" fmla="*/ 2441576 w 2441576"/>
                <a:gd name="connsiteY30" fmla="*/ 456403 h 901154"/>
                <a:gd name="connsiteX31" fmla="*/ 2441576 w 2441576"/>
                <a:gd name="connsiteY31" fmla="*/ 539847 h 901154"/>
                <a:gd name="connsiteX32" fmla="*/ 2441576 w 2441576"/>
                <a:gd name="connsiteY32" fmla="*/ 608455 h 901154"/>
                <a:gd name="connsiteX33" fmla="*/ 2441576 w 2441576"/>
                <a:gd name="connsiteY33" fmla="*/ 691899 h 901154"/>
                <a:gd name="connsiteX34" fmla="*/ 2441576 w 2441576"/>
                <a:gd name="connsiteY34" fmla="*/ 760507 h 901154"/>
                <a:gd name="connsiteX35" fmla="*/ 2441576 w 2441576"/>
                <a:gd name="connsiteY35" fmla="*/ 832545 h 901154"/>
                <a:gd name="connsiteX36" fmla="*/ 2441576 w 2441576"/>
                <a:gd name="connsiteY36" fmla="*/ 901153 h 901154"/>
                <a:gd name="connsiteX37" fmla="*/ 2321561 w 2441576"/>
                <a:gd name="connsiteY37" fmla="*/ 901153 h 901154"/>
                <a:gd name="connsiteX38" fmla="*/ 2239646 w 2441576"/>
                <a:gd name="connsiteY38" fmla="*/ 901153 h 901154"/>
                <a:gd name="connsiteX39" fmla="*/ 2176781 w 2441576"/>
                <a:gd name="connsiteY39" fmla="*/ 901153 h 901154"/>
                <a:gd name="connsiteX40" fmla="*/ 2109259 w 2441576"/>
                <a:gd name="connsiteY40" fmla="*/ 901153 h 901154"/>
                <a:gd name="connsiteX41" fmla="*/ 1941949 w 2441576"/>
                <a:gd name="connsiteY41" fmla="*/ 901153 h 901154"/>
                <a:gd name="connsiteX42" fmla="*/ 1824412 w 2441576"/>
                <a:gd name="connsiteY42" fmla="*/ 901153 h 901154"/>
                <a:gd name="connsiteX43" fmla="*/ 1609632 w 2441576"/>
                <a:gd name="connsiteY43" fmla="*/ 901153 h 901154"/>
                <a:gd name="connsiteX44" fmla="*/ 1539566 w 2441576"/>
                <a:gd name="connsiteY44" fmla="*/ 901153 h 901154"/>
                <a:gd name="connsiteX45" fmla="*/ 1324785 w 2441576"/>
                <a:gd name="connsiteY45" fmla="*/ 901153 h 901154"/>
                <a:gd name="connsiteX46" fmla="*/ 1254721 w 2441576"/>
                <a:gd name="connsiteY46" fmla="*/ 901153 h 901154"/>
                <a:gd name="connsiteX47" fmla="*/ 1039939 w 2441576"/>
                <a:gd name="connsiteY47" fmla="*/ 901153 h 901154"/>
                <a:gd name="connsiteX48" fmla="*/ 969874 w 2441576"/>
                <a:gd name="connsiteY48" fmla="*/ 901153 h 901154"/>
                <a:gd name="connsiteX49" fmla="*/ 864820 w 2441576"/>
                <a:gd name="connsiteY49" fmla="*/ 901154 h 901154"/>
                <a:gd name="connsiteX50" fmla="*/ 755093 w 2441576"/>
                <a:gd name="connsiteY50" fmla="*/ 901153 h 901154"/>
                <a:gd name="connsiteX51" fmla="*/ 685028 w 2441576"/>
                <a:gd name="connsiteY51" fmla="*/ 901153 h 901154"/>
                <a:gd name="connsiteX52" fmla="*/ 581332 w 2441576"/>
                <a:gd name="connsiteY52" fmla="*/ 901153 h 901154"/>
                <a:gd name="connsiteX53" fmla="*/ 471351 w 2441576"/>
                <a:gd name="connsiteY53" fmla="*/ 901153 h 901154"/>
                <a:gd name="connsiteX54" fmla="*/ 470246 w 2441576"/>
                <a:gd name="connsiteY54" fmla="*/ 901153 h 901154"/>
                <a:gd name="connsiteX55" fmla="*/ 377080 w 2441576"/>
                <a:gd name="connsiteY55" fmla="*/ 901153 h 901154"/>
                <a:gd name="connsiteX56" fmla="*/ 282811 w 2441576"/>
                <a:gd name="connsiteY56" fmla="*/ 901153 h 901154"/>
                <a:gd name="connsiteX57" fmla="*/ 188541 w 2441576"/>
                <a:gd name="connsiteY57" fmla="*/ 901153 h 901154"/>
                <a:gd name="connsiteX58" fmla="*/ 185400 w 2441576"/>
                <a:gd name="connsiteY58" fmla="*/ 901153 h 901154"/>
                <a:gd name="connsiteX59" fmla="*/ 94270 w 2441576"/>
                <a:gd name="connsiteY59" fmla="*/ 901153 h 901154"/>
                <a:gd name="connsiteX60" fmla="*/ 0 w 2441576"/>
                <a:gd name="connsiteY60" fmla="*/ 901153 h 901154"/>
                <a:gd name="connsiteX61" fmla="*/ 0 w 2441576"/>
                <a:gd name="connsiteY61" fmla="*/ 832545 h 901154"/>
                <a:gd name="connsiteX62" fmla="*/ 0 w 2441576"/>
                <a:gd name="connsiteY62" fmla="*/ 760507 h 901154"/>
                <a:gd name="connsiteX63" fmla="*/ 0 w 2441576"/>
                <a:gd name="connsiteY63" fmla="*/ 691899 h 901154"/>
                <a:gd name="connsiteX64" fmla="*/ 0 w 2441576"/>
                <a:gd name="connsiteY64" fmla="*/ 608455 h 901154"/>
                <a:gd name="connsiteX65" fmla="*/ 0 w 2441576"/>
                <a:gd name="connsiteY65" fmla="*/ 539847 h 901154"/>
                <a:gd name="connsiteX66" fmla="*/ 0 w 2441576"/>
                <a:gd name="connsiteY66" fmla="*/ 456403 h 901154"/>
                <a:gd name="connsiteX67" fmla="*/ 0 w 2441576"/>
                <a:gd name="connsiteY67" fmla="*/ 387795 h 901154"/>
                <a:gd name="connsiteX68" fmla="*/ 0 w 2441576"/>
                <a:gd name="connsiteY68" fmla="*/ 304351 h 901154"/>
                <a:gd name="connsiteX69" fmla="*/ 0 w 2441576"/>
                <a:gd name="connsiteY69" fmla="*/ 235743 h 901154"/>
                <a:gd name="connsiteX70" fmla="*/ 0 w 2441576"/>
                <a:gd name="connsiteY70" fmla="*/ 152299 h 901154"/>
                <a:gd name="connsiteX71" fmla="*/ 0 w 2441576"/>
                <a:gd name="connsiteY71" fmla="*/ 83691 h 901154"/>
                <a:gd name="connsiteX72" fmla="*/ 0 w 2441576"/>
                <a:gd name="connsiteY72" fmla="*/ 247 h 901154"/>
                <a:gd name="connsiteX0" fmla="*/ 0 w 2441576"/>
                <a:gd name="connsiteY0" fmla="*/ 247 h 901154"/>
                <a:gd name="connsiteX1" fmla="*/ 94270 w 2441576"/>
                <a:gd name="connsiteY1" fmla="*/ 247 h 901154"/>
                <a:gd name="connsiteX2" fmla="*/ 185400 w 2441576"/>
                <a:gd name="connsiteY2" fmla="*/ 247 h 901154"/>
                <a:gd name="connsiteX3" fmla="*/ 188541 w 2441576"/>
                <a:gd name="connsiteY3" fmla="*/ 247 h 901154"/>
                <a:gd name="connsiteX4" fmla="*/ 282811 w 2441576"/>
                <a:gd name="connsiteY4" fmla="*/ 247 h 901154"/>
                <a:gd name="connsiteX5" fmla="*/ 377080 w 2441576"/>
                <a:gd name="connsiteY5" fmla="*/ 247 h 901154"/>
                <a:gd name="connsiteX6" fmla="*/ 470246 w 2441576"/>
                <a:gd name="connsiteY6" fmla="*/ 247 h 901154"/>
                <a:gd name="connsiteX7" fmla="*/ 471351 w 2441576"/>
                <a:gd name="connsiteY7" fmla="*/ 247 h 901154"/>
                <a:gd name="connsiteX8" fmla="*/ 581332 w 2441576"/>
                <a:gd name="connsiteY8" fmla="*/ 247 h 901154"/>
                <a:gd name="connsiteX9" fmla="*/ 685028 w 2441576"/>
                <a:gd name="connsiteY9" fmla="*/ 247 h 901154"/>
                <a:gd name="connsiteX10" fmla="*/ 755093 w 2441576"/>
                <a:gd name="connsiteY10" fmla="*/ 247 h 901154"/>
                <a:gd name="connsiteX11" fmla="*/ 969874 w 2441576"/>
                <a:gd name="connsiteY11" fmla="*/ 247 h 901154"/>
                <a:gd name="connsiteX12" fmla="*/ 1039939 w 2441576"/>
                <a:gd name="connsiteY12" fmla="*/ 247 h 901154"/>
                <a:gd name="connsiteX13" fmla="*/ 1254721 w 2441576"/>
                <a:gd name="connsiteY13" fmla="*/ 247 h 901154"/>
                <a:gd name="connsiteX14" fmla="*/ 1324785 w 2441576"/>
                <a:gd name="connsiteY14" fmla="*/ 247 h 901154"/>
                <a:gd name="connsiteX15" fmla="*/ 1430031 w 2441576"/>
                <a:gd name="connsiteY15" fmla="*/ 0 h 901154"/>
                <a:gd name="connsiteX16" fmla="*/ 1539566 w 2441576"/>
                <a:gd name="connsiteY16" fmla="*/ 247 h 901154"/>
                <a:gd name="connsiteX17" fmla="*/ 1609632 w 2441576"/>
                <a:gd name="connsiteY17" fmla="*/ 247 h 901154"/>
                <a:gd name="connsiteX18" fmla="*/ 1824412 w 2441576"/>
                <a:gd name="connsiteY18" fmla="*/ 247 h 901154"/>
                <a:gd name="connsiteX19" fmla="*/ 1941949 w 2441576"/>
                <a:gd name="connsiteY19" fmla="*/ 247 h 901154"/>
                <a:gd name="connsiteX20" fmla="*/ 2094866 w 2441576"/>
                <a:gd name="connsiteY20" fmla="*/ 247 h 901154"/>
                <a:gd name="connsiteX21" fmla="*/ 2176781 w 2441576"/>
                <a:gd name="connsiteY21" fmla="*/ 247 h 901154"/>
                <a:gd name="connsiteX22" fmla="*/ 2258696 w 2441576"/>
                <a:gd name="connsiteY22" fmla="*/ 247 h 901154"/>
                <a:gd name="connsiteX23" fmla="*/ 2321561 w 2441576"/>
                <a:gd name="connsiteY23" fmla="*/ 247 h 901154"/>
                <a:gd name="connsiteX24" fmla="*/ 2441576 w 2441576"/>
                <a:gd name="connsiteY24" fmla="*/ 247 h 901154"/>
                <a:gd name="connsiteX25" fmla="*/ 2441576 w 2441576"/>
                <a:gd name="connsiteY25" fmla="*/ 83691 h 901154"/>
                <a:gd name="connsiteX26" fmla="*/ 2441576 w 2441576"/>
                <a:gd name="connsiteY26" fmla="*/ 152299 h 901154"/>
                <a:gd name="connsiteX27" fmla="*/ 2441576 w 2441576"/>
                <a:gd name="connsiteY27" fmla="*/ 235743 h 901154"/>
                <a:gd name="connsiteX28" fmla="*/ 2441576 w 2441576"/>
                <a:gd name="connsiteY28" fmla="*/ 304351 h 901154"/>
                <a:gd name="connsiteX29" fmla="*/ 2441576 w 2441576"/>
                <a:gd name="connsiteY29" fmla="*/ 387795 h 901154"/>
                <a:gd name="connsiteX30" fmla="*/ 2441576 w 2441576"/>
                <a:gd name="connsiteY30" fmla="*/ 456403 h 901154"/>
                <a:gd name="connsiteX31" fmla="*/ 2441576 w 2441576"/>
                <a:gd name="connsiteY31" fmla="*/ 539847 h 901154"/>
                <a:gd name="connsiteX32" fmla="*/ 2441576 w 2441576"/>
                <a:gd name="connsiteY32" fmla="*/ 608455 h 901154"/>
                <a:gd name="connsiteX33" fmla="*/ 2441576 w 2441576"/>
                <a:gd name="connsiteY33" fmla="*/ 691899 h 901154"/>
                <a:gd name="connsiteX34" fmla="*/ 2441576 w 2441576"/>
                <a:gd name="connsiteY34" fmla="*/ 760507 h 901154"/>
                <a:gd name="connsiteX35" fmla="*/ 2441576 w 2441576"/>
                <a:gd name="connsiteY35" fmla="*/ 832545 h 901154"/>
                <a:gd name="connsiteX36" fmla="*/ 2441576 w 2441576"/>
                <a:gd name="connsiteY36" fmla="*/ 901153 h 901154"/>
                <a:gd name="connsiteX37" fmla="*/ 2321561 w 2441576"/>
                <a:gd name="connsiteY37" fmla="*/ 901153 h 901154"/>
                <a:gd name="connsiteX38" fmla="*/ 2239646 w 2441576"/>
                <a:gd name="connsiteY38" fmla="*/ 901153 h 901154"/>
                <a:gd name="connsiteX39" fmla="*/ 2176781 w 2441576"/>
                <a:gd name="connsiteY39" fmla="*/ 901153 h 901154"/>
                <a:gd name="connsiteX40" fmla="*/ 2109259 w 2441576"/>
                <a:gd name="connsiteY40" fmla="*/ 901153 h 901154"/>
                <a:gd name="connsiteX41" fmla="*/ 1941949 w 2441576"/>
                <a:gd name="connsiteY41" fmla="*/ 901153 h 901154"/>
                <a:gd name="connsiteX42" fmla="*/ 1824412 w 2441576"/>
                <a:gd name="connsiteY42" fmla="*/ 901153 h 901154"/>
                <a:gd name="connsiteX43" fmla="*/ 1609632 w 2441576"/>
                <a:gd name="connsiteY43" fmla="*/ 901153 h 901154"/>
                <a:gd name="connsiteX44" fmla="*/ 1539566 w 2441576"/>
                <a:gd name="connsiteY44" fmla="*/ 901153 h 901154"/>
                <a:gd name="connsiteX45" fmla="*/ 1324785 w 2441576"/>
                <a:gd name="connsiteY45" fmla="*/ 901153 h 901154"/>
                <a:gd name="connsiteX46" fmla="*/ 1254721 w 2441576"/>
                <a:gd name="connsiteY46" fmla="*/ 901153 h 901154"/>
                <a:gd name="connsiteX47" fmla="*/ 1146253 w 2441576"/>
                <a:gd name="connsiteY47" fmla="*/ 901153 h 901154"/>
                <a:gd name="connsiteX48" fmla="*/ 1039939 w 2441576"/>
                <a:gd name="connsiteY48" fmla="*/ 901153 h 901154"/>
                <a:gd name="connsiteX49" fmla="*/ 969874 w 2441576"/>
                <a:gd name="connsiteY49" fmla="*/ 901153 h 901154"/>
                <a:gd name="connsiteX50" fmla="*/ 864820 w 2441576"/>
                <a:gd name="connsiteY50" fmla="*/ 901154 h 901154"/>
                <a:gd name="connsiteX51" fmla="*/ 755093 w 2441576"/>
                <a:gd name="connsiteY51" fmla="*/ 901153 h 901154"/>
                <a:gd name="connsiteX52" fmla="*/ 685028 w 2441576"/>
                <a:gd name="connsiteY52" fmla="*/ 901153 h 901154"/>
                <a:gd name="connsiteX53" fmla="*/ 581332 w 2441576"/>
                <a:gd name="connsiteY53" fmla="*/ 901153 h 901154"/>
                <a:gd name="connsiteX54" fmla="*/ 471351 w 2441576"/>
                <a:gd name="connsiteY54" fmla="*/ 901153 h 901154"/>
                <a:gd name="connsiteX55" fmla="*/ 470246 w 2441576"/>
                <a:gd name="connsiteY55" fmla="*/ 901153 h 901154"/>
                <a:gd name="connsiteX56" fmla="*/ 377080 w 2441576"/>
                <a:gd name="connsiteY56" fmla="*/ 901153 h 901154"/>
                <a:gd name="connsiteX57" fmla="*/ 282811 w 2441576"/>
                <a:gd name="connsiteY57" fmla="*/ 901153 h 901154"/>
                <a:gd name="connsiteX58" fmla="*/ 188541 w 2441576"/>
                <a:gd name="connsiteY58" fmla="*/ 901153 h 901154"/>
                <a:gd name="connsiteX59" fmla="*/ 185400 w 2441576"/>
                <a:gd name="connsiteY59" fmla="*/ 901153 h 901154"/>
                <a:gd name="connsiteX60" fmla="*/ 94270 w 2441576"/>
                <a:gd name="connsiteY60" fmla="*/ 901153 h 901154"/>
                <a:gd name="connsiteX61" fmla="*/ 0 w 2441576"/>
                <a:gd name="connsiteY61" fmla="*/ 901153 h 901154"/>
                <a:gd name="connsiteX62" fmla="*/ 0 w 2441576"/>
                <a:gd name="connsiteY62" fmla="*/ 832545 h 901154"/>
                <a:gd name="connsiteX63" fmla="*/ 0 w 2441576"/>
                <a:gd name="connsiteY63" fmla="*/ 760507 h 901154"/>
                <a:gd name="connsiteX64" fmla="*/ 0 w 2441576"/>
                <a:gd name="connsiteY64" fmla="*/ 691899 h 901154"/>
                <a:gd name="connsiteX65" fmla="*/ 0 w 2441576"/>
                <a:gd name="connsiteY65" fmla="*/ 608455 h 901154"/>
                <a:gd name="connsiteX66" fmla="*/ 0 w 2441576"/>
                <a:gd name="connsiteY66" fmla="*/ 539847 h 901154"/>
                <a:gd name="connsiteX67" fmla="*/ 0 w 2441576"/>
                <a:gd name="connsiteY67" fmla="*/ 456403 h 901154"/>
                <a:gd name="connsiteX68" fmla="*/ 0 w 2441576"/>
                <a:gd name="connsiteY68" fmla="*/ 387795 h 901154"/>
                <a:gd name="connsiteX69" fmla="*/ 0 w 2441576"/>
                <a:gd name="connsiteY69" fmla="*/ 304351 h 901154"/>
                <a:gd name="connsiteX70" fmla="*/ 0 w 2441576"/>
                <a:gd name="connsiteY70" fmla="*/ 235743 h 901154"/>
                <a:gd name="connsiteX71" fmla="*/ 0 w 2441576"/>
                <a:gd name="connsiteY71" fmla="*/ 152299 h 901154"/>
                <a:gd name="connsiteX72" fmla="*/ 0 w 2441576"/>
                <a:gd name="connsiteY72" fmla="*/ 83691 h 901154"/>
                <a:gd name="connsiteX73" fmla="*/ 0 w 2441576"/>
                <a:gd name="connsiteY73" fmla="*/ 247 h 901154"/>
                <a:gd name="connsiteX0" fmla="*/ 0 w 2441576"/>
                <a:gd name="connsiteY0" fmla="*/ 247 h 901154"/>
                <a:gd name="connsiteX1" fmla="*/ 94270 w 2441576"/>
                <a:gd name="connsiteY1" fmla="*/ 247 h 901154"/>
                <a:gd name="connsiteX2" fmla="*/ 185400 w 2441576"/>
                <a:gd name="connsiteY2" fmla="*/ 247 h 901154"/>
                <a:gd name="connsiteX3" fmla="*/ 188541 w 2441576"/>
                <a:gd name="connsiteY3" fmla="*/ 247 h 901154"/>
                <a:gd name="connsiteX4" fmla="*/ 282811 w 2441576"/>
                <a:gd name="connsiteY4" fmla="*/ 247 h 901154"/>
                <a:gd name="connsiteX5" fmla="*/ 377080 w 2441576"/>
                <a:gd name="connsiteY5" fmla="*/ 247 h 901154"/>
                <a:gd name="connsiteX6" fmla="*/ 470246 w 2441576"/>
                <a:gd name="connsiteY6" fmla="*/ 247 h 901154"/>
                <a:gd name="connsiteX7" fmla="*/ 471351 w 2441576"/>
                <a:gd name="connsiteY7" fmla="*/ 247 h 901154"/>
                <a:gd name="connsiteX8" fmla="*/ 581332 w 2441576"/>
                <a:gd name="connsiteY8" fmla="*/ 247 h 901154"/>
                <a:gd name="connsiteX9" fmla="*/ 685028 w 2441576"/>
                <a:gd name="connsiteY9" fmla="*/ 247 h 901154"/>
                <a:gd name="connsiteX10" fmla="*/ 755093 w 2441576"/>
                <a:gd name="connsiteY10" fmla="*/ 247 h 901154"/>
                <a:gd name="connsiteX11" fmla="*/ 969874 w 2441576"/>
                <a:gd name="connsiteY11" fmla="*/ 247 h 901154"/>
                <a:gd name="connsiteX12" fmla="*/ 1039939 w 2441576"/>
                <a:gd name="connsiteY12" fmla="*/ 247 h 901154"/>
                <a:gd name="connsiteX13" fmla="*/ 1254721 w 2441576"/>
                <a:gd name="connsiteY13" fmla="*/ 247 h 901154"/>
                <a:gd name="connsiteX14" fmla="*/ 1324785 w 2441576"/>
                <a:gd name="connsiteY14" fmla="*/ 247 h 901154"/>
                <a:gd name="connsiteX15" fmla="*/ 1430031 w 2441576"/>
                <a:gd name="connsiteY15" fmla="*/ 0 h 901154"/>
                <a:gd name="connsiteX16" fmla="*/ 1539566 w 2441576"/>
                <a:gd name="connsiteY16" fmla="*/ 247 h 901154"/>
                <a:gd name="connsiteX17" fmla="*/ 1609632 w 2441576"/>
                <a:gd name="connsiteY17" fmla="*/ 247 h 901154"/>
                <a:gd name="connsiteX18" fmla="*/ 1824412 w 2441576"/>
                <a:gd name="connsiteY18" fmla="*/ 247 h 901154"/>
                <a:gd name="connsiteX19" fmla="*/ 1941949 w 2441576"/>
                <a:gd name="connsiteY19" fmla="*/ 247 h 901154"/>
                <a:gd name="connsiteX20" fmla="*/ 2094866 w 2441576"/>
                <a:gd name="connsiteY20" fmla="*/ 247 h 901154"/>
                <a:gd name="connsiteX21" fmla="*/ 2176781 w 2441576"/>
                <a:gd name="connsiteY21" fmla="*/ 247 h 901154"/>
                <a:gd name="connsiteX22" fmla="*/ 2258696 w 2441576"/>
                <a:gd name="connsiteY22" fmla="*/ 247 h 901154"/>
                <a:gd name="connsiteX23" fmla="*/ 2321561 w 2441576"/>
                <a:gd name="connsiteY23" fmla="*/ 247 h 901154"/>
                <a:gd name="connsiteX24" fmla="*/ 2441576 w 2441576"/>
                <a:gd name="connsiteY24" fmla="*/ 247 h 901154"/>
                <a:gd name="connsiteX25" fmla="*/ 2441576 w 2441576"/>
                <a:gd name="connsiteY25" fmla="*/ 83691 h 901154"/>
                <a:gd name="connsiteX26" fmla="*/ 2441576 w 2441576"/>
                <a:gd name="connsiteY26" fmla="*/ 152299 h 901154"/>
                <a:gd name="connsiteX27" fmla="*/ 2441576 w 2441576"/>
                <a:gd name="connsiteY27" fmla="*/ 235743 h 901154"/>
                <a:gd name="connsiteX28" fmla="*/ 2441576 w 2441576"/>
                <a:gd name="connsiteY28" fmla="*/ 304351 h 901154"/>
                <a:gd name="connsiteX29" fmla="*/ 2441576 w 2441576"/>
                <a:gd name="connsiteY29" fmla="*/ 387795 h 901154"/>
                <a:gd name="connsiteX30" fmla="*/ 2441576 w 2441576"/>
                <a:gd name="connsiteY30" fmla="*/ 456403 h 901154"/>
                <a:gd name="connsiteX31" fmla="*/ 2441576 w 2441576"/>
                <a:gd name="connsiteY31" fmla="*/ 539847 h 901154"/>
                <a:gd name="connsiteX32" fmla="*/ 2441576 w 2441576"/>
                <a:gd name="connsiteY32" fmla="*/ 608455 h 901154"/>
                <a:gd name="connsiteX33" fmla="*/ 2441576 w 2441576"/>
                <a:gd name="connsiteY33" fmla="*/ 691899 h 901154"/>
                <a:gd name="connsiteX34" fmla="*/ 2441576 w 2441576"/>
                <a:gd name="connsiteY34" fmla="*/ 760507 h 901154"/>
                <a:gd name="connsiteX35" fmla="*/ 2441576 w 2441576"/>
                <a:gd name="connsiteY35" fmla="*/ 832545 h 901154"/>
                <a:gd name="connsiteX36" fmla="*/ 2441576 w 2441576"/>
                <a:gd name="connsiteY36" fmla="*/ 901153 h 901154"/>
                <a:gd name="connsiteX37" fmla="*/ 2321561 w 2441576"/>
                <a:gd name="connsiteY37" fmla="*/ 901153 h 901154"/>
                <a:gd name="connsiteX38" fmla="*/ 2239646 w 2441576"/>
                <a:gd name="connsiteY38" fmla="*/ 901153 h 901154"/>
                <a:gd name="connsiteX39" fmla="*/ 2176781 w 2441576"/>
                <a:gd name="connsiteY39" fmla="*/ 901153 h 901154"/>
                <a:gd name="connsiteX40" fmla="*/ 2109259 w 2441576"/>
                <a:gd name="connsiteY40" fmla="*/ 901153 h 901154"/>
                <a:gd name="connsiteX41" fmla="*/ 1941949 w 2441576"/>
                <a:gd name="connsiteY41" fmla="*/ 901153 h 901154"/>
                <a:gd name="connsiteX42" fmla="*/ 1824412 w 2441576"/>
                <a:gd name="connsiteY42" fmla="*/ 901153 h 901154"/>
                <a:gd name="connsiteX43" fmla="*/ 1609632 w 2441576"/>
                <a:gd name="connsiteY43" fmla="*/ 901153 h 901154"/>
                <a:gd name="connsiteX44" fmla="*/ 1539566 w 2441576"/>
                <a:gd name="connsiteY44" fmla="*/ 901153 h 901154"/>
                <a:gd name="connsiteX45" fmla="*/ 1427685 w 2441576"/>
                <a:gd name="connsiteY45" fmla="*/ 901153 h 901154"/>
                <a:gd name="connsiteX46" fmla="*/ 1324785 w 2441576"/>
                <a:gd name="connsiteY46" fmla="*/ 901153 h 901154"/>
                <a:gd name="connsiteX47" fmla="*/ 1254721 w 2441576"/>
                <a:gd name="connsiteY47" fmla="*/ 901153 h 901154"/>
                <a:gd name="connsiteX48" fmla="*/ 1146253 w 2441576"/>
                <a:gd name="connsiteY48" fmla="*/ 901153 h 901154"/>
                <a:gd name="connsiteX49" fmla="*/ 1039939 w 2441576"/>
                <a:gd name="connsiteY49" fmla="*/ 901153 h 901154"/>
                <a:gd name="connsiteX50" fmla="*/ 969874 w 2441576"/>
                <a:gd name="connsiteY50" fmla="*/ 901153 h 901154"/>
                <a:gd name="connsiteX51" fmla="*/ 864820 w 2441576"/>
                <a:gd name="connsiteY51" fmla="*/ 901154 h 901154"/>
                <a:gd name="connsiteX52" fmla="*/ 755093 w 2441576"/>
                <a:gd name="connsiteY52" fmla="*/ 901153 h 901154"/>
                <a:gd name="connsiteX53" fmla="*/ 685028 w 2441576"/>
                <a:gd name="connsiteY53" fmla="*/ 901153 h 901154"/>
                <a:gd name="connsiteX54" fmla="*/ 581332 w 2441576"/>
                <a:gd name="connsiteY54" fmla="*/ 901153 h 901154"/>
                <a:gd name="connsiteX55" fmla="*/ 471351 w 2441576"/>
                <a:gd name="connsiteY55" fmla="*/ 901153 h 901154"/>
                <a:gd name="connsiteX56" fmla="*/ 470246 w 2441576"/>
                <a:gd name="connsiteY56" fmla="*/ 901153 h 901154"/>
                <a:gd name="connsiteX57" fmla="*/ 377080 w 2441576"/>
                <a:gd name="connsiteY57" fmla="*/ 901153 h 901154"/>
                <a:gd name="connsiteX58" fmla="*/ 282811 w 2441576"/>
                <a:gd name="connsiteY58" fmla="*/ 901153 h 901154"/>
                <a:gd name="connsiteX59" fmla="*/ 188541 w 2441576"/>
                <a:gd name="connsiteY59" fmla="*/ 901153 h 901154"/>
                <a:gd name="connsiteX60" fmla="*/ 185400 w 2441576"/>
                <a:gd name="connsiteY60" fmla="*/ 901153 h 901154"/>
                <a:gd name="connsiteX61" fmla="*/ 94270 w 2441576"/>
                <a:gd name="connsiteY61" fmla="*/ 901153 h 901154"/>
                <a:gd name="connsiteX62" fmla="*/ 0 w 2441576"/>
                <a:gd name="connsiteY62" fmla="*/ 901153 h 901154"/>
                <a:gd name="connsiteX63" fmla="*/ 0 w 2441576"/>
                <a:gd name="connsiteY63" fmla="*/ 832545 h 901154"/>
                <a:gd name="connsiteX64" fmla="*/ 0 w 2441576"/>
                <a:gd name="connsiteY64" fmla="*/ 760507 h 901154"/>
                <a:gd name="connsiteX65" fmla="*/ 0 w 2441576"/>
                <a:gd name="connsiteY65" fmla="*/ 691899 h 901154"/>
                <a:gd name="connsiteX66" fmla="*/ 0 w 2441576"/>
                <a:gd name="connsiteY66" fmla="*/ 608455 h 901154"/>
                <a:gd name="connsiteX67" fmla="*/ 0 w 2441576"/>
                <a:gd name="connsiteY67" fmla="*/ 539847 h 901154"/>
                <a:gd name="connsiteX68" fmla="*/ 0 w 2441576"/>
                <a:gd name="connsiteY68" fmla="*/ 456403 h 901154"/>
                <a:gd name="connsiteX69" fmla="*/ 0 w 2441576"/>
                <a:gd name="connsiteY69" fmla="*/ 387795 h 901154"/>
                <a:gd name="connsiteX70" fmla="*/ 0 w 2441576"/>
                <a:gd name="connsiteY70" fmla="*/ 304351 h 901154"/>
                <a:gd name="connsiteX71" fmla="*/ 0 w 2441576"/>
                <a:gd name="connsiteY71" fmla="*/ 235743 h 901154"/>
                <a:gd name="connsiteX72" fmla="*/ 0 w 2441576"/>
                <a:gd name="connsiteY72" fmla="*/ 152299 h 901154"/>
                <a:gd name="connsiteX73" fmla="*/ 0 w 2441576"/>
                <a:gd name="connsiteY73" fmla="*/ 83691 h 901154"/>
                <a:gd name="connsiteX74" fmla="*/ 0 w 2441576"/>
                <a:gd name="connsiteY74" fmla="*/ 247 h 901154"/>
                <a:gd name="connsiteX0" fmla="*/ 0 w 2441576"/>
                <a:gd name="connsiteY0" fmla="*/ 247 h 901154"/>
                <a:gd name="connsiteX1" fmla="*/ 94270 w 2441576"/>
                <a:gd name="connsiteY1" fmla="*/ 247 h 901154"/>
                <a:gd name="connsiteX2" fmla="*/ 185400 w 2441576"/>
                <a:gd name="connsiteY2" fmla="*/ 247 h 901154"/>
                <a:gd name="connsiteX3" fmla="*/ 188541 w 2441576"/>
                <a:gd name="connsiteY3" fmla="*/ 247 h 901154"/>
                <a:gd name="connsiteX4" fmla="*/ 282811 w 2441576"/>
                <a:gd name="connsiteY4" fmla="*/ 247 h 901154"/>
                <a:gd name="connsiteX5" fmla="*/ 377080 w 2441576"/>
                <a:gd name="connsiteY5" fmla="*/ 247 h 901154"/>
                <a:gd name="connsiteX6" fmla="*/ 470246 w 2441576"/>
                <a:gd name="connsiteY6" fmla="*/ 247 h 901154"/>
                <a:gd name="connsiteX7" fmla="*/ 471351 w 2441576"/>
                <a:gd name="connsiteY7" fmla="*/ 247 h 901154"/>
                <a:gd name="connsiteX8" fmla="*/ 581332 w 2441576"/>
                <a:gd name="connsiteY8" fmla="*/ 247 h 901154"/>
                <a:gd name="connsiteX9" fmla="*/ 685028 w 2441576"/>
                <a:gd name="connsiteY9" fmla="*/ 247 h 901154"/>
                <a:gd name="connsiteX10" fmla="*/ 755093 w 2441576"/>
                <a:gd name="connsiteY10" fmla="*/ 247 h 901154"/>
                <a:gd name="connsiteX11" fmla="*/ 969874 w 2441576"/>
                <a:gd name="connsiteY11" fmla="*/ 247 h 901154"/>
                <a:gd name="connsiteX12" fmla="*/ 1039939 w 2441576"/>
                <a:gd name="connsiteY12" fmla="*/ 247 h 901154"/>
                <a:gd name="connsiteX13" fmla="*/ 1254721 w 2441576"/>
                <a:gd name="connsiteY13" fmla="*/ 247 h 901154"/>
                <a:gd name="connsiteX14" fmla="*/ 1324785 w 2441576"/>
                <a:gd name="connsiteY14" fmla="*/ 247 h 901154"/>
                <a:gd name="connsiteX15" fmla="*/ 1430031 w 2441576"/>
                <a:gd name="connsiteY15" fmla="*/ 0 h 901154"/>
                <a:gd name="connsiteX16" fmla="*/ 1539566 w 2441576"/>
                <a:gd name="connsiteY16" fmla="*/ 247 h 901154"/>
                <a:gd name="connsiteX17" fmla="*/ 1609632 w 2441576"/>
                <a:gd name="connsiteY17" fmla="*/ 247 h 901154"/>
                <a:gd name="connsiteX18" fmla="*/ 1824412 w 2441576"/>
                <a:gd name="connsiteY18" fmla="*/ 247 h 901154"/>
                <a:gd name="connsiteX19" fmla="*/ 1941949 w 2441576"/>
                <a:gd name="connsiteY19" fmla="*/ 247 h 901154"/>
                <a:gd name="connsiteX20" fmla="*/ 2094866 w 2441576"/>
                <a:gd name="connsiteY20" fmla="*/ 247 h 901154"/>
                <a:gd name="connsiteX21" fmla="*/ 2176781 w 2441576"/>
                <a:gd name="connsiteY21" fmla="*/ 247 h 901154"/>
                <a:gd name="connsiteX22" fmla="*/ 2258696 w 2441576"/>
                <a:gd name="connsiteY22" fmla="*/ 247 h 901154"/>
                <a:gd name="connsiteX23" fmla="*/ 2321561 w 2441576"/>
                <a:gd name="connsiteY23" fmla="*/ 247 h 901154"/>
                <a:gd name="connsiteX24" fmla="*/ 2441576 w 2441576"/>
                <a:gd name="connsiteY24" fmla="*/ 247 h 901154"/>
                <a:gd name="connsiteX25" fmla="*/ 2441576 w 2441576"/>
                <a:gd name="connsiteY25" fmla="*/ 83691 h 901154"/>
                <a:gd name="connsiteX26" fmla="*/ 2441576 w 2441576"/>
                <a:gd name="connsiteY26" fmla="*/ 152299 h 901154"/>
                <a:gd name="connsiteX27" fmla="*/ 2441576 w 2441576"/>
                <a:gd name="connsiteY27" fmla="*/ 235743 h 901154"/>
                <a:gd name="connsiteX28" fmla="*/ 2441576 w 2441576"/>
                <a:gd name="connsiteY28" fmla="*/ 304351 h 901154"/>
                <a:gd name="connsiteX29" fmla="*/ 2441576 w 2441576"/>
                <a:gd name="connsiteY29" fmla="*/ 387795 h 901154"/>
                <a:gd name="connsiteX30" fmla="*/ 2441576 w 2441576"/>
                <a:gd name="connsiteY30" fmla="*/ 456403 h 901154"/>
                <a:gd name="connsiteX31" fmla="*/ 2441576 w 2441576"/>
                <a:gd name="connsiteY31" fmla="*/ 539847 h 901154"/>
                <a:gd name="connsiteX32" fmla="*/ 2441576 w 2441576"/>
                <a:gd name="connsiteY32" fmla="*/ 608455 h 901154"/>
                <a:gd name="connsiteX33" fmla="*/ 2441576 w 2441576"/>
                <a:gd name="connsiteY33" fmla="*/ 691899 h 901154"/>
                <a:gd name="connsiteX34" fmla="*/ 2441576 w 2441576"/>
                <a:gd name="connsiteY34" fmla="*/ 760507 h 901154"/>
                <a:gd name="connsiteX35" fmla="*/ 2441576 w 2441576"/>
                <a:gd name="connsiteY35" fmla="*/ 832545 h 901154"/>
                <a:gd name="connsiteX36" fmla="*/ 2441576 w 2441576"/>
                <a:gd name="connsiteY36" fmla="*/ 901153 h 901154"/>
                <a:gd name="connsiteX37" fmla="*/ 2321561 w 2441576"/>
                <a:gd name="connsiteY37" fmla="*/ 901153 h 901154"/>
                <a:gd name="connsiteX38" fmla="*/ 2239646 w 2441576"/>
                <a:gd name="connsiteY38" fmla="*/ 901153 h 901154"/>
                <a:gd name="connsiteX39" fmla="*/ 2176781 w 2441576"/>
                <a:gd name="connsiteY39" fmla="*/ 901153 h 901154"/>
                <a:gd name="connsiteX40" fmla="*/ 2109259 w 2441576"/>
                <a:gd name="connsiteY40" fmla="*/ 901153 h 901154"/>
                <a:gd name="connsiteX41" fmla="*/ 1941949 w 2441576"/>
                <a:gd name="connsiteY41" fmla="*/ 901153 h 901154"/>
                <a:gd name="connsiteX42" fmla="*/ 1824412 w 2441576"/>
                <a:gd name="connsiteY42" fmla="*/ 901153 h 901154"/>
                <a:gd name="connsiteX43" fmla="*/ 1720844 w 2441576"/>
                <a:gd name="connsiteY43" fmla="*/ 901153 h 901154"/>
                <a:gd name="connsiteX44" fmla="*/ 1609632 w 2441576"/>
                <a:gd name="connsiteY44" fmla="*/ 901153 h 901154"/>
                <a:gd name="connsiteX45" fmla="*/ 1539566 w 2441576"/>
                <a:gd name="connsiteY45" fmla="*/ 901153 h 901154"/>
                <a:gd name="connsiteX46" fmla="*/ 1427685 w 2441576"/>
                <a:gd name="connsiteY46" fmla="*/ 901153 h 901154"/>
                <a:gd name="connsiteX47" fmla="*/ 1324785 w 2441576"/>
                <a:gd name="connsiteY47" fmla="*/ 901153 h 901154"/>
                <a:gd name="connsiteX48" fmla="*/ 1254721 w 2441576"/>
                <a:gd name="connsiteY48" fmla="*/ 901153 h 901154"/>
                <a:gd name="connsiteX49" fmla="*/ 1146253 w 2441576"/>
                <a:gd name="connsiteY49" fmla="*/ 901153 h 901154"/>
                <a:gd name="connsiteX50" fmla="*/ 1039939 w 2441576"/>
                <a:gd name="connsiteY50" fmla="*/ 901153 h 901154"/>
                <a:gd name="connsiteX51" fmla="*/ 969874 w 2441576"/>
                <a:gd name="connsiteY51" fmla="*/ 901153 h 901154"/>
                <a:gd name="connsiteX52" fmla="*/ 864820 w 2441576"/>
                <a:gd name="connsiteY52" fmla="*/ 901154 h 901154"/>
                <a:gd name="connsiteX53" fmla="*/ 755093 w 2441576"/>
                <a:gd name="connsiteY53" fmla="*/ 901153 h 901154"/>
                <a:gd name="connsiteX54" fmla="*/ 685028 w 2441576"/>
                <a:gd name="connsiteY54" fmla="*/ 901153 h 901154"/>
                <a:gd name="connsiteX55" fmla="*/ 581332 w 2441576"/>
                <a:gd name="connsiteY55" fmla="*/ 901153 h 901154"/>
                <a:gd name="connsiteX56" fmla="*/ 471351 w 2441576"/>
                <a:gd name="connsiteY56" fmla="*/ 901153 h 901154"/>
                <a:gd name="connsiteX57" fmla="*/ 470246 w 2441576"/>
                <a:gd name="connsiteY57" fmla="*/ 901153 h 901154"/>
                <a:gd name="connsiteX58" fmla="*/ 377080 w 2441576"/>
                <a:gd name="connsiteY58" fmla="*/ 901153 h 901154"/>
                <a:gd name="connsiteX59" fmla="*/ 282811 w 2441576"/>
                <a:gd name="connsiteY59" fmla="*/ 901153 h 901154"/>
                <a:gd name="connsiteX60" fmla="*/ 188541 w 2441576"/>
                <a:gd name="connsiteY60" fmla="*/ 901153 h 901154"/>
                <a:gd name="connsiteX61" fmla="*/ 185400 w 2441576"/>
                <a:gd name="connsiteY61" fmla="*/ 901153 h 901154"/>
                <a:gd name="connsiteX62" fmla="*/ 94270 w 2441576"/>
                <a:gd name="connsiteY62" fmla="*/ 901153 h 901154"/>
                <a:gd name="connsiteX63" fmla="*/ 0 w 2441576"/>
                <a:gd name="connsiteY63" fmla="*/ 901153 h 901154"/>
                <a:gd name="connsiteX64" fmla="*/ 0 w 2441576"/>
                <a:gd name="connsiteY64" fmla="*/ 832545 h 901154"/>
                <a:gd name="connsiteX65" fmla="*/ 0 w 2441576"/>
                <a:gd name="connsiteY65" fmla="*/ 760507 h 901154"/>
                <a:gd name="connsiteX66" fmla="*/ 0 w 2441576"/>
                <a:gd name="connsiteY66" fmla="*/ 691899 h 901154"/>
                <a:gd name="connsiteX67" fmla="*/ 0 w 2441576"/>
                <a:gd name="connsiteY67" fmla="*/ 608455 h 901154"/>
                <a:gd name="connsiteX68" fmla="*/ 0 w 2441576"/>
                <a:gd name="connsiteY68" fmla="*/ 539847 h 901154"/>
                <a:gd name="connsiteX69" fmla="*/ 0 w 2441576"/>
                <a:gd name="connsiteY69" fmla="*/ 456403 h 901154"/>
                <a:gd name="connsiteX70" fmla="*/ 0 w 2441576"/>
                <a:gd name="connsiteY70" fmla="*/ 387795 h 901154"/>
                <a:gd name="connsiteX71" fmla="*/ 0 w 2441576"/>
                <a:gd name="connsiteY71" fmla="*/ 304351 h 901154"/>
                <a:gd name="connsiteX72" fmla="*/ 0 w 2441576"/>
                <a:gd name="connsiteY72" fmla="*/ 235743 h 901154"/>
                <a:gd name="connsiteX73" fmla="*/ 0 w 2441576"/>
                <a:gd name="connsiteY73" fmla="*/ 152299 h 901154"/>
                <a:gd name="connsiteX74" fmla="*/ 0 w 2441576"/>
                <a:gd name="connsiteY74" fmla="*/ 83691 h 901154"/>
                <a:gd name="connsiteX75" fmla="*/ 0 w 2441576"/>
                <a:gd name="connsiteY75" fmla="*/ 247 h 901154"/>
                <a:gd name="connsiteX0" fmla="*/ 0 w 2441576"/>
                <a:gd name="connsiteY0" fmla="*/ 247 h 901154"/>
                <a:gd name="connsiteX1" fmla="*/ 94270 w 2441576"/>
                <a:gd name="connsiteY1" fmla="*/ 247 h 901154"/>
                <a:gd name="connsiteX2" fmla="*/ 185400 w 2441576"/>
                <a:gd name="connsiteY2" fmla="*/ 247 h 901154"/>
                <a:gd name="connsiteX3" fmla="*/ 188541 w 2441576"/>
                <a:gd name="connsiteY3" fmla="*/ 247 h 901154"/>
                <a:gd name="connsiteX4" fmla="*/ 282811 w 2441576"/>
                <a:gd name="connsiteY4" fmla="*/ 247 h 901154"/>
                <a:gd name="connsiteX5" fmla="*/ 377080 w 2441576"/>
                <a:gd name="connsiteY5" fmla="*/ 247 h 901154"/>
                <a:gd name="connsiteX6" fmla="*/ 470246 w 2441576"/>
                <a:gd name="connsiteY6" fmla="*/ 247 h 901154"/>
                <a:gd name="connsiteX7" fmla="*/ 471351 w 2441576"/>
                <a:gd name="connsiteY7" fmla="*/ 247 h 901154"/>
                <a:gd name="connsiteX8" fmla="*/ 581332 w 2441576"/>
                <a:gd name="connsiteY8" fmla="*/ 247 h 901154"/>
                <a:gd name="connsiteX9" fmla="*/ 685028 w 2441576"/>
                <a:gd name="connsiteY9" fmla="*/ 247 h 901154"/>
                <a:gd name="connsiteX10" fmla="*/ 755093 w 2441576"/>
                <a:gd name="connsiteY10" fmla="*/ 247 h 901154"/>
                <a:gd name="connsiteX11" fmla="*/ 969874 w 2441576"/>
                <a:gd name="connsiteY11" fmla="*/ 247 h 901154"/>
                <a:gd name="connsiteX12" fmla="*/ 1039939 w 2441576"/>
                <a:gd name="connsiteY12" fmla="*/ 247 h 901154"/>
                <a:gd name="connsiteX13" fmla="*/ 1254721 w 2441576"/>
                <a:gd name="connsiteY13" fmla="*/ 247 h 901154"/>
                <a:gd name="connsiteX14" fmla="*/ 1324785 w 2441576"/>
                <a:gd name="connsiteY14" fmla="*/ 247 h 901154"/>
                <a:gd name="connsiteX15" fmla="*/ 1430031 w 2441576"/>
                <a:gd name="connsiteY15" fmla="*/ 0 h 901154"/>
                <a:gd name="connsiteX16" fmla="*/ 1539566 w 2441576"/>
                <a:gd name="connsiteY16" fmla="*/ 247 h 901154"/>
                <a:gd name="connsiteX17" fmla="*/ 1609632 w 2441576"/>
                <a:gd name="connsiteY17" fmla="*/ 247 h 901154"/>
                <a:gd name="connsiteX18" fmla="*/ 1824412 w 2441576"/>
                <a:gd name="connsiteY18" fmla="*/ 247 h 901154"/>
                <a:gd name="connsiteX19" fmla="*/ 1941949 w 2441576"/>
                <a:gd name="connsiteY19" fmla="*/ 247 h 901154"/>
                <a:gd name="connsiteX20" fmla="*/ 2094866 w 2441576"/>
                <a:gd name="connsiteY20" fmla="*/ 247 h 901154"/>
                <a:gd name="connsiteX21" fmla="*/ 2176781 w 2441576"/>
                <a:gd name="connsiteY21" fmla="*/ 247 h 901154"/>
                <a:gd name="connsiteX22" fmla="*/ 2258696 w 2441576"/>
                <a:gd name="connsiteY22" fmla="*/ 247 h 901154"/>
                <a:gd name="connsiteX23" fmla="*/ 2321561 w 2441576"/>
                <a:gd name="connsiteY23" fmla="*/ 247 h 901154"/>
                <a:gd name="connsiteX24" fmla="*/ 2441576 w 2441576"/>
                <a:gd name="connsiteY24" fmla="*/ 247 h 901154"/>
                <a:gd name="connsiteX25" fmla="*/ 2441576 w 2441576"/>
                <a:gd name="connsiteY25" fmla="*/ 83691 h 901154"/>
                <a:gd name="connsiteX26" fmla="*/ 2441576 w 2441576"/>
                <a:gd name="connsiteY26" fmla="*/ 152299 h 901154"/>
                <a:gd name="connsiteX27" fmla="*/ 2441576 w 2441576"/>
                <a:gd name="connsiteY27" fmla="*/ 235743 h 901154"/>
                <a:gd name="connsiteX28" fmla="*/ 2441576 w 2441576"/>
                <a:gd name="connsiteY28" fmla="*/ 304351 h 901154"/>
                <a:gd name="connsiteX29" fmla="*/ 2441576 w 2441576"/>
                <a:gd name="connsiteY29" fmla="*/ 387795 h 901154"/>
                <a:gd name="connsiteX30" fmla="*/ 2441576 w 2441576"/>
                <a:gd name="connsiteY30" fmla="*/ 456403 h 901154"/>
                <a:gd name="connsiteX31" fmla="*/ 2441576 w 2441576"/>
                <a:gd name="connsiteY31" fmla="*/ 539847 h 901154"/>
                <a:gd name="connsiteX32" fmla="*/ 2441576 w 2441576"/>
                <a:gd name="connsiteY32" fmla="*/ 608455 h 901154"/>
                <a:gd name="connsiteX33" fmla="*/ 2441576 w 2441576"/>
                <a:gd name="connsiteY33" fmla="*/ 691899 h 901154"/>
                <a:gd name="connsiteX34" fmla="*/ 2441576 w 2441576"/>
                <a:gd name="connsiteY34" fmla="*/ 760507 h 901154"/>
                <a:gd name="connsiteX35" fmla="*/ 2441576 w 2441576"/>
                <a:gd name="connsiteY35" fmla="*/ 832545 h 901154"/>
                <a:gd name="connsiteX36" fmla="*/ 2441576 w 2441576"/>
                <a:gd name="connsiteY36" fmla="*/ 901153 h 901154"/>
                <a:gd name="connsiteX37" fmla="*/ 2321561 w 2441576"/>
                <a:gd name="connsiteY37" fmla="*/ 901153 h 901154"/>
                <a:gd name="connsiteX38" fmla="*/ 2239646 w 2441576"/>
                <a:gd name="connsiteY38" fmla="*/ 901153 h 901154"/>
                <a:gd name="connsiteX39" fmla="*/ 2176781 w 2441576"/>
                <a:gd name="connsiteY39" fmla="*/ 901153 h 901154"/>
                <a:gd name="connsiteX40" fmla="*/ 2109259 w 2441576"/>
                <a:gd name="connsiteY40" fmla="*/ 901153 h 901154"/>
                <a:gd name="connsiteX41" fmla="*/ 2025730 w 2441576"/>
                <a:gd name="connsiteY41" fmla="*/ 901153 h 901154"/>
                <a:gd name="connsiteX42" fmla="*/ 1941949 w 2441576"/>
                <a:gd name="connsiteY42" fmla="*/ 901153 h 901154"/>
                <a:gd name="connsiteX43" fmla="*/ 1824412 w 2441576"/>
                <a:gd name="connsiteY43" fmla="*/ 901153 h 901154"/>
                <a:gd name="connsiteX44" fmla="*/ 1720844 w 2441576"/>
                <a:gd name="connsiteY44" fmla="*/ 901153 h 901154"/>
                <a:gd name="connsiteX45" fmla="*/ 1609632 w 2441576"/>
                <a:gd name="connsiteY45" fmla="*/ 901153 h 901154"/>
                <a:gd name="connsiteX46" fmla="*/ 1539566 w 2441576"/>
                <a:gd name="connsiteY46" fmla="*/ 901153 h 901154"/>
                <a:gd name="connsiteX47" fmla="*/ 1427685 w 2441576"/>
                <a:gd name="connsiteY47" fmla="*/ 901153 h 901154"/>
                <a:gd name="connsiteX48" fmla="*/ 1324785 w 2441576"/>
                <a:gd name="connsiteY48" fmla="*/ 901153 h 901154"/>
                <a:gd name="connsiteX49" fmla="*/ 1254721 w 2441576"/>
                <a:gd name="connsiteY49" fmla="*/ 901153 h 901154"/>
                <a:gd name="connsiteX50" fmla="*/ 1146253 w 2441576"/>
                <a:gd name="connsiteY50" fmla="*/ 901153 h 901154"/>
                <a:gd name="connsiteX51" fmla="*/ 1039939 w 2441576"/>
                <a:gd name="connsiteY51" fmla="*/ 901153 h 901154"/>
                <a:gd name="connsiteX52" fmla="*/ 969874 w 2441576"/>
                <a:gd name="connsiteY52" fmla="*/ 901153 h 901154"/>
                <a:gd name="connsiteX53" fmla="*/ 864820 w 2441576"/>
                <a:gd name="connsiteY53" fmla="*/ 901154 h 901154"/>
                <a:gd name="connsiteX54" fmla="*/ 755093 w 2441576"/>
                <a:gd name="connsiteY54" fmla="*/ 901153 h 901154"/>
                <a:gd name="connsiteX55" fmla="*/ 685028 w 2441576"/>
                <a:gd name="connsiteY55" fmla="*/ 901153 h 901154"/>
                <a:gd name="connsiteX56" fmla="*/ 581332 w 2441576"/>
                <a:gd name="connsiteY56" fmla="*/ 901153 h 901154"/>
                <a:gd name="connsiteX57" fmla="*/ 471351 w 2441576"/>
                <a:gd name="connsiteY57" fmla="*/ 901153 h 901154"/>
                <a:gd name="connsiteX58" fmla="*/ 470246 w 2441576"/>
                <a:gd name="connsiteY58" fmla="*/ 901153 h 901154"/>
                <a:gd name="connsiteX59" fmla="*/ 377080 w 2441576"/>
                <a:gd name="connsiteY59" fmla="*/ 901153 h 901154"/>
                <a:gd name="connsiteX60" fmla="*/ 282811 w 2441576"/>
                <a:gd name="connsiteY60" fmla="*/ 901153 h 901154"/>
                <a:gd name="connsiteX61" fmla="*/ 188541 w 2441576"/>
                <a:gd name="connsiteY61" fmla="*/ 901153 h 901154"/>
                <a:gd name="connsiteX62" fmla="*/ 185400 w 2441576"/>
                <a:gd name="connsiteY62" fmla="*/ 901153 h 901154"/>
                <a:gd name="connsiteX63" fmla="*/ 94270 w 2441576"/>
                <a:gd name="connsiteY63" fmla="*/ 901153 h 901154"/>
                <a:gd name="connsiteX64" fmla="*/ 0 w 2441576"/>
                <a:gd name="connsiteY64" fmla="*/ 901153 h 901154"/>
                <a:gd name="connsiteX65" fmla="*/ 0 w 2441576"/>
                <a:gd name="connsiteY65" fmla="*/ 832545 h 901154"/>
                <a:gd name="connsiteX66" fmla="*/ 0 w 2441576"/>
                <a:gd name="connsiteY66" fmla="*/ 760507 h 901154"/>
                <a:gd name="connsiteX67" fmla="*/ 0 w 2441576"/>
                <a:gd name="connsiteY67" fmla="*/ 691899 h 901154"/>
                <a:gd name="connsiteX68" fmla="*/ 0 w 2441576"/>
                <a:gd name="connsiteY68" fmla="*/ 608455 h 901154"/>
                <a:gd name="connsiteX69" fmla="*/ 0 w 2441576"/>
                <a:gd name="connsiteY69" fmla="*/ 539847 h 901154"/>
                <a:gd name="connsiteX70" fmla="*/ 0 w 2441576"/>
                <a:gd name="connsiteY70" fmla="*/ 456403 h 901154"/>
                <a:gd name="connsiteX71" fmla="*/ 0 w 2441576"/>
                <a:gd name="connsiteY71" fmla="*/ 387795 h 901154"/>
                <a:gd name="connsiteX72" fmla="*/ 0 w 2441576"/>
                <a:gd name="connsiteY72" fmla="*/ 304351 h 901154"/>
                <a:gd name="connsiteX73" fmla="*/ 0 w 2441576"/>
                <a:gd name="connsiteY73" fmla="*/ 235743 h 901154"/>
                <a:gd name="connsiteX74" fmla="*/ 0 w 2441576"/>
                <a:gd name="connsiteY74" fmla="*/ 152299 h 901154"/>
                <a:gd name="connsiteX75" fmla="*/ 0 w 2441576"/>
                <a:gd name="connsiteY75" fmla="*/ 83691 h 901154"/>
                <a:gd name="connsiteX76" fmla="*/ 0 w 2441576"/>
                <a:gd name="connsiteY76" fmla="*/ 247 h 901154"/>
                <a:gd name="connsiteX0" fmla="*/ 0 w 2441576"/>
                <a:gd name="connsiteY0" fmla="*/ 247 h 901154"/>
                <a:gd name="connsiteX1" fmla="*/ 94270 w 2441576"/>
                <a:gd name="connsiteY1" fmla="*/ 247 h 901154"/>
                <a:gd name="connsiteX2" fmla="*/ 185400 w 2441576"/>
                <a:gd name="connsiteY2" fmla="*/ 247 h 901154"/>
                <a:gd name="connsiteX3" fmla="*/ 188541 w 2441576"/>
                <a:gd name="connsiteY3" fmla="*/ 247 h 901154"/>
                <a:gd name="connsiteX4" fmla="*/ 282811 w 2441576"/>
                <a:gd name="connsiteY4" fmla="*/ 247 h 901154"/>
                <a:gd name="connsiteX5" fmla="*/ 377080 w 2441576"/>
                <a:gd name="connsiteY5" fmla="*/ 247 h 901154"/>
                <a:gd name="connsiteX6" fmla="*/ 470246 w 2441576"/>
                <a:gd name="connsiteY6" fmla="*/ 247 h 901154"/>
                <a:gd name="connsiteX7" fmla="*/ 471351 w 2441576"/>
                <a:gd name="connsiteY7" fmla="*/ 247 h 901154"/>
                <a:gd name="connsiteX8" fmla="*/ 581332 w 2441576"/>
                <a:gd name="connsiteY8" fmla="*/ 247 h 901154"/>
                <a:gd name="connsiteX9" fmla="*/ 685028 w 2441576"/>
                <a:gd name="connsiteY9" fmla="*/ 247 h 901154"/>
                <a:gd name="connsiteX10" fmla="*/ 755093 w 2441576"/>
                <a:gd name="connsiteY10" fmla="*/ 247 h 901154"/>
                <a:gd name="connsiteX11" fmla="*/ 969874 w 2441576"/>
                <a:gd name="connsiteY11" fmla="*/ 247 h 901154"/>
                <a:gd name="connsiteX12" fmla="*/ 1039939 w 2441576"/>
                <a:gd name="connsiteY12" fmla="*/ 247 h 901154"/>
                <a:gd name="connsiteX13" fmla="*/ 1254721 w 2441576"/>
                <a:gd name="connsiteY13" fmla="*/ 247 h 901154"/>
                <a:gd name="connsiteX14" fmla="*/ 1324785 w 2441576"/>
                <a:gd name="connsiteY14" fmla="*/ 247 h 901154"/>
                <a:gd name="connsiteX15" fmla="*/ 1430031 w 2441576"/>
                <a:gd name="connsiteY15" fmla="*/ 0 h 901154"/>
                <a:gd name="connsiteX16" fmla="*/ 1539566 w 2441576"/>
                <a:gd name="connsiteY16" fmla="*/ 247 h 901154"/>
                <a:gd name="connsiteX17" fmla="*/ 1609632 w 2441576"/>
                <a:gd name="connsiteY17" fmla="*/ 247 h 901154"/>
                <a:gd name="connsiteX18" fmla="*/ 1707946 w 2441576"/>
                <a:gd name="connsiteY18" fmla="*/ 1 h 901154"/>
                <a:gd name="connsiteX19" fmla="*/ 1824412 w 2441576"/>
                <a:gd name="connsiteY19" fmla="*/ 247 h 901154"/>
                <a:gd name="connsiteX20" fmla="*/ 1941949 w 2441576"/>
                <a:gd name="connsiteY20" fmla="*/ 247 h 901154"/>
                <a:gd name="connsiteX21" fmla="*/ 2094866 w 2441576"/>
                <a:gd name="connsiteY21" fmla="*/ 247 h 901154"/>
                <a:gd name="connsiteX22" fmla="*/ 2176781 w 2441576"/>
                <a:gd name="connsiteY22" fmla="*/ 247 h 901154"/>
                <a:gd name="connsiteX23" fmla="*/ 2258696 w 2441576"/>
                <a:gd name="connsiteY23" fmla="*/ 247 h 901154"/>
                <a:gd name="connsiteX24" fmla="*/ 2321561 w 2441576"/>
                <a:gd name="connsiteY24" fmla="*/ 247 h 901154"/>
                <a:gd name="connsiteX25" fmla="*/ 2441576 w 2441576"/>
                <a:gd name="connsiteY25" fmla="*/ 247 h 901154"/>
                <a:gd name="connsiteX26" fmla="*/ 2441576 w 2441576"/>
                <a:gd name="connsiteY26" fmla="*/ 83691 h 901154"/>
                <a:gd name="connsiteX27" fmla="*/ 2441576 w 2441576"/>
                <a:gd name="connsiteY27" fmla="*/ 152299 h 901154"/>
                <a:gd name="connsiteX28" fmla="*/ 2441576 w 2441576"/>
                <a:gd name="connsiteY28" fmla="*/ 235743 h 901154"/>
                <a:gd name="connsiteX29" fmla="*/ 2441576 w 2441576"/>
                <a:gd name="connsiteY29" fmla="*/ 304351 h 901154"/>
                <a:gd name="connsiteX30" fmla="*/ 2441576 w 2441576"/>
                <a:gd name="connsiteY30" fmla="*/ 387795 h 901154"/>
                <a:gd name="connsiteX31" fmla="*/ 2441576 w 2441576"/>
                <a:gd name="connsiteY31" fmla="*/ 456403 h 901154"/>
                <a:gd name="connsiteX32" fmla="*/ 2441576 w 2441576"/>
                <a:gd name="connsiteY32" fmla="*/ 539847 h 901154"/>
                <a:gd name="connsiteX33" fmla="*/ 2441576 w 2441576"/>
                <a:gd name="connsiteY33" fmla="*/ 608455 h 901154"/>
                <a:gd name="connsiteX34" fmla="*/ 2441576 w 2441576"/>
                <a:gd name="connsiteY34" fmla="*/ 691899 h 901154"/>
                <a:gd name="connsiteX35" fmla="*/ 2441576 w 2441576"/>
                <a:gd name="connsiteY35" fmla="*/ 760507 h 901154"/>
                <a:gd name="connsiteX36" fmla="*/ 2441576 w 2441576"/>
                <a:gd name="connsiteY36" fmla="*/ 832545 h 901154"/>
                <a:gd name="connsiteX37" fmla="*/ 2441576 w 2441576"/>
                <a:gd name="connsiteY37" fmla="*/ 901153 h 901154"/>
                <a:gd name="connsiteX38" fmla="*/ 2321561 w 2441576"/>
                <a:gd name="connsiteY38" fmla="*/ 901153 h 901154"/>
                <a:gd name="connsiteX39" fmla="*/ 2239646 w 2441576"/>
                <a:gd name="connsiteY39" fmla="*/ 901153 h 901154"/>
                <a:gd name="connsiteX40" fmla="*/ 2176781 w 2441576"/>
                <a:gd name="connsiteY40" fmla="*/ 901153 h 901154"/>
                <a:gd name="connsiteX41" fmla="*/ 2109259 w 2441576"/>
                <a:gd name="connsiteY41" fmla="*/ 901153 h 901154"/>
                <a:gd name="connsiteX42" fmla="*/ 2025730 w 2441576"/>
                <a:gd name="connsiteY42" fmla="*/ 901153 h 901154"/>
                <a:gd name="connsiteX43" fmla="*/ 1941949 w 2441576"/>
                <a:gd name="connsiteY43" fmla="*/ 901153 h 901154"/>
                <a:gd name="connsiteX44" fmla="*/ 1824412 w 2441576"/>
                <a:gd name="connsiteY44" fmla="*/ 901153 h 901154"/>
                <a:gd name="connsiteX45" fmla="*/ 1720844 w 2441576"/>
                <a:gd name="connsiteY45" fmla="*/ 901153 h 901154"/>
                <a:gd name="connsiteX46" fmla="*/ 1609632 w 2441576"/>
                <a:gd name="connsiteY46" fmla="*/ 901153 h 901154"/>
                <a:gd name="connsiteX47" fmla="*/ 1539566 w 2441576"/>
                <a:gd name="connsiteY47" fmla="*/ 901153 h 901154"/>
                <a:gd name="connsiteX48" fmla="*/ 1427685 w 2441576"/>
                <a:gd name="connsiteY48" fmla="*/ 901153 h 901154"/>
                <a:gd name="connsiteX49" fmla="*/ 1324785 w 2441576"/>
                <a:gd name="connsiteY49" fmla="*/ 901153 h 901154"/>
                <a:gd name="connsiteX50" fmla="*/ 1254721 w 2441576"/>
                <a:gd name="connsiteY50" fmla="*/ 901153 h 901154"/>
                <a:gd name="connsiteX51" fmla="*/ 1146253 w 2441576"/>
                <a:gd name="connsiteY51" fmla="*/ 901153 h 901154"/>
                <a:gd name="connsiteX52" fmla="*/ 1039939 w 2441576"/>
                <a:gd name="connsiteY52" fmla="*/ 901153 h 901154"/>
                <a:gd name="connsiteX53" fmla="*/ 969874 w 2441576"/>
                <a:gd name="connsiteY53" fmla="*/ 901153 h 901154"/>
                <a:gd name="connsiteX54" fmla="*/ 864820 w 2441576"/>
                <a:gd name="connsiteY54" fmla="*/ 901154 h 901154"/>
                <a:gd name="connsiteX55" fmla="*/ 755093 w 2441576"/>
                <a:gd name="connsiteY55" fmla="*/ 901153 h 901154"/>
                <a:gd name="connsiteX56" fmla="*/ 685028 w 2441576"/>
                <a:gd name="connsiteY56" fmla="*/ 901153 h 901154"/>
                <a:gd name="connsiteX57" fmla="*/ 581332 w 2441576"/>
                <a:gd name="connsiteY57" fmla="*/ 901153 h 901154"/>
                <a:gd name="connsiteX58" fmla="*/ 471351 w 2441576"/>
                <a:gd name="connsiteY58" fmla="*/ 901153 h 901154"/>
                <a:gd name="connsiteX59" fmla="*/ 470246 w 2441576"/>
                <a:gd name="connsiteY59" fmla="*/ 901153 h 901154"/>
                <a:gd name="connsiteX60" fmla="*/ 377080 w 2441576"/>
                <a:gd name="connsiteY60" fmla="*/ 901153 h 901154"/>
                <a:gd name="connsiteX61" fmla="*/ 282811 w 2441576"/>
                <a:gd name="connsiteY61" fmla="*/ 901153 h 901154"/>
                <a:gd name="connsiteX62" fmla="*/ 188541 w 2441576"/>
                <a:gd name="connsiteY62" fmla="*/ 901153 h 901154"/>
                <a:gd name="connsiteX63" fmla="*/ 185400 w 2441576"/>
                <a:gd name="connsiteY63" fmla="*/ 901153 h 901154"/>
                <a:gd name="connsiteX64" fmla="*/ 94270 w 2441576"/>
                <a:gd name="connsiteY64" fmla="*/ 901153 h 901154"/>
                <a:gd name="connsiteX65" fmla="*/ 0 w 2441576"/>
                <a:gd name="connsiteY65" fmla="*/ 901153 h 901154"/>
                <a:gd name="connsiteX66" fmla="*/ 0 w 2441576"/>
                <a:gd name="connsiteY66" fmla="*/ 832545 h 901154"/>
                <a:gd name="connsiteX67" fmla="*/ 0 w 2441576"/>
                <a:gd name="connsiteY67" fmla="*/ 760507 h 901154"/>
                <a:gd name="connsiteX68" fmla="*/ 0 w 2441576"/>
                <a:gd name="connsiteY68" fmla="*/ 691899 h 901154"/>
                <a:gd name="connsiteX69" fmla="*/ 0 w 2441576"/>
                <a:gd name="connsiteY69" fmla="*/ 608455 h 901154"/>
                <a:gd name="connsiteX70" fmla="*/ 0 w 2441576"/>
                <a:gd name="connsiteY70" fmla="*/ 539847 h 901154"/>
                <a:gd name="connsiteX71" fmla="*/ 0 w 2441576"/>
                <a:gd name="connsiteY71" fmla="*/ 456403 h 901154"/>
                <a:gd name="connsiteX72" fmla="*/ 0 w 2441576"/>
                <a:gd name="connsiteY72" fmla="*/ 387795 h 901154"/>
                <a:gd name="connsiteX73" fmla="*/ 0 w 2441576"/>
                <a:gd name="connsiteY73" fmla="*/ 304351 h 901154"/>
                <a:gd name="connsiteX74" fmla="*/ 0 w 2441576"/>
                <a:gd name="connsiteY74" fmla="*/ 235743 h 901154"/>
                <a:gd name="connsiteX75" fmla="*/ 0 w 2441576"/>
                <a:gd name="connsiteY75" fmla="*/ 152299 h 901154"/>
                <a:gd name="connsiteX76" fmla="*/ 0 w 2441576"/>
                <a:gd name="connsiteY76" fmla="*/ 83691 h 901154"/>
                <a:gd name="connsiteX77" fmla="*/ 0 w 2441576"/>
                <a:gd name="connsiteY77" fmla="*/ 247 h 901154"/>
                <a:gd name="connsiteX0" fmla="*/ 0 w 2441576"/>
                <a:gd name="connsiteY0" fmla="*/ 247 h 901154"/>
                <a:gd name="connsiteX1" fmla="*/ 94270 w 2441576"/>
                <a:gd name="connsiteY1" fmla="*/ 247 h 901154"/>
                <a:gd name="connsiteX2" fmla="*/ 185400 w 2441576"/>
                <a:gd name="connsiteY2" fmla="*/ 247 h 901154"/>
                <a:gd name="connsiteX3" fmla="*/ 188541 w 2441576"/>
                <a:gd name="connsiteY3" fmla="*/ 247 h 901154"/>
                <a:gd name="connsiteX4" fmla="*/ 282811 w 2441576"/>
                <a:gd name="connsiteY4" fmla="*/ 247 h 901154"/>
                <a:gd name="connsiteX5" fmla="*/ 377080 w 2441576"/>
                <a:gd name="connsiteY5" fmla="*/ 247 h 901154"/>
                <a:gd name="connsiteX6" fmla="*/ 470246 w 2441576"/>
                <a:gd name="connsiteY6" fmla="*/ 247 h 901154"/>
                <a:gd name="connsiteX7" fmla="*/ 471351 w 2441576"/>
                <a:gd name="connsiteY7" fmla="*/ 247 h 901154"/>
                <a:gd name="connsiteX8" fmla="*/ 581332 w 2441576"/>
                <a:gd name="connsiteY8" fmla="*/ 247 h 901154"/>
                <a:gd name="connsiteX9" fmla="*/ 685028 w 2441576"/>
                <a:gd name="connsiteY9" fmla="*/ 247 h 901154"/>
                <a:gd name="connsiteX10" fmla="*/ 755093 w 2441576"/>
                <a:gd name="connsiteY10" fmla="*/ 247 h 901154"/>
                <a:gd name="connsiteX11" fmla="*/ 969874 w 2441576"/>
                <a:gd name="connsiteY11" fmla="*/ 247 h 901154"/>
                <a:gd name="connsiteX12" fmla="*/ 1039939 w 2441576"/>
                <a:gd name="connsiteY12" fmla="*/ 247 h 901154"/>
                <a:gd name="connsiteX13" fmla="*/ 1146839 w 2441576"/>
                <a:gd name="connsiteY13" fmla="*/ 1 h 901154"/>
                <a:gd name="connsiteX14" fmla="*/ 1254721 w 2441576"/>
                <a:gd name="connsiteY14" fmla="*/ 247 h 901154"/>
                <a:gd name="connsiteX15" fmla="*/ 1324785 w 2441576"/>
                <a:gd name="connsiteY15" fmla="*/ 247 h 901154"/>
                <a:gd name="connsiteX16" fmla="*/ 1430031 w 2441576"/>
                <a:gd name="connsiteY16" fmla="*/ 0 h 901154"/>
                <a:gd name="connsiteX17" fmla="*/ 1539566 w 2441576"/>
                <a:gd name="connsiteY17" fmla="*/ 247 h 901154"/>
                <a:gd name="connsiteX18" fmla="*/ 1609632 w 2441576"/>
                <a:gd name="connsiteY18" fmla="*/ 247 h 901154"/>
                <a:gd name="connsiteX19" fmla="*/ 1707946 w 2441576"/>
                <a:gd name="connsiteY19" fmla="*/ 1 h 901154"/>
                <a:gd name="connsiteX20" fmla="*/ 1824412 w 2441576"/>
                <a:gd name="connsiteY20" fmla="*/ 247 h 901154"/>
                <a:gd name="connsiteX21" fmla="*/ 1941949 w 2441576"/>
                <a:gd name="connsiteY21" fmla="*/ 247 h 901154"/>
                <a:gd name="connsiteX22" fmla="*/ 2094866 w 2441576"/>
                <a:gd name="connsiteY22" fmla="*/ 247 h 901154"/>
                <a:gd name="connsiteX23" fmla="*/ 2176781 w 2441576"/>
                <a:gd name="connsiteY23" fmla="*/ 247 h 901154"/>
                <a:gd name="connsiteX24" fmla="*/ 2258696 w 2441576"/>
                <a:gd name="connsiteY24" fmla="*/ 247 h 901154"/>
                <a:gd name="connsiteX25" fmla="*/ 2321561 w 2441576"/>
                <a:gd name="connsiteY25" fmla="*/ 247 h 901154"/>
                <a:gd name="connsiteX26" fmla="*/ 2441576 w 2441576"/>
                <a:gd name="connsiteY26" fmla="*/ 247 h 901154"/>
                <a:gd name="connsiteX27" fmla="*/ 2441576 w 2441576"/>
                <a:gd name="connsiteY27" fmla="*/ 83691 h 901154"/>
                <a:gd name="connsiteX28" fmla="*/ 2441576 w 2441576"/>
                <a:gd name="connsiteY28" fmla="*/ 152299 h 901154"/>
                <a:gd name="connsiteX29" fmla="*/ 2441576 w 2441576"/>
                <a:gd name="connsiteY29" fmla="*/ 235743 h 901154"/>
                <a:gd name="connsiteX30" fmla="*/ 2441576 w 2441576"/>
                <a:gd name="connsiteY30" fmla="*/ 304351 h 901154"/>
                <a:gd name="connsiteX31" fmla="*/ 2441576 w 2441576"/>
                <a:gd name="connsiteY31" fmla="*/ 387795 h 901154"/>
                <a:gd name="connsiteX32" fmla="*/ 2441576 w 2441576"/>
                <a:gd name="connsiteY32" fmla="*/ 456403 h 901154"/>
                <a:gd name="connsiteX33" fmla="*/ 2441576 w 2441576"/>
                <a:gd name="connsiteY33" fmla="*/ 539847 h 901154"/>
                <a:gd name="connsiteX34" fmla="*/ 2441576 w 2441576"/>
                <a:gd name="connsiteY34" fmla="*/ 608455 h 901154"/>
                <a:gd name="connsiteX35" fmla="*/ 2441576 w 2441576"/>
                <a:gd name="connsiteY35" fmla="*/ 691899 h 901154"/>
                <a:gd name="connsiteX36" fmla="*/ 2441576 w 2441576"/>
                <a:gd name="connsiteY36" fmla="*/ 760507 h 901154"/>
                <a:gd name="connsiteX37" fmla="*/ 2441576 w 2441576"/>
                <a:gd name="connsiteY37" fmla="*/ 832545 h 901154"/>
                <a:gd name="connsiteX38" fmla="*/ 2441576 w 2441576"/>
                <a:gd name="connsiteY38" fmla="*/ 901153 h 901154"/>
                <a:gd name="connsiteX39" fmla="*/ 2321561 w 2441576"/>
                <a:gd name="connsiteY39" fmla="*/ 901153 h 901154"/>
                <a:gd name="connsiteX40" fmla="*/ 2239646 w 2441576"/>
                <a:gd name="connsiteY40" fmla="*/ 901153 h 901154"/>
                <a:gd name="connsiteX41" fmla="*/ 2176781 w 2441576"/>
                <a:gd name="connsiteY41" fmla="*/ 901153 h 901154"/>
                <a:gd name="connsiteX42" fmla="*/ 2109259 w 2441576"/>
                <a:gd name="connsiteY42" fmla="*/ 901153 h 901154"/>
                <a:gd name="connsiteX43" fmla="*/ 2025730 w 2441576"/>
                <a:gd name="connsiteY43" fmla="*/ 901153 h 901154"/>
                <a:gd name="connsiteX44" fmla="*/ 1941949 w 2441576"/>
                <a:gd name="connsiteY44" fmla="*/ 901153 h 901154"/>
                <a:gd name="connsiteX45" fmla="*/ 1824412 w 2441576"/>
                <a:gd name="connsiteY45" fmla="*/ 901153 h 901154"/>
                <a:gd name="connsiteX46" fmla="*/ 1720844 w 2441576"/>
                <a:gd name="connsiteY46" fmla="*/ 901153 h 901154"/>
                <a:gd name="connsiteX47" fmla="*/ 1609632 w 2441576"/>
                <a:gd name="connsiteY47" fmla="*/ 901153 h 901154"/>
                <a:gd name="connsiteX48" fmla="*/ 1539566 w 2441576"/>
                <a:gd name="connsiteY48" fmla="*/ 901153 h 901154"/>
                <a:gd name="connsiteX49" fmla="*/ 1427685 w 2441576"/>
                <a:gd name="connsiteY49" fmla="*/ 901153 h 901154"/>
                <a:gd name="connsiteX50" fmla="*/ 1324785 w 2441576"/>
                <a:gd name="connsiteY50" fmla="*/ 901153 h 901154"/>
                <a:gd name="connsiteX51" fmla="*/ 1254721 w 2441576"/>
                <a:gd name="connsiteY51" fmla="*/ 901153 h 901154"/>
                <a:gd name="connsiteX52" fmla="*/ 1146253 w 2441576"/>
                <a:gd name="connsiteY52" fmla="*/ 901153 h 901154"/>
                <a:gd name="connsiteX53" fmla="*/ 1039939 w 2441576"/>
                <a:gd name="connsiteY53" fmla="*/ 901153 h 901154"/>
                <a:gd name="connsiteX54" fmla="*/ 969874 w 2441576"/>
                <a:gd name="connsiteY54" fmla="*/ 901153 h 901154"/>
                <a:gd name="connsiteX55" fmla="*/ 864820 w 2441576"/>
                <a:gd name="connsiteY55" fmla="*/ 901154 h 901154"/>
                <a:gd name="connsiteX56" fmla="*/ 755093 w 2441576"/>
                <a:gd name="connsiteY56" fmla="*/ 901153 h 901154"/>
                <a:gd name="connsiteX57" fmla="*/ 685028 w 2441576"/>
                <a:gd name="connsiteY57" fmla="*/ 901153 h 901154"/>
                <a:gd name="connsiteX58" fmla="*/ 581332 w 2441576"/>
                <a:gd name="connsiteY58" fmla="*/ 901153 h 901154"/>
                <a:gd name="connsiteX59" fmla="*/ 471351 w 2441576"/>
                <a:gd name="connsiteY59" fmla="*/ 901153 h 901154"/>
                <a:gd name="connsiteX60" fmla="*/ 470246 w 2441576"/>
                <a:gd name="connsiteY60" fmla="*/ 901153 h 901154"/>
                <a:gd name="connsiteX61" fmla="*/ 377080 w 2441576"/>
                <a:gd name="connsiteY61" fmla="*/ 901153 h 901154"/>
                <a:gd name="connsiteX62" fmla="*/ 282811 w 2441576"/>
                <a:gd name="connsiteY62" fmla="*/ 901153 h 901154"/>
                <a:gd name="connsiteX63" fmla="*/ 188541 w 2441576"/>
                <a:gd name="connsiteY63" fmla="*/ 901153 h 901154"/>
                <a:gd name="connsiteX64" fmla="*/ 185400 w 2441576"/>
                <a:gd name="connsiteY64" fmla="*/ 901153 h 901154"/>
                <a:gd name="connsiteX65" fmla="*/ 94270 w 2441576"/>
                <a:gd name="connsiteY65" fmla="*/ 901153 h 901154"/>
                <a:gd name="connsiteX66" fmla="*/ 0 w 2441576"/>
                <a:gd name="connsiteY66" fmla="*/ 901153 h 901154"/>
                <a:gd name="connsiteX67" fmla="*/ 0 w 2441576"/>
                <a:gd name="connsiteY67" fmla="*/ 832545 h 901154"/>
                <a:gd name="connsiteX68" fmla="*/ 0 w 2441576"/>
                <a:gd name="connsiteY68" fmla="*/ 760507 h 901154"/>
                <a:gd name="connsiteX69" fmla="*/ 0 w 2441576"/>
                <a:gd name="connsiteY69" fmla="*/ 691899 h 901154"/>
                <a:gd name="connsiteX70" fmla="*/ 0 w 2441576"/>
                <a:gd name="connsiteY70" fmla="*/ 608455 h 901154"/>
                <a:gd name="connsiteX71" fmla="*/ 0 w 2441576"/>
                <a:gd name="connsiteY71" fmla="*/ 539847 h 901154"/>
                <a:gd name="connsiteX72" fmla="*/ 0 w 2441576"/>
                <a:gd name="connsiteY72" fmla="*/ 456403 h 901154"/>
                <a:gd name="connsiteX73" fmla="*/ 0 w 2441576"/>
                <a:gd name="connsiteY73" fmla="*/ 387795 h 901154"/>
                <a:gd name="connsiteX74" fmla="*/ 0 w 2441576"/>
                <a:gd name="connsiteY74" fmla="*/ 304351 h 901154"/>
                <a:gd name="connsiteX75" fmla="*/ 0 w 2441576"/>
                <a:gd name="connsiteY75" fmla="*/ 235743 h 901154"/>
                <a:gd name="connsiteX76" fmla="*/ 0 w 2441576"/>
                <a:gd name="connsiteY76" fmla="*/ 152299 h 901154"/>
                <a:gd name="connsiteX77" fmla="*/ 0 w 2441576"/>
                <a:gd name="connsiteY77" fmla="*/ 83691 h 901154"/>
                <a:gd name="connsiteX78" fmla="*/ 0 w 2441576"/>
                <a:gd name="connsiteY78" fmla="*/ 247 h 901154"/>
                <a:gd name="connsiteX0" fmla="*/ 0 w 2441576"/>
                <a:gd name="connsiteY0" fmla="*/ 247 h 901154"/>
                <a:gd name="connsiteX1" fmla="*/ 94270 w 2441576"/>
                <a:gd name="connsiteY1" fmla="*/ 247 h 901154"/>
                <a:gd name="connsiteX2" fmla="*/ 185400 w 2441576"/>
                <a:gd name="connsiteY2" fmla="*/ 247 h 901154"/>
                <a:gd name="connsiteX3" fmla="*/ 188541 w 2441576"/>
                <a:gd name="connsiteY3" fmla="*/ 247 h 901154"/>
                <a:gd name="connsiteX4" fmla="*/ 282811 w 2441576"/>
                <a:gd name="connsiteY4" fmla="*/ 247 h 901154"/>
                <a:gd name="connsiteX5" fmla="*/ 377080 w 2441576"/>
                <a:gd name="connsiteY5" fmla="*/ 247 h 901154"/>
                <a:gd name="connsiteX6" fmla="*/ 470246 w 2441576"/>
                <a:gd name="connsiteY6" fmla="*/ 247 h 901154"/>
                <a:gd name="connsiteX7" fmla="*/ 471351 w 2441576"/>
                <a:gd name="connsiteY7" fmla="*/ 247 h 901154"/>
                <a:gd name="connsiteX8" fmla="*/ 581332 w 2441576"/>
                <a:gd name="connsiteY8" fmla="*/ 247 h 901154"/>
                <a:gd name="connsiteX9" fmla="*/ 685028 w 2441576"/>
                <a:gd name="connsiteY9" fmla="*/ 247 h 901154"/>
                <a:gd name="connsiteX10" fmla="*/ 755093 w 2441576"/>
                <a:gd name="connsiteY10" fmla="*/ 247 h 901154"/>
                <a:gd name="connsiteX11" fmla="*/ 860129 w 2441576"/>
                <a:gd name="connsiteY11" fmla="*/ 1 h 901154"/>
                <a:gd name="connsiteX12" fmla="*/ 969874 w 2441576"/>
                <a:gd name="connsiteY12" fmla="*/ 247 h 901154"/>
                <a:gd name="connsiteX13" fmla="*/ 1039939 w 2441576"/>
                <a:gd name="connsiteY13" fmla="*/ 247 h 901154"/>
                <a:gd name="connsiteX14" fmla="*/ 1146839 w 2441576"/>
                <a:gd name="connsiteY14" fmla="*/ 1 h 901154"/>
                <a:gd name="connsiteX15" fmla="*/ 1254721 w 2441576"/>
                <a:gd name="connsiteY15" fmla="*/ 247 h 901154"/>
                <a:gd name="connsiteX16" fmla="*/ 1324785 w 2441576"/>
                <a:gd name="connsiteY16" fmla="*/ 247 h 901154"/>
                <a:gd name="connsiteX17" fmla="*/ 1430031 w 2441576"/>
                <a:gd name="connsiteY17" fmla="*/ 0 h 901154"/>
                <a:gd name="connsiteX18" fmla="*/ 1539566 w 2441576"/>
                <a:gd name="connsiteY18" fmla="*/ 247 h 901154"/>
                <a:gd name="connsiteX19" fmla="*/ 1609632 w 2441576"/>
                <a:gd name="connsiteY19" fmla="*/ 247 h 901154"/>
                <a:gd name="connsiteX20" fmla="*/ 1707946 w 2441576"/>
                <a:gd name="connsiteY20" fmla="*/ 1 h 901154"/>
                <a:gd name="connsiteX21" fmla="*/ 1824412 w 2441576"/>
                <a:gd name="connsiteY21" fmla="*/ 247 h 901154"/>
                <a:gd name="connsiteX22" fmla="*/ 1941949 w 2441576"/>
                <a:gd name="connsiteY22" fmla="*/ 247 h 901154"/>
                <a:gd name="connsiteX23" fmla="*/ 2094866 w 2441576"/>
                <a:gd name="connsiteY23" fmla="*/ 247 h 901154"/>
                <a:gd name="connsiteX24" fmla="*/ 2176781 w 2441576"/>
                <a:gd name="connsiteY24" fmla="*/ 247 h 901154"/>
                <a:gd name="connsiteX25" fmla="*/ 2258696 w 2441576"/>
                <a:gd name="connsiteY25" fmla="*/ 247 h 901154"/>
                <a:gd name="connsiteX26" fmla="*/ 2321561 w 2441576"/>
                <a:gd name="connsiteY26" fmla="*/ 247 h 901154"/>
                <a:gd name="connsiteX27" fmla="*/ 2441576 w 2441576"/>
                <a:gd name="connsiteY27" fmla="*/ 247 h 901154"/>
                <a:gd name="connsiteX28" fmla="*/ 2441576 w 2441576"/>
                <a:gd name="connsiteY28" fmla="*/ 83691 h 901154"/>
                <a:gd name="connsiteX29" fmla="*/ 2441576 w 2441576"/>
                <a:gd name="connsiteY29" fmla="*/ 152299 h 901154"/>
                <a:gd name="connsiteX30" fmla="*/ 2441576 w 2441576"/>
                <a:gd name="connsiteY30" fmla="*/ 235743 h 901154"/>
                <a:gd name="connsiteX31" fmla="*/ 2441576 w 2441576"/>
                <a:gd name="connsiteY31" fmla="*/ 304351 h 901154"/>
                <a:gd name="connsiteX32" fmla="*/ 2441576 w 2441576"/>
                <a:gd name="connsiteY32" fmla="*/ 387795 h 901154"/>
                <a:gd name="connsiteX33" fmla="*/ 2441576 w 2441576"/>
                <a:gd name="connsiteY33" fmla="*/ 456403 h 901154"/>
                <a:gd name="connsiteX34" fmla="*/ 2441576 w 2441576"/>
                <a:gd name="connsiteY34" fmla="*/ 539847 h 901154"/>
                <a:gd name="connsiteX35" fmla="*/ 2441576 w 2441576"/>
                <a:gd name="connsiteY35" fmla="*/ 608455 h 901154"/>
                <a:gd name="connsiteX36" fmla="*/ 2441576 w 2441576"/>
                <a:gd name="connsiteY36" fmla="*/ 691899 h 901154"/>
                <a:gd name="connsiteX37" fmla="*/ 2441576 w 2441576"/>
                <a:gd name="connsiteY37" fmla="*/ 760507 h 901154"/>
                <a:gd name="connsiteX38" fmla="*/ 2441576 w 2441576"/>
                <a:gd name="connsiteY38" fmla="*/ 832545 h 901154"/>
                <a:gd name="connsiteX39" fmla="*/ 2441576 w 2441576"/>
                <a:gd name="connsiteY39" fmla="*/ 901153 h 901154"/>
                <a:gd name="connsiteX40" fmla="*/ 2321561 w 2441576"/>
                <a:gd name="connsiteY40" fmla="*/ 901153 h 901154"/>
                <a:gd name="connsiteX41" fmla="*/ 2239646 w 2441576"/>
                <a:gd name="connsiteY41" fmla="*/ 901153 h 901154"/>
                <a:gd name="connsiteX42" fmla="*/ 2176781 w 2441576"/>
                <a:gd name="connsiteY42" fmla="*/ 901153 h 901154"/>
                <a:gd name="connsiteX43" fmla="*/ 2109259 w 2441576"/>
                <a:gd name="connsiteY43" fmla="*/ 901153 h 901154"/>
                <a:gd name="connsiteX44" fmla="*/ 2025730 w 2441576"/>
                <a:gd name="connsiteY44" fmla="*/ 901153 h 901154"/>
                <a:gd name="connsiteX45" fmla="*/ 1941949 w 2441576"/>
                <a:gd name="connsiteY45" fmla="*/ 901153 h 901154"/>
                <a:gd name="connsiteX46" fmla="*/ 1824412 w 2441576"/>
                <a:gd name="connsiteY46" fmla="*/ 901153 h 901154"/>
                <a:gd name="connsiteX47" fmla="*/ 1720844 w 2441576"/>
                <a:gd name="connsiteY47" fmla="*/ 901153 h 901154"/>
                <a:gd name="connsiteX48" fmla="*/ 1609632 w 2441576"/>
                <a:gd name="connsiteY48" fmla="*/ 901153 h 901154"/>
                <a:gd name="connsiteX49" fmla="*/ 1539566 w 2441576"/>
                <a:gd name="connsiteY49" fmla="*/ 901153 h 901154"/>
                <a:gd name="connsiteX50" fmla="*/ 1427685 w 2441576"/>
                <a:gd name="connsiteY50" fmla="*/ 901153 h 901154"/>
                <a:gd name="connsiteX51" fmla="*/ 1324785 w 2441576"/>
                <a:gd name="connsiteY51" fmla="*/ 901153 h 901154"/>
                <a:gd name="connsiteX52" fmla="*/ 1254721 w 2441576"/>
                <a:gd name="connsiteY52" fmla="*/ 901153 h 901154"/>
                <a:gd name="connsiteX53" fmla="*/ 1146253 w 2441576"/>
                <a:gd name="connsiteY53" fmla="*/ 901153 h 901154"/>
                <a:gd name="connsiteX54" fmla="*/ 1039939 w 2441576"/>
                <a:gd name="connsiteY54" fmla="*/ 901153 h 901154"/>
                <a:gd name="connsiteX55" fmla="*/ 969874 w 2441576"/>
                <a:gd name="connsiteY55" fmla="*/ 901153 h 901154"/>
                <a:gd name="connsiteX56" fmla="*/ 864820 w 2441576"/>
                <a:gd name="connsiteY56" fmla="*/ 901154 h 901154"/>
                <a:gd name="connsiteX57" fmla="*/ 755093 w 2441576"/>
                <a:gd name="connsiteY57" fmla="*/ 901153 h 901154"/>
                <a:gd name="connsiteX58" fmla="*/ 685028 w 2441576"/>
                <a:gd name="connsiteY58" fmla="*/ 901153 h 901154"/>
                <a:gd name="connsiteX59" fmla="*/ 581332 w 2441576"/>
                <a:gd name="connsiteY59" fmla="*/ 901153 h 901154"/>
                <a:gd name="connsiteX60" fmla="*/ 471351 w 2441576"/>
                <a:gd name="connsiteY60" fmla="*/ 901153 h 901154"/>
                <a:gd name="connsiteX61" fmla="*/ 470246 w 2441576"/>
                <a:gd name="connsiteY61" fmla="*/ 901153 h 901154"/>
                <a:gd name="connsiteX62" fmla="*/ 377080 w 2441576"/>
                <a:gd name="connsiteY62" fmla="*/ 901153 h 901154"/>
                <a:gd name="connsiteX63" fmla="*/ 282811 w 2441576"/>
                <a:gd name="connsiteY63" fmla="*/ 901153 h 901154"/>
                <a:gd name="connsiteX64" fmla="*/ 188541 w 2441576"/>
                <a:gd name="connsiteY64" fmla="*/ 901153 h 901154"/>
                <a:gd name="connsiteX65" fmla="*/ 185400 w 2441576"/>
                <a:gd name="connsiteY65" fmla="*/ 901153 h 901154"/>
                <a:gd name="connsiteX66" fmla="*/ 94270 w 2441576"/>
                <a:gd name="connsiteY66" fmla="*/ 901153 h 901154"/>
                <a:gd name="connsiteX67" fmla="*/ 0 w 2441576"/>
                <a:gd name="connsiteY67" fmla="*/ 901153 h 901154"/>
                <a:gd name="connsiteX68" fmla="*/ 0 w 2441576"/>
                <a:gd name="connsiteY68" fmla="*/ 832545 h 901154"/>
                <a:gd name="connsiteX69" fmla="*/ 0 w 2441576"/>
                <a:gd name="connsiteY69" fmla="*/ 760507 h 901154"/>
                <a:gd name="connsiteX70" fmla="*/ 0 w 2441576"/>
                <a:gd name="connsiteY70" fmla="*/ 691899 h 901154"/>
                <a:gd name="connsiteX71" fmla="*/ 0 w 2441576"/>
                <a:gd name="connsiteY71" fmla="*/ 608455 h 901154"/>
                <a:gd name="connsiteX72" fmla="*/ 0 w 2441576"/>
                <a:gd name="connsiteY72" fmla="*/ 539847 h 901154"/>
                <a:gd name="connsiteX73" fmla="*/ 0 w 2441576"/>
                <a:gd name="connsiteY73" fmla="*/ 456403 h 901154"/>
                <a:gd name="connsiteX74" fmla="*/ 0 w 2441576"/>
                <a:gd name="connsiteY74" fmla="*/ 387795 h 901154"/>
                <a:gd name="connsiteX75" fmla="*/ 0 w 2441576"/>
                <a:gd name="connsiteY75" fmla="*/ 304351 h 901154"/>
                <a:gd name="connsiteX76" fmla="*/ 0 w 2441576"/>
                <a:gd name="connsiteY76" fmla="*/ 235743 h 901154"/>
                <a:gd name="connsiteX77" fmla="*/ 0 w 2441576"/>
                <a:gd name="connsiteY77" fmla="*/ 152299 h 901154"/>
                <a:gd name="connsiteX78" fmla="*/ 0 w 2441576"/>
                <a:gd name="connsiteY78" fmla="*/ 83691 h 901154"/>
                <a:gd name="connsiteX79" fmla="*/ 0 w 2441576"/>
                <a:gd name="connsiteY79" fmla="*/ 247 h 901154"/>
                <a:gd name="connsiteX0" fmla="*/ 0 w 2441576"/>
                <a:gd name="connsiteY0" fmla="*/ 247 h 901154"/>
                <a:gd name="connsiteX1" fmla="*/ 94270 w 2441576"/>
                <a:gd name="connsiteY1" fmla="*/ 247 h 901154"/>
                <a:gd name="connsiteX2" fmla="*/ 185400 w 2441576"/>
                <a:gd name="connsiteY2" fmla="*/ 247 h 901154"/>
                <a:gd name="connsiteX3" fmla="*/ 188541 w 2441576"/>
                <a:gd name="connsiteY3" fmla="*/ 247 h 901154"/>
                <a:gd name="connsiteX4" fmla="*/ 282811 w 2441576"/>
                <a:gd name="connsiteY4" fmla="*/ 247 h 901154"/>
                <a:gd name="connsiteX5" fmla="*/ 377080 w 2441576"/>
                <a:gd name="connsiteY5" fmla="*/ 247 h 901154"/>
                <a:gd name="connsiteX6" fmla="*/ 470246 w 2441576"/>
                <a:gd name="connsiteY6" fmla="*/ 247 h 901154"/>
                <a:gd name="connsiteX7" fmla="*/ 581332 w 2441576"/>
                <a:gd name="connsiteY7" fmla="*/ 247 h 901154"/>
                <a:gd name="connsiteX8" fmla="*/ 685028 w 2441576"/>
                <a:gd name="connsiteY8" fmla="*/ 247 h 901154"/>
                <a:gd name="connsiteX9" fmla="*/ 755093 w 2441576"/>
                <a:gd name="connsiteY9" fmla="*/ 247 h 901154"/>
                <a:gd name="connsiteX10" fmla="*/ 860129 w 2441576"/>
                <a:gd name="connsiteY10" fmla="*/ 1 h 901154"/>
                <a:gd name="connsiteX11" fmla="*/ 969874 w 2441576"/>
                <a:gd name="connsiteY11" fmla="*/ 247 h 901154"/>
                <a:gd name="connsiteX12" fmla="*/ 1039939 w 2441576"/>
                <a:gd name="connsiteY12" fmla="*/ 247 h 901154"/>
                <a:gd name="connsiteX13" fmla="*/ 1146839 w 2441576"/>
                <a:gd name="connsiteY13" fmla="*/ 1 h 901154"/>
                <a:gd name="connsiteX14" fmla="*/ 1254721 w 2441576"/>
                <a:gd name="connsiteY14" fmla="*/ 247 h 901154"/>
                <a:gd name="connsiteX15" fmla="*/ 1324785 w 2441576"/>
                <a:gd name="connsiteY15" fmla="*/ 247 h 901154"/>
                <a:gd name="connsiteX16" fmla="*/ 1430031 w 2441576"/>
                <a:gd name="connsiteY16" fmla="*/ 0 h 901154"/>
                <a:gd name="connsiteX17" fmla="*/ 1539566 w 2441576"/>
                <a:gd name="connsiteY17" fmla="*/ 247 h 901154"/>
                <a:gd name="connsiteX18" fmla="*/ 1609632 w 2441576"/>
                <a:gd name="connsiteY18" fmla="*/ 247 h 901154"/>
                <a:gd name="connsiteX19" fmla="*/ 1707946 w 2441576"/>
                <a:gd name="connsiteY19" fmla="*/ 1 h 901154"/>
                <a:gd name="connsiteX20" fmla="*/ 1824412 w 2441576"/>
                <a:gd name="connsiteY20" fmla="*/ 247 h 901154"/>
                <a:gd name="connsiteX21" fmla="*/ 1941949 w 2441576"/>
                <a:gd name="connsiteY21" fmla="*/ 247 h 901154"/>
                <a:gd name="connsiteX22" fmla="*/ 2094866 w 2441576"/>
                <a:gd name="connsiteY22" fmla="*/ 247 h 901154"/>
                <a:gd name="connsiteX23" fmla="*/ 2176781 w 2441576"/>
                <a:gd name="connsiteY23" fmla="*/ 247 h 901154"/>
                <a:gd name="connsiteX24" fmla="*/ 2258696 w 2441576"/>
                <a:gd name="connsiteY24" fmla="*/ 247 h 901154"/>
                <a:gd name="connsiteX25" fmla="*/ 2321561 w 2441576"/>
                <a:gd name="connsiteY25" fmla="*/ 247 h 901154"/>
                <a:gd name="connsiteX26" fmla="*/ 2441576 w 2441576"/>
                <a:gd name="connsiteY26" fmla="*/ 247 h 901154"/>
                <a:gd name="connsiteX27" fmla="*/ 2441576 w 2441576"/>
                <a:gd name="connsiteY27" fmla="*/ 83691 h 901154"/>
                <a:gd name="connsiteX28" fmla="*/ 2441576 w 2441576"/>
                <a:gd name="connsiteY28" fmla="*/ 152299 h 901154"/>
                <a:gd name="connsiteX29" fmla="*/ 2441576 w 2441576"/>
                <a:gd name="connsiteY29" fmla="*/ 235743 h 901154"/>
                <a:gd name="connsiteX30" fmla="*/ 2441576 w 2441576"/>
                <a:gd name="connsiteY30" fmla="*/ 304351 h 901154"/>
                <a:gd name="connsiteX31" fmla="*/ 2441576 w 2441576"/>
                <a:gd name="connsiteY31" fmla="*/ 387795 h 901154"/>
                <a:gd name="connsiteX32" fmla="*/ 2441576 w 2441576"/>
                <a:gd name="connsiteY32" fmla="*/ 456403 h 901154"/>
                <a:gd name="connsiteX33" fmla="*/ 2441576 w 2441576"/>
                <a:gd name="connsiteY33" fmla="*/ 539847 h 901154"/>
                <a:gd name="connsiteX34" fmla="*/ 2441576 w 2441576"/>
                <a:gd name="connsiteY34" fmla="*/ 608455 h 901154"/>
                <a:gd name="connsiteX35" fmla="*/ 2441576 w 2441576"/>
                <a:gd name="connsiteY35" fmla="*/ 691899 h 901154"/>
                <a:gd name="connsiteX36" fmla="*/ 2441576 w 2441576"/>
                <a:gd name="connsiteY36" fmla="*/ 760507 h 901154"/>
                <a:gd name="connsiteX37" fmla="*/ 2441576 w 2441576"/>
                <a:gd name="connsiteY37" fmla="*/ 832545 h 901154"/>
                <a:gd name="connsiteX38" fmla="*/ 2441576 w 2441576"/>
                <a:gd name="connsiteY38" fmla="*/ 901153 h 901154"/>
                <a:gd name="connsiteX39" fmla="*/ 2321561 w 2441576"/>
                <a:gd name="connsiteY39" fmla="*/ 901153 h 901154"/>
                <a:gd name="connsiteX40" fmla="*/ 2239646 w 2441576"/>
                <a:gd name="connsiteY40" fmla="*/ 901153 h 901154"/>
                <a:gd name="connsiteX41" fmla="*/ 2176781 w 2441576"/>
                <a:gd name="connsiteY41" fmla="*/ 901153 h 901154"/>
                <a:gd name="connsiteX42" fmla="*/ 2109259 w 2441576"/>
                <a:gd name="connsiteY42" fmla="*/ 901153 h 901154"/>
                <a:gd name="connsiteX43" fmla="*/ 2025730 w 2441576"/>
                <a:gd name="connsiteY43" fmla="*/ 901153 h 901154"/>
                <a:gd name="connsiteX44" fmla="*/ 1941949 w 2441576"/>
                <a:gd name="connsiteY44" fmla="*/ 901153 h 901154"/>
                <a:gd name="connsiteX45" fmla="*/ 1824412 w 2441576"/>
                <a:gd name="connsiteY45" fmla="*/ 901153 h 901154"/>
                <a:gd name="connsiteX46" fmla="*/ 1720844 w 2441576"/>
                <a:gd name="connsiteY46" fmla="*/ 901153 h 901154"/>
                <a:gd name="connsiteX47" fmla="*/ 1609632 w 2441576"/>
                <a:gd name="connsiteY47" fmla="*/ 901153 h 901154"/>
                <a:gd name="connsiteX48" fmla="*/ 1539566 w 2441576"/>
                <a:gd name="connsiteY48" fmla="*/ 901153 h 901154"/>
                <a:gd name="connsiteX49" fmla="*/ 1427685 w 2441576"/>
                <a:gd name="connsiteY49" fmla="*/ 901153 h 901154"/>
                <a:gd name="connsiteX50" fmla="*/ 1324785 w 2441576"/>
                <a:gd name="connsiteY50" fmla="*/ 901153 h 901154"/>
                <a:gd name="connsiteX51" fmla="*/ 1254721 w 2441576"/>
                <a:gd name="connsiteY51" fmla="*/ 901153 h 901154"/>
                <a:gd name="connsiteX52" fmla="*/ 1146253 w 2441576"/>
                <a:gd name="connsiteY52" fmla="*/ 901153 h 901154"/>
                <a:gd name="connsiteX53" fmla="*/ 1039939 w 2441576"/>
                <a:gd name="connsiteY53" fmla="*/ 901153 h 901154"/>
                <a:gd name="connsiteX54" fmla="*/ 969874 w 2441576"/>
                <a:gd name="connsiteY54" fmla="*/ 901153 h 901154"/>
                <a:gd name="connsiteX55" fmla="*/ 864820 w 2441576"/>
                <a:gd name="connsiteY55" fmla="*/ 901154 h 901154"/>
                <a:gd name="connsiteX56" fmla="*/ 755093 w 2441576"/>
                <a:gd name="connsiteY56" fmla="*/ 901153 h 901154"/>
                <a:gd name="connsiteX57" fmla="*/ 685028 w 2441576"/>
                <a:gd name="connsiteY57" fmla="*/ 901153 h 901154"/>
                <a:gd name="connsiteX58" fmla="*/ 581332 w 2441576"/>
                <a:gd name="connsiteY58" fmla="*/ 901153 h 901154"/>
                <a:gd name="connsiteX59" fmla="*/ 471351 w 2441576"/>
                <a:gd name="connsiteY59" fmla="*/ 901153 h 901154"/>
                <a:gd name="connsiteX60" fmla="*/ 470246 w 2441576"/>
                <a:gd name="connsiteY60" fmla="*/ 901153 h 901154"/>
                <a:gd name="connsiteX61" fmla="*/ 377080 w 2441576"/>
                <a:gd name="connsiteY61" fmla="*/ 901153 h 901154"/>
                <a:gd name="connsiteX62" fmla="*/ 282811 w 2441576"/>
                <a:gd name="connsiteY62" fmla="*/ 901153 h 901154"/>
                <a:gd name="connsiteX63" fmla="*/ 188541 w 2441576"/>
                <a:gd name="connsiteY63" fmla="*/ 901153 h 901154"/>
                <a:gd name="connsiteX64" fmla="*/ 185400 w 2441576"/>
                <a:gd name="connsiteY64" fmla="*/ 901153 h 901154"/>
                <a:gd name="connsiteX65" fmla="*/ 94270 w 2441576"/>
                <a:gd name="connsiteY65" fmla="*/ 901153 h 901154"/>
                <a:gd name="connsiteX66" fmla="*/ 0 w 2441576"/>
                <a:gd name="connsiteY66" fmla="*/ 901153 h 901154"/>
                <a:gd name="connsiteX67" fmla="*/ 0 w 2441576"/>
                <a:gd name="connsiteY67" fmla="*/ 832545 h 901154"/>
                <a:gd name="connsiteX68" fmla="*/ 0 w 2441576"/>
                <a:gd name="connsiteY68" fmla="*/ 760507 h 901154"/>
                <a:gd name="connsiteX69" fmla="*/ 0 w 2441576"/>
                <a:gd name="connsiteY69" fmla="*/ 691899 h 901154"/>
                <a:gd name="connsiteX70" fmla="*/ 0 w 2441576"/>
                <a:gd name="connsiteY70" fmla="*/ 608455 h 901154"/>
                <a:gd name="connsiteX71" fmla="*/ 0 w 2441576"/>
                <a:gd name="connsiteY71" fmla="*/ 539847 h 901154"/>
                <a:gd name="connsiteX72" fmla="*/ 0 w 2441576"/>
                <a:gd name="connsiteY72" fmla="*/ 456403 h 901154"/>
                <a:gd name="connsiteX73" fmla="*/ 0 w 2441576"/>
                <a:gd name="connsiteY73" fmla="*/ 387795 h 901154"/>
                <a:gd name="connsiteX74" fmla="*/ 0 w 2441576"/>
                <a:gd name="connsiteY74" fmla="*/ 304351 h 901154"/>
                <a:gd name="connsiteX75" fmla="*/ 0 w 2441576"/>
                <a:gd name="connsiteY75" fmla="*/ 235743 h 901154"/>
                <a:gd name="connsiteX76" fmla="*/ 0 w 2441576"/>
                <a:gd name="connsiteY76" fmla="*/ 152299 h 901154"/>
                <a:gd name="connsiteX77" fmla="*/ 0 w 2441576"/>
                <a:gd name="connsiteY77" fmla="*/ 83691 h 901154"/>
                <a:gd name="connsiteX78" fmla="*/ 0 w 2441576"/>
                <a:gd name="connsiteY78" fmla="*/ 247 h 901154"/>
                <a:gd name="connsiteX0" fmla="*/ 0 w 2441576"/>
                <a:gd name="connsiteY0" fmla="*/ 247 h 901154"/>
                <a:gd name="connsiteX1" fmla="*/ 94270 w 2441576"/>
                <a:gd name="connsiteY1" fmla="*/ 247 h 901154"/>
                <a:gd name="connsiteX2" fmla="*/ 185400 w 2441576"/>
                <a:gd name="connsiteY2" fmla="*/ 247 h 901154"/>
                <a:gd name="connsiteX3" fmla="*/ 282811 w 2441576"/>
                <a:gd name="connsiteY3" fmla="*/ 247 h 901154"/>
                <a:gd name="connsiteX4" fmla="*/ 377080 w 2441576"/>
                <a:gd name="connsiteY4" fmla="*/ 247 h 901154"/>
                <a:gd name="connsiteX5" fmla="*/ 470246 w 2441576"/>
                <a:gd name="connsiteY5" fmla="*/ 247 h 901154"/>
                <a:gd name="connsiteX6" fmla="*/ 581332 w 2441576"/>
                <a:gd name="connsiteY6" fmla="*/ 247 h 901154"/>
                <a:gd name="connsiteX7" fmla="*/ 685028 w 2441576"/>
                <a:gd name="connsiteY7" fmla="*/ 247 h 901154"/>
                <a:gd name="connsiteX8" fmla="*/ 755093 w 2441576"/>
                <a:gd name="connsiteY8" fmla="*/ 247 h 901154"/>
                <a:gd name="connsiteX9" fmla="*/ 860129 w 2441576"/>
                <a:gd name="connsiteY9" fmla="*/ 1 h 901154"/>
                <a:gd name="connsiteX10" fmla="*/ 969874 w 2441576"/>
                <a:gd name="connsiteY10" fmla="*/ 247 h 901154"/>
                <a:gd name="connsiteX11" fmla="*/ 1039939 w 2441576"/>
                <a:gd name="connsiteY11" fmla="*/ 247 h 901154"/>
                <a:gd name="connsiteX12" fmla="*/ 1146839 w 2441576"/>
                <a:gd name="connsiteY12" fmla="*/ 1 h 901154"/>
                <a:gd name="connsiteX13" fmla="*/ 1254721 w 2441576"/>
                <a:gd name="connsiteY13" fmla="*/ 247 h 901154"/>
                <a:gd name="connsiteX14" fmla="*/ 1324785 w 2441576"/>
                <a:gd name="connsiteY14" fmla="*/ 247 h 901154"/>
                <a:gd name="connsiteX15" fmla="*/ 1430031 w 2441576"/>
                <a:gd name="connsiteY15" fmla="*/ 0 h 901154"/>
                <a:gd name="connsiteX16" fmla="*/ 1539566 w 2441576"/>
                <a:gd name="connsiteY16" fmla="*/ 247 h 901154"/>
                <a:gd name="connsiteX17" fmla="*/ 1609632 w 2441576"/>
                <a:gd name="connsiteY17" fmla="*/ 247 h 901154"/>
                <a:gd name="connsiteX18" fmla="*/ 1707946 w 2441576"/>
                <a:gd name="connsiteY18" fmla="*/ 1 h 901154"/>
                <a:gd name="connsiteX19" fmla="*/ 1824412 w 2441576"/>
                <a:gd name="connsiteY19" fmla="*/ 247 h 901154"/>
                <a:gd name="connsiteX20" fmla="*/ 1941949 w 2441576"/>
                <a:gd name="connsiteY20" fmla="*/ 247 h 901154"/>
                <a:gd name="connsiteX21" fmla="*/ 2094866 w 2441576"/>
                <a:gd name="connsiteY21" fmla="*/ 247 h 901154"/>
                <a:gd name="connsiteX22" fmla="*/ 2176781 w 2441576"/>
                <a:gd name="connsiteY22" fmla="*/ 247 h 901154"/>
                <a:gd name="connsiteX23" fmla="*/ 2258696 w 2441576"/>
                <a:gd name="connsiteY23" fmla="*/ 247 h 901154"/>
                <a:gd name="connsiteX24" fmla="*/ 2321561 w 2441576"/>
                <a:gd name="connsiteY24" fmla="*/ 247 h 901154"/>
                <a:gd name="connsiteX25" fmla="*/ 2441576 w 2441576"/>
                <a:gd name="connsiteY25" fmla="*/ 247 h 901154"/>
                <a:gd name="connsiteX26" fmla="*/ 2441576 w 2441576"/>
                <a:gd name="connsiteY26" fmla="*/ 83691 h 901154"/>
                <a:gd name="connsiteX27" fmla="*/ 2441576 w 2441576"/>
                <a:gd name="connsiteY27" fmla="*/ 152299 h 901154"/>
                <a:gd name="connsiteX28" fmla="*/ 2441576 w 2441576"/>
                <a:gd name="connsiteY28" fmla="*/ 235743 h 901154"/>
                <a:gd name="connsiteX29" fmla="*/ 2441576 w 2441576"/>
                <a:gd name="connsiteY29" fmla="*/ 304351 h 901154"/>
                <a:gd name="connsiteX30" fmla="*/ 2441576 w 2441576"/>
                <a:gd name="connsiteY30" fmla="*/ 387795 h 901154"/>
                <a:gd name="connsiteX31" fmla="*/ 2441576 w 2441576"/>
                <a:gd name="connsiteY31" fmla="*/ 456403 h 901154"/>
                <a:gd name="connsiteX32" fmla="*/ 2441576 w 2441576"/>
                <a:gd name="connsiteY32" fmla="*/ 539847 h 901154"/>
                <a:gd name="connsiteX33" fmla="*/ 2441576 w 2441576"/>
                <a:gd name="connsiteY33" fmla="*/ 608455 h 901154"/>
                <a:gd name="connsiteX34" fmla="*/ 2441576 w 2441576"/>
                <a:gd name="connsiteY34" fmla="*/ 691899 h 901154"/>
                <a:gd name="connsiteX35" fmla="*/ 2441576 w 2441576"/>
                <a:gd name="connsiteY35" fmla="*/ 760507 h 901154"/>
                <a:gd name="connsiteX36" fmla="*/ 2441576 w 2441576"/>
                <a:gd name="connsiteY36" fmla="*/ 832545 h 901154"/>
                <a:gd name="connsiteX37" fmla="*/ 2441576 w 2441576"/>
                <a:gd name="connsiteY37" fmla="*/ 901153 h 901154"/>
                <a:gd name="connsiteX38" fmla="*/ 2321561 w 2441576"/>
                <a:gd name="connsiteY38" fmla="*/ 901153 h 901154"/>
                <a:gd name="connsiteX39" fmla="*/ 2239646 w 2441576"/>
                <a:gd name="connsiteY39" fmla="*/ 901153 h 901154"/>
                <a:gd name="connsiteX40" fmla="*/ 2176781 w 2441576"/>
                <a:gd name="connsiteY40" fmla="*/ 901153 h 901154"/>
                <a:gd name="connsiteX41" fmla="*/ 2109259 w 2441576"/>
                <a:gd name="connsiteY41" fmla="*/ 901153 h 901154"/>
                <a:gd name="connsiteX42" fmla="*/ 2025730 w 2441576"/>
                <a:gd name="connsiteY42" fmla="*/ 901153 h 901154"/>
                <a:gd name="connsiteX43" fmla="*/ 1941949 w 2441576"/>
                <a:gd name="connsiteY43" fmla="*/ 901153 h 901154"/>
                <a:gd name="connsiteX44" fmla="*/ 1824412 w 2441576"/>
                <a:gd name="connsiteY44" fmla="*/ 901153 h 901154"/>
                <a:gd name="connsiteX45" fmla="*/ 1720844 w 2441576"/>
                <a:gd name="connsiteY45" fmla="*/ 901153 h 901154"/>
                <a:gd name="connsiteX46" fmla="*/ 1609632 w 2441576"/>
                <a:gd name="connsiteY46" fmla="*/ 901153 h 901154"/>
                <a:gd name="connsiteX47" fmla="*/ 1539566 w 2441576"/>
                <a:gd name="connsiteY47" fmla="*/ 901153 h 901154"/>
                <a:gd name="connsiteX48" fmla="*/ 1427685 w 2441576"/>
                <a:gd name="connsiteY48" fmla="*/ 901153 h 901154"/>
                <a:gd name="connsiteX49" fmla="*/ 1324785 w 2441576"/>
                <a:gd name="connsiteY49" fmla="*/ 901153 h 901154"/>
                <a:gd name="connsiteX50" fmla="*/ 1254721 w 2441576"/>
                <a:gd name="connsiteY50" fmla="*/ 901153 h 901154"/>
                <a:gd name="connsiteX51" fmla="*/ 1146253 w 2441576"/>
                <a:gd name="connsiteY51" fmla="*/ 901153 h 901154"/>
                <a:gd name="connsiteX52" fmla="*/ 1039939 w 2441576"/>
                <a:gd name="connsiteY52" fmla="*/ 901153 h 901154"/>
                <a:gd name="connsiteX53" fmla="*/ 969874 w 2441576"/>
                <a:gd name="connsiteY53" fmla="*/ 901153 h 901154"/>
                <a:gd name="connsiteX54" fmla="*/ 864820 w 2441576"/>
                <a:gd name="connsiteY54" fmla="*/ 901154 h 901154"/>
                <a:gd name="connsiteX55" fmla="*/ 755093 w 2441576"/>
                <a:gd name="connsiteY55" fmla="*/ 901153 h 901154"/>
                <a:gd name="connsiteX56" fmla="*/ 685028 w 2441576"/>
                <a:gd name="connsiteY56" fmla="*/ 901153 h 901154"/>
                <a:gd name="connsiteX57" fmla="*/ 581332 w 2441576"/>
                <a:gd name="connsiteY57" fmla="*/ 901153 h 901154"/>
                <a:gd name="connsiteX58" fmla="*/ 471351 w 2441576"/>
                <a:gd name="connsiteY58" fmla="*/ 901153 h 901154"/>
                <a:gd name="connsiteX59" fmla="*/ 470246 w 2441576"/>
                <a:gd name="connsiteY59" fmla="*/ 901153 h 901154"/>
                <a:gd name="connsiteX60" fmla="*/ 377080 w 2441576"/>
                <a:gd name="connsiteY60" fmla="*/ 901153 h 901154"/>
                <a:gd name="connsiteX61" fmla="*/ 282811 w 2441576"/>
                <a:gd name="connsiteY61" fmla="*/ 901153 h 901154"/>
                <a:gd name="connsiteX62" fmla="*/ 188541 w 2441576"/>
                <a:gd name="connsiteY62" fmla="*/ 901153 h 901154"/>
                <a:gd name="connsiteX63" fmla="*/ 185400 w 2441576"/>
                <a:gd name="connsiteY63" fmla="*/ 901153 h 901154"/>
                <a:gd name="connsiteX64" fmla="*/ 94270 w 2441576"/>
                <a:gd name="connsiteY64" fmla="*/ 901153 h 901154"/>
                <a:gd name="connsiteX65" fmla="*/ 0 w 2441576"/>
                <a:gd name="connsiteY65" fmla="*/ 901153 h 901154"/>
                <a:gd name="connsiteX66" fmla="*/ 0 w 2441576"/>
                <a:gd name="connsiteY66" fmla="*/ 832545 h 901154"/>
                <a:gd name="connsiteX67" fmla="*/ 0 w 2441576"/>
                <a:gd name="connsiteY67" fmla="*/ 760507 h 901154"/>
                <a:gd name="connsiteX68" fmla="*/ 0 w 2441576"/>
                <a:gd name="connsiteY68" fmla="*/ 691899 h 901154"/>
                <a:gd name="connsiteX69" fmla="*/ 0 w 2441576"/>
                <a:gd name="connsiteY69" fmla="*/ 608455 h 901154"/>
                <a:gd name="connsiteX70" fmla="*/ 0 w 2441576"/>
                <a:gd name="connsiteY70" fmla="*/ 539847 h 901154"/>
                <a:gd name="connsiteX71" fmla="*/ 0 w 2441576"/>
                <a:gd name="connsiteY71" fmla="*/ 456403 h 901154"/>
                <a:gd name="connsiteX72" fmla="*/ 0 w 2441576"/>
                <a:gd name="connsiteY72" fmla="*/ 387795 h 901154"/>
                <a:gd name="connsiteX73" fmla="*/ 0 w 2441576"/>
                <a:gd name="connsiteY73" fmla="*/ 304351 h 901154"/>
                <a:gd name="connsiteX74" fmla="*/ 0 w 2441576"/>
                <a:gd name="connsiteY74" fmla="*/ 235743 h 901154"/>
                <a:gd name="connsiteX75" fmla="*/ 0 w 2441576"/>
                <a:gd name="connsiteY75" fmla="*/ 152299 h 901154"/>
                <a:gd name="connsiteX76" fmla="*/ 0 w 2441576"/>
                <a:gd name="connsiteY76" fmla="*/ 83691 h 901154"/>
                <a:gd name="connsiteX77" fmla="*/ 0 w 2441576"/>
                <a:gd name="connsiteY77" fmla="*/ 247 h 901154"/>
                <a:gd name="connsiteX0" fmla="*/ 0 w 2441576"/>
                <a:gd name="connsiteY0" fmla="*/ 247 h 901154"/>
                <a:gd name="connsiteX1" fmla="*/ 94270 w 2441576"/>
                <a:gd name="connsiteY1" fmla="*/ 247 h 901154"/>
                <a:gd name="connsiteX2" fmla="*/ 185400 w 2441576"/>
                <a:gd name="connsiteY2" fmla="*/ 247 h 901154"/>
                <a:gd name="connsiteX3" fmla="*/ 282811 w 2441576"/>
                <a:gd name="connsiteY3" fmla="*/ 247 h 901154"/>
                <a:gd name="connsiteX4" fmla="*/ 377080 w 2441576"/>
                <a:gd name="connsiteY4" fmla="*/ 247 h 901154"/>
                <a:gd name="connsiteX5" fmla="*/ 470246 w 2441576"/>
                <a:gd name="connsiteY5" fmla="*/ 247 h 901154"/>
                <a:gd name="connsiteX6" fmla="*/ 581332 w 2441576"/>
                <a:gd name="connsiteY6" fmla="*/ 247 h 901154"/>
                <a:gd name="connsiteX7" fmla="*/ 685028 w 2441576"/>
                <a:gd name="connsiteY7" fmla="*/ 247 h 901154"/>
                <a:gd name="connsiteX8" fmla="*/ 755093 w 2441576"/>
                <a:gd name="connsiteY8" fmla="*/ 247 h 901154"/>
                <a:gd name="connsiteX9" fmla="*/ 860129 w 2441576"/>
                <a:gd name="connsiteY9" fmla="*/ 1 h 901154"/>
                <a:gd name="connsiteX10" fmla="*/ 969874 w 2441576"/>
                <a:gd name="connsiteY10" fmla="*/ 247 h 901154"/>
                <a:gd name="connsiteX11" fmla="*/ 1039939 w 2441576"/>
                <a:gd name="connsiteY11" fmla="*/ 247 h 901154"/>
                <a:gd name="connsiteX12" fmla="*/ 1146839 w 2441576"/>
                <a:gd name="connsiteY12" fmla="*/ 1 h 901154"/>
                <a:gd name="connsiteX13" fmla="*/ 1254721 w 2441576"/>
                <a:gd name="connsiteY13" fmla="*/ 247 h 901154"/>
                <a:gd name="connsiteX14" fmla="*/ 1324785 w 2441576"/>
                <a:gd name="connsiteY14" fmla="*/ 247 h 901154"/>
                <a:gd name="connsiteX15" fmla="*/ 1430031 w 2441576"/>
                <a:gd name="connsiteY15" fmla="*/ 0 h 901154"/>
                <a:gd name="connsiteX16" fmla="*/ 1539566 w 2441576"/>
                <a:gd name="connsiteY16" fmla="*/ 247 h 901154"/>
                <a:gd name="connsiteX17" fmla="*/ 1609632 w 2441576"/>
                <a:gd name="connsiteY17" fmla="*/ 247 h 901154"/>
                <a:gd name="connsiteX18" fmla="*/ 1707946 w 2441576"/>
                <a:gd name="connsiteY18" fmla="*/ 1 h 901154"/>
                <a:gd name="connsiteX19" fmla="*/ 1824412 w 2441576"/>
                <a:gd name="connsiteY19" fmla="*/ 247 h 901154"/>
                <a:gd name="connsiteX20" fmla="*/ 1941949 w 2441576"/>
                <a:gd name="connsiteY20" fmla="*/ 247 h 901154"/>
                <a:gd name="connsiteX21" fmla="*/ 2094866 w 2441576"/>
                <a:gd name="connsiteY21" fmla="*/ 247 h 901154"/>
                <a:gd name="connsiteX22" fmla="*/ 2176781 w 2441576"/>
                <a:gd name="connsiteY22" fmla="*/ 247 h 901154"/>
                <a:gd name="connsiteX23" fmla="*/ 2258696 w 2441576"/>
                <a:gd name="connsiteY23" fmla="*/ 247 h 901154"/>
                <a:gd name="connsiteX24" fmla="*/ 2321561 w 2441576"/>
                <a:gd name="connsiteY24" fmla="*/ 247 h 901154"/>
                <a:gd name="connsiteX25" fmla="*/ 2441576 w 2441576"/>
                <a:gd name="connsiteY25" fmla="*/ 247 h 901154"/>
                <a:gd name="connsiteX26" fmla="*/ 2441576 w 2441576"/>
                <a:gd name="connsiteY26" fmla="*/ 83691 h 901154"/>
                <a:gd name="connsiteX27" fmla="*/ 2441576 w 2441576"/>
                <a:gd name="connsiteY27" fmla="*/ 152299 h 901154"/>
                <a:gd name="connsiteX28" fmla="*/ 2441576 w 2441576"/>
                <a:gd name="connsiteY28" fmla="*/ 235743 h 901154"/>
                <a:gd name="connsiteX29" fmla="*/ 2441576 w 2441576"/>
                <a:gd name="connsiteY29" fmla="*/ 304351 h 901154"/>
                <a:gd name="connsiteX30" fmla="*/ 2441576 w 2441576"/>
                <a:gd name="connsiteY30" fmla="*/ 387795 h 901154"/>
                <a:gd name="connsiteX31" fmla="*/ 2441576 w 2441576"/>
                <a:gd name="connsiteY31" fmla="*/ 456403 h 901154"/>
                <a:gd name="connsiteX32" fmla="*/ 2441576 w 2441576"/>
                <a:gd name="connsiteY32" fmla="*/ 539847 h 901154"/>
                <a:gd name="connsiteX33" fmla="*/ 2441576 w 2441576"/>
                <a:gd name="connsiteY33" fmla="*/ 608455 h 901154"/>
                <a:gd name="connsiteX34" fmla="*/ 2441576 w 2441576"/>
                <a:gd name="connsiteY34" fmla="*/ 691899 h 901154"/>
                <a:gd name="connsiteX35" fmla="*/ 2441576 w 2441576"/>
                <a:gd name="connsiteY35" fmla="*/ 760507 h 901154"/>
                <a:gd name="connsiteX36" fmla="*/ 2441576 w 2441576"/>
                <a:gd name="connsiteY36" fmla="*/ 832545 h 901154"/>
                <a:gd name="connsiteX37" fmla="*/ 2441576 w 2441576"/>
                <a:gd name="connsiteY37" fmla="*/ 901153 h 901154"/>
                <a:gd name="connsiteX38" fmla="*/ 2321561 w 2441576"/>
                <a:gd name="connsiteY38" fmla="*/ 901153 h 901154"/>
                <a:gd name="connsiteX39" fmla="*/ 2239646 w 2441576"/>
                <a:gd name="connsiteY39" fmla="*/ 901153 h 901154"/>
                <a:gd name="connsiteX40" fmla="*/ 2176781 w 2441576"/>
                <a:gd name="connsiteY40" fmla="*/ 901153 h 901154"/>
                <a:gd name="connsiteX41" fmla="*/ 2109259 w 2441576"/>
                <a:gd name="connsiteY41" fmla="*/ 901153 h 901154"/>
                <a:gd name="connsiteX42" fmla="*/ 2025730 w 2441576"/>
                <a:gd name="connsiteY42" fmla="*/ 901153 h 901154"/>
                <a:gd name="connsiteX43" fmla="*/ 1941949 w 2441576"/>
                <a:gd name="connsiteY43" fmla="*/ 901153 h 901154"/>
                <a:gd name="connsiteX44" fmla="*/ 1824412 w 2441576"/>
                <a:gd name="connsiteY44" fmla="*/ 901153 h 901154"/>
                <a:gd name="connsiteX45" fmla="*/ 1720844 w 2441576"/>
                <a:gd name="connsiteY45" fmla="*/ 901153 h 901154"/>
                <a:gd name="connsiteX46" fmla="*/ 1609632 w 2441576"/>
                <a:gd name="connsiteY46" fmla="*/ 901153 h 901154"/>
                <a:gd name="connsiteX47" fmla="*/ 1539566 w 2441576"/>
                <a:gd name="connsiteY47" fmla="*/ 901153 h 901154"/>
                <a:gd name="connsiteX48" fmla="*/ 1427685 w 2441576"/>
                <a:gd name="connsiteY48" fmla="*/ 901153 h 901154"/>
                <a:gd name="connsiteX49" fmla="*/ 1324785 w 2441576"/>
                <a:gd name="connsiteY49" fmla="*/ 901153 h 901154"/>
                <a:gd name="connsiteX50" fmla="*/ 1254721 w 2441576"/>
                <a:gd name="connsiteY50" fmla="*/ 901153 h 901154"/>
                <a:gd name="connsiteX51" fmla="*/ 1146253 w 2441576"/>
                <a:gd name="connsiteY51" fmla="*/ 901153 h 901154"/>
                <a:gd name="connsiteX52" fmla="*/ 1039939 w 2441576"/>
                <a:gd name="connsiteY52" fmla="*/ 901153 h 901154"/>
                <a:gd name="connsiteX53" fmla="*/ 969874 w 2441576"/>
                <a:gd name="connsiteY53" fmla="*/ 901153 h 901154"/>
                <a:gd name="connsiteX54" fmla="*/ 864820 w 2441576"/>
                <a:gd name="connsiteY54" fmla="*/ 901154 h 901154"/>
                <a:gd name="connsiteX55" fmla="*/ 755093 w 2441576"/>
                <a:gd name="connsiteY55" fmla="*/ 901153 h 901154"/>
                <a:gd name="connsiteX56" fmla="*/ 685028 w 2441576"/>
                <a:gd name="connsiteY56" fmla="*/ 901153 h 901154"/>
                <a:gd name="connsiteX57" fmla="*/ 581332 w 2441576"/>
                <a:gd name="connsiteY57" fmla="*/ 901153 h 901154"/>
                <a:gd name="connsiteX58" fmla="*/ 471351 w 2441576"/>
                <a:gd name="connsiteY58" fmla="*/ 901153 h 901154"/>
                <a:gd name="connsiteX59" fmla="*/ 470246 w 2441576"/>
                <a:gd name="connsiteY59" fmla="*/ 901153 h 901154"/>
                <a:gd name="connsiteX60" fmla="*/ 377080 w 2441576"/>
                <a:gd name="connsiteY60" fmla="*/ 901153 h 901154"/>
                <a:gd name="connsiteX61" fmla="*/ 282811 w 2441576"/>
                <a:gd name="connsiteY61" fmla="*/ 901153 h 901154"/>
                <a:gd name="connsiteX62" fmla="*/ 185400 w 2441576"/>
                <a:gd name="connsiteY62" fmla="*/ 901153 h 901154"/>
                <a:gd name="connsiteX63" fmla="*/ 94270 w 2441576"/>
                <a:gd name="connsiteY63" fmla="*/ 901153 h 901154"/>
                <a:gd name="connsiteX64" fmla="*/ 0 w 2441576"/>
                <a:gd name="connsiteY64" fmla="*/ 901153 h 901154"/>
                <a:gd name="connsiteX65" fmla="*/ 0 w 2441576"/>
                <a:gd name="connsiteY65" fmla="*/ 832545 h 901154"/>
                <a:gd name="connsiteX66" fmla="*/ 0 w 2441576"/>
                <a:gd name="connsiteY66" fmla="*/ 760507 h 901154"/>
                <a:gd name="connsiteX67" fmla="*/ 0 w 2441576"/>
                <a:gd name="connsiteY67" fmla="*/ 691899 h 901154"/>
                <a:gd name="connsiteX68" fmla="*/ 0 w 2441576"/>
                <a:gd name="connsiteY68" fmla="*/ 608455 h 901154"/>
                <a:gd name="connsiteX69" fmla="*/ 0 w 2441576"/>
                <a:gd name="connsiteY69" fmla="*/ 539847 h 901154"/>
                <a:gd name="connsiteX70" fmla="*/ 0 w 2441576"/>
                <a:gd name="connsiteY70" fmla="*/ 456403 h 901154"/>
                <a:gd name="connsiteX71" fmla="*/ 0 w 2441576"/>
                <a:gd name="connsiteY71" fmla="*/ 387795 h 901154"/>
                <a:gd name="connsiteX72" fmla="*/ 0 w 2441576"/>
                <a:gd name="connsiteY72" fmla="*/ 304351 h 901154"/>
                <a:gd name="connsiteX73" fmla="*/ 0 w 2441576"/>
                <a:gd name="connsiteY73" fmla="*/ 235743 h 901154"/>
                <a:gd name="connsiteX74" fmla="*/ 0 w 2441576"/>
                <a:gd name="connsiteY74" fmla="*/ 152299 h 901154"/>
                <a:gd name="connsiteX75" fmla="*/ 0 w 2441576"/>
                <a:gd name="connsiteY75" fmla="*/ 83691 h 901154"/>
                <a:gd name="connsiteX76" fmla="*/ 0 w 2441576"/>
                <a:gd name="connsiteY76" fmla="*/ 247 h 901154"/>
                <a:gd name="connsiteX0" fmla="*/ 0 w 2441576"/>
                <a:gd name="connsiteY0" fmla="*/ 247 h 1193517"/>
                <a:gd name="connsiteX1" fmla="*/ 94270 w 2441576"/>
                <a:gd name="connsiteY1" fmla="*/ 247 h 1193517"/>
                <a:gd name="connsiteX2" fmla="*/ 185400 w 2441576"/>
                <a:gd name="connsiteY2" fmla="*/ 247 h 1193517"/>
                <a:gd name="connsiteX3" fmla="*/ 282811 w 2441576"/>
                <a:gd name="connsiteY3" fmla="*/ 247 h 1193517"/>
                <a:gd name="connsiteX4" fmla="*/ 377080 w 2441576"/>
                <a:gd name="connsiteY4" fmla="*/ 247 h 1193517"/>
                <a:gd name="connsiteX5" fmla="*/ 470246 w 2441576"/>
                <a:gd name="connsiteY5" fmla="*/ 247 h 1193517"/>
                <a:gd name="connsiteX6" fmla="*/ 581332 w 2441576"/>
                <a:gd name="connsiteY6" fmla="*/ 247 h 1193517"/>
                <a:gd name="connsiteX7" fmla="*/ 685028 w 2441576"/>
                <a:gd name="connsiteY7" fmla="*/ 247 h 1193517"/>
                <a:gd name="connsiteX8" fmla="*/ 755093 w 2441576"/>
                <a:gd name="connsiteY8" fmla="*/ 247 h 1193517"/>
                <a:gd name="connsiteX9" fmla="*/ 860129 w 2441576"/>
                <a:gd name="connsiteY9" fmla="*/ 1 h 1193517"/>
                <a:gd name="connsiteX10" fmla="*/ 969874 w 2441576"/>
                <a:gd name="connsiteY10" fmla="*/ 247 h 1193517"/>
                <a:gd name="connsiteX11" fmla="*/ 1039939 w 2441576"/>
                <a:gd name="connsiteY11" fmla="*/ 247 h 1193517"/>
                <a:gd name="connsiteX12" fmla="*/ 1146839 w 2441576"/>
                <a:gd name="connsiteY12" fmla="*/ 1 h 1193517"/>
                <a:gd name="connsiteX13" fmla="*/ 1254721 w 2441576"/>
                <a:gd name="connsiteY13" fmla="*/ 247 h 1193517"/>
                <a:gd name="connsiteX14" fmla="*/ 1324785 w 2441576"/>
                <a:gd name="connsiteY14" fmla="*/ 247 h 1193517"/>
                <a:gd name="connsiteX15" fmla="*/ 1430031 w 2441576"/>
                <a:gd name="connsiteY15" fmla="*/ 0 h 1193517"/>
                <a:gd name="connsiteX16" fmla="*/ 1539566 w 2441576"/>
                <a:gd name="connsiteY16" fmla="*/ 247 h 1193517"/>
                <a:gd name="connsiteX17" fmla="*/ 1609632 w 2441576"/>
                <a:gd name="connsiteY17" fmla="*/ 247 h 1193517"/>
                <a:gd name="connsiteX18" fmla="*/ 1707946 w 2441576"/>
                <a:gd name="connsiteY18" fmla="*/ 1 h 1193517"/>
                <a:gd name="connsiteX19" fmla="*/ 1824412 w 2441576"/>
                <a:gd name="connsiteY19" fmla="*/ 247 h 1193517"/>
                <a:gd name="connsiteX20" fmla="*/ 1941949 w 2441576"/>
                <a:gd name="connsiteY20" fmla="*/ 247 h 1193517"/>
                <a:gd name="connsiteX21" fmla="*/ 2094866 w 2441576"/>
                <a:gd name="connsiteY21" fmla="*/ 247 h 1193517"/>
                <a:gd name="connsiteX22" fmla="*/ 2176781 w 2441576"/>
                <a:gd name="connsiteY22" fmla="*/ 247 h 1193517"/>
                <a:gd name="connsiteX23" fmla="*/ 2258696 w 2441576"/>
                <a:gd name="connsiteY23" fmla="*/ 247 h 1193517"/>
                <a:gd name="connsiteX24" fmla="*/ 2321561 w 2441576"/>
                <a:gd name="connsiteY24" fmla="*/ 247 h 1193517"/>
                <a:gd name="connsiteX25" fmla="*/ 2441576 w 2441576"/>
                <a:gd name="connsiteY25" fmla="*/ 247 h 1193517"/>
                <a:gd name="connsiteX26" fmla="*/ 2441576 w 2441576"/>
                <a:gd name="connsiteY26" fmla="*/ 83691 h 1193517"/>
                <a:gd name="connsiteX27" fmla="*/ 2441576 w 2441576"/>
                <a:gd name="connsiteY27" fmla="*/ 152299 h 1193517"/>
                <a:gd name="connsiteX28" fmla="*/ 2441576 w 2441576"/>
                <a:gd name="connsiteY28" fmla="*/ 235743 h 1193517"/>
                <a:gd name="connsiteX29" fmla="*/ 2441576 w 2441576"/>
                <a:gd name="connsiteY29" fmla="*/ 304351 h 1193517"/>
                <a:gd name="connsiteX30" fmla="*/ 2441576 w 2441576"/>
                <a:gd name="connsiteY30" fmla="*/ 387795 h 1193517"/>
                <a:gd name="connsiteX31" fmla="*/ 2441576 w 2441576"/>
                <a:gd name="connsiteY31" fmla="*/ 456403 h 1193517"/>
                <a:gd name="connsiteX32" fmla="*/ 2441576 w 2441576"/>
                <a:gd name="connsiteY32" fmla="*/ 539847 h 1193517"/>
                <a:gd name="connsiteX33" fmla="*/ 2441576 w 2441576"/>
                <a:gd name="connsiteY33" fmla="*/ 608455 h 1193517"/>
                <a:gd name="connsiteX34" fmla="*/ 2441576 w 2441576"/>
                <a:gd name="connsiteY34" fmla="*/ 691899 h 1193517"/>
                <a:gd name="connsiteX35" fmla="*/ 2441576 w 2441576"/>
                <a:gd name="connsiteY35" fmla="*/ 760507 h 1193517"/>
                <a:gd name="connsiteX36" fmla="*/ 2441576 w 2441576"/>
                <a:gd name="connsiteY36" fmla="*/ 832545 h 1193517"/>
                <a:gd name="connsiteX37" fmla="*/ 2441576 w 2441576"/>
                <a:gd name="connsiteY37" fmla="*/ 901153 h 1193517"/>
                <a:gd name="connsiteX38" fmla="*/ 2321561 w 2441576"/>
                <a:gd name="connsiteY38" fmla="*/ 901153 h 1193517"/>
                <a:gd name="connsiteX39" fmla="*/ 2239646 w 2441576"/>
                <a:gd name="connsiteY39" fmla="*/ 901153 h 1193517"/>
                <a:gd name="connsiteX40" fmla="*/ 2176781 w 2441576"/>
                <a:gd name="connsiteY40" fmla="*/ 901153 h 1193517"/>
                <a:gd name="connsiteX41" fmla="*/ 2109259 w 2441576"/>
                <a:gd name="connsiteY41" fmla="*/ 901153 h 1193517"/>
                <a:gd name="connsiteX42" fmla="*/ 2025730 w 2441576"/>
                <a:gd name="connsiteY42" fmla="*/ 901153 h 1193517"/>
                <a:gd name="connsiteX43" fmla="*/ 1941949 w 2441576"/>
                <a:gd name="connsiteY43" fmla="*/ 901153 h 1193517"/>
                <a:gd name="connsiteX44" fmla="*/ 1824412 w 2441576"/>
                <a:gd name="connsiteY44" fmla="*/ 901153 h 1193517"/>
                <a:gd name="connsiteX45" fmla="*/ 1720844 w 2441576"/>
                <a:gd name="connsiteY45" fmla="*/ 901153 h 1193517"/>
                <a:gd name="connsiteX46" fmla="*/ 1829119 w 2441576"/>
                <a:gd name="connsiteY46" fmla="*/ 1193517 h 1193517"/>
                <a:gd name="connsiteX47" fmla="*/ 1539566 w 2441576"/>
                <a:gd name="connsiteY47" fmla="*/ 901153 h 1193517"/>
                <a:gd name="connsiteX48" fmla="*/ 1427685 w 2441576"/>
                <a:gd name="connsiteY48" fmla="*/ 901153 h 1193517"/>
                <a:gd name="connsiteX49" fmla="*/ 1324785 w 2441576"/>
                <a:gd name="connsiteY49" fmla="*/ 901153 h 1193517"/>
                <a:gd name="connsiteX50" fmla="*/ 1254721 w 2441576"/>
                <a:gd name="connsiteY50" fmla="*/ 901153 h 1193517"/>
                <a:gd name="connsiteX51" fmla="*/ 1146253 w 2441576"/>
                <a:gd name="connsiteY51" fmla="*/ 901153 h 1193517"/>
                <a:gd name="connsiteX52" fmla="*/ 1039939 w 2441576"/>
                <a:gd name="connsiteY52" fmla="*/ 901153 h 1193517"/>
                <a:gd name="connsiteX53" fmla="*/ 969874 w 2441576"/>
                <a:gd name="connsiteY53" fmla="*/ 901153 h 1193517"/>
                <a:gd name="connsiteX54" fmla="*/ 864820 w 2441576"/>
                <a:gd name="connsiteY54" fmla="*/ 901154 h 1193517"/>
                <a:gd name="connsiteX55" fmla="*/ 755093 w 2441576"/>
                <a:gd name="connsiteY55" fmla="*/ 901153 h 1193517"/>
                <a:gd name="connsiteX56" fmla="*/ 685028 w 2441576"/>
                <a:gd name="connsiteY56" fmla="*/ 901153 h 1193517"/>
                <a:gd name="connsiteX57" fmla="*/ 581332 w 2441576"/>
                <a:gd name="connsiteY57" fmla="*/ 901153 h 1193517"/>
                <a:gd name="connsiteX58" fmla="*/ 471351 w 2441576"/>
                <a:gd name="connsiteY58" fmla="*/ 901153 h 1193517"/>
                <a:gd name="connsiteX59" fmla="*/ 470246 w 2441576"/>
                <a:gd name="connsiteY59" fmla="*/ 901153 h 1193517"/>
                <a:gd name="connsiteX60" fmla="*/ 377080 w 2441576"/>
                <a:gd name="connsiteY60" fmla="*/ 901153 h 1193517"/>
                <a:gd name="connsiteX61" fmla="*/ 282811 w 2441576"/>
                <a:gd name="connsiteY61" fmla="*/ 901153 h 1193517"/>
                <a:gd name="connsiteX62" fmla="*/ 185400 w 2441576"/>
                <a:gd name="connsiteY62" fmla="*/ 901153 h 1193517"/>
                <a:gd name="connsiteX63" fmla="*/ 94270 w 2441576"/>
                <a:gd name="connsiteY63" fmla="*/ 901153 h 1193517"/>
                <a:gd name="connsiteX64" fmla="*/ 0 w 2441576"/>
                <a:gd name="connsiteY64" fmla="*/ 901153 h 1193517"/>
                <a:gd name="connsiteX65" fmla="*/ 0 w 2441576"/>
                <a:gd name="connsiteY65" fmla="*/ 832545 h 1193517"/>
                <a:gd name="connsiteX66" fmla="*/ 0 w 2441576"/>
                <a:gd name="connsiteY66" fmla="*/ 760507 h 1193517"/>
                <a:gd name="connsiteX67" fmla="*/ 0 w 2441576"/>
                <a:gd name="connsiteY67" fmla="*/ 691899 h 1193517"/>
                <a:gd name="connsiteX68" fmla="*/ 0 w 2441576"/>
                <a:gd name="connsiteY68" fmla="*/ 608455 h 1193517"/>
                <a:gd name="connsiteX69" fmla="*/ 0 w 2441576"/>
                <a:gd name="connsiteY69" fmla="*/ 539847 h 1193517"/>
                <a:gd name="connsiteX70" fmla="*/ 0 w 2441576"/>
                <a:gd name="connsiteY70" fmla="*/ 456403 h 1193517"/>
                <a:gd name="connsiteX71" fmla="*/ 0 w 2441576"/>
                <a:gd name="connsiteY71" fmla="*/ 387795 h 1193517"/>
                <a:gd name="connsiteX72" fmla="*/ 0 w 2441576"/>
                <a:gd name="connsiteY72" fmla="*/ 304351 h 1193517"/>
                <a:gd name="connsiteX73" fmla="*/ 0 w 2441576"/>
                <a:gd name="connsiteY73" fmla="*/ 235743 h 1193517"/>
                <a:gd name="connsiteX74" fmla="*/ 0 w 2441576"/>
                <a:gd name="connsiteY74" fmla="*/ 152299 h 1193517"/>
                <a:gd name="connsiteX75" fmla="*/ 0 w 2441576"/>
                <a:gd name="connsiteY75" fmla="*/ 83691 h 1193517"/>
                <a:gd name="connsiteX76" fmla="*/ 0 w 2441576"/>
                <a:gd name="connsiteY76" fmla="*/ 247 h 1193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2441576" h="1193517">
                  <a:moveTo>
                    <a:pt x="0" y="247"/>
                  </a:moveTo>
                  <a:lnTo>
                    <a:pt x="94270" y="247"/>
                  </a:lnTo>
                  <a:lnTo>
                    <a:pt x="185400" y="247"/>
                  </a:lnTo>
                  <a:lnTo>
                    <a:pt x="282811" y="247"/>
                  </a:lnTo>
                  <a:lnTo>
                    <a:pt x="377080" y="247"/>
                  </a:lnTo>
                  <a:lnTo>
                    <a:pt x="470246" y="247"/>
                  </a:lnTo>
                  <a:lnTo>
                    <a:pt x="581332" y="247"/>
                  </a:lnTo>
                  <a:lnTo>
                    <a:pt x="685028" y="247"/>
                  </a:lnTo>
                  <a:lnTo>
                    <a:pt x="755093" y="247"/>
                  </a:lnTo>
                  <a:lnTo>
                    <a:pt x="860129" y="1"/>
                  </a:lnTo>
                  <a:lnTo>
                    <a:pt x="969874" y="247"/>
                  </a:lnTo>
                  <a:lnTo>
                    <a:pt x="1039939" y="247"/>
                  </a:lnTo>
                  <a:lnTo>
                    <a:pt x="1146839" y="1"/>
                  </a:lnTo>
                  <a:lnTo>
                    <a:pt x="1254721" y="247"/>
                  </a:lnTo>
                  <a:lnTo>
                    <a:pt x="1324785" y="247"/>
                  </a:lnTo>
                  <a:lnTo>
                    <a:pt x="1430031" y="0"/>
                  </a:lnTo>
                  <a:lnTo>
                    <a:pt x="1539566" y="247"/>
                  </a:lnTo>
                  <a:lnTo>
                    <a:pt x="1609632" y="247"/>
                  </a:lnTo>
                  <a:lnTo>
                    <a:pt x="1707946" y="1"/>
                  </a:lnTo>
                  <a:lnTo>
                    <a:pt x="1824412" y="247"/>
                  </a:lnTo>
                  <a:lnTo>
                    <a:pt x="1941949" y="247"/>
                  </a:lnTo>
                  <a:lnTo>
                    <a:pt x="2094866" y="247"/>
                  </a:lnTo>
                  <a:lnTo>
                    <a:pt x="2176781" y="247"/>
                  </a:lnTo>
                  <a:lnTo>
                    <a:pt x="2258696" y="247"/>
                  </a:lnTo>
                  <a:lnTo>
                    <a:pt x="2321561" y="247"/>
                  </a:lnTo>
                  <a:lnTo>
                    <a:pt x="2441576" y="247"/>
                  </a:lnTo>
                  <a:lnTo>
                    <a:pt x="2441576" y="83691"/>
                  </a:lnTo>
                  <a:lnTo>
                    <a:pt x="2441576" y="152299"/>
                  </a:lnTo>
                  <a:lnTo>
                    <a:pt x="2441576" y="235743"/>
                  </a:lnTo>
                  <a:lnTo>
                    <a:pt x="2441576" y="304351"/>
                  </a:lnTo>
                  <a:lnTo>
                    <a:pt x="2441576" y="387795"/>
                  </a:lnTo>
                  <a:lnTo>
                    <a:pt x="2441576" y="456403"/>
                  </a:lnTo>
                  <a:lnTo>
                    <a:pt x="2441576" y="539847"/>
                  </a:lnTo>
                  <a:lnTo>
                    <a:pt x="2441576" y="608455"/>
                  </a:lnTo>
                  <a:lnTo>
                    <a:pt x="2441576" y="691899"/>
                  </a:lnTo>
                  <a:lnTo>
                    <a:pt x="2441576" y="760507"/>
                  </a:lnTo>
                  <a:lnTo>
                    <a:pt x="2441576" y="832545"/>
                  </a:lnTo>
                  <a:lnTo>
                    <a:pt x="2441576" y="901153"/>
                  </a:lnTo>
                  <a:lnTo>
                    <a:pt x="2321561" y="901153"/>
                  </a:lnTo>
                  <a:lnTo>
                    <a:pt x="2239646" y="901153"/>
                  </a:lnTo>
                  <a:lnTo>
                    <a:pt x="2176781" y="901153"/>
                  </a:lnTo>
                  <a:lnTo>
                    <a:pt x="2109259" y="901153"/>
                  </a:lnTo>
                  <a:lnTo>
                    <a:pt x="2025730" y="901153"/>
                  </a:lnTo>
                  <a:lnTo>
                    <a:pt x="1941949" y="901153"/>
                  </a:lnTo>
                  <a:lnTo>
                    <a:pt x="1824412" y="901153"/>
                  </a:lnTo>
                  <a:lnTo>
                    <a:pt x="1720844" y="901153"/>
                  </a:lnTo>
                  <a:lnTo>
                    <a:pt x="1829119" y="1193517"/>
                  </a:lnTo>
                  <a:lnTo>
                    <a:pt x="1539566" y="901153"/>
                  </a:lnTo>
                  <a:lnTo>
                    <a:pt x="1427685" y="901153"/>
                  </a:lnTo>
                  <a:lnTo>
                    <a:pt x="1324785" y="901153"/>
                  </a:lnTo>
                  <a:lnTo>
                    <a:pt x="1254721" y="901153"/>
                  </a:lnTo>
                  <a:lnTo>
                    <a:pt x="1146253" y="901153"/>
                  </a:lnTo>
                  <a:lnTo>
                    <a:pt x="1039939" y="901153"/>
                  </a:lnTo>
                  <a:lnTo>
                    <a:pt x="969874" y="901153"/>
                  </a:lnTo>
                  <a:lnTo>
                    <a:pt x="864820" y="901154"/>
                  </a:lnTo>
                  <a:lnTo>
                    <a:pt x="755093" y="901153"/>
                  </a:lnTo>
                  <a:lnTo>
                    <a:pt x="685028" y="901153"/>
                  </a:lnTo>
                  <a:lnTo>
                    <a:pt x="581332" y="901153"/>
                  </a:lnTo>
                  <a:lnTo>
                    <a:pt x="471351" y="901153"/>
                  </a:lnTo>
                  <a:lnTo>
                    <a:pt x="470246" y="901153"/>
                  </a:lnTo>
                  <a:lnTo>
                    <a:pt x="377080" y="901153"/>
                  </a:lnTo>
                  <a:lnTo>
                    <a:pt x="282811" y="901153"/>
                  </a:lnTo>
                  <a:lnTo>
                    <a:pt x="185400" y="901153"/>
                  </a:lnTo>
                  <a:lnTo>
                    <a:pt x="94270" y="901153"/>
                  </a:lnTo>
                  <a:lnTo>
                    <a:pt x="0" y="901153"/>
                  </a:lnTo>
                  <a:lnTo>
                    <a:pt x="0" y="832545"/>
                  </a:lnTo>
                  <a:lnTo>
                    <a:pt x="0" y="760507"/>
                  </a:lnTo>
                  <a:lnTo>
                    <a:pt x="0" y="691899"/>
                  </a:lnTo>
                  <a:lnTo>
                    <a:pt x="0" y="608455"/>
                  </a:lnTo>
                  <a:lnTo>
                    <a:pt x="0" y="539847"/>
                  </a:lnTo>
                  <a:lnTo>
                    <a:pt x="0" y="456403"/>
                  </a:lnTo>
                  <a:lnTo>
                    <a:pt x="0" y="387795"/>
                  </a:lnTo>
                  <a:lnTo>
                    <a:pt x="0" y="304351"/>
                  </a:lnTo>
                  <a:lnTo>
                    <a:pt x="0" y="235743"/>
                  </a:lnTo>
                  <a:lnTo>
                    <a:pt x="0" y="152299"/>
                  </a:lnTo>
                  <a:lnTo>
                    <a:pt x="0" y="83691"/>
                  </a:lnTo>
                  <a:lnTo>
                    <a:pt x="0" y="247"/>
                  </a:lnTo>
                  <a:close/>
                </a:path>
              </a:pathLst>
            </a:custGeom>
            <a:solidFill>
              <a:schemeClr val="bg2"/>
            </a:solidFill>
            <a:ln w="12700" algn="ctr">
              <a:solidFill>
                <a:schemeClr val="accent2"/>
              </a:solidFill>
              <a:miter lim="800000"/>
              <a:headEnd/>
              <a:tailEnd/>
            </a:ln>
            <a:effectLst>
              <a:outerShdw dist="53340" dir="2700000" algn="tl" rotWithShape="0">
                <a:schemeClr val="tx1">
                  <a:alpha val="8000"/>
                </a:scheme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1104248"/>
              <a:endParaRPr lang="es-ES_tradnl" sz="1200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13" name="Rectangle 22"/>
            <p:cNvSpPr txBox="1"/>
            <p:nvPr>
              <p:custDataLst>
                <p:tags r:id="rId13"/>
              </p:custDataLst>
            </p:nvPr>
          </p:nvSpPr>
          <p:spPr>
            <a:xfrm flipH="1">
              <a:off x="647741" y="2444019"/>
              <a:ext cx="930594" cy="2085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9A46"/>
                </a:buClr>
              </a:pPr>
              <a:r>
                <a:rPr lang="es-ES_tradnl" sz="1200" dirty="0">
                  <a:solidFill>
                    <a:srgbClr val="000000"/>
                  </a:solidFill>
                  <a:cs typeface="Arial" panose="020B0604020202020204" pitchFamily="34" charset="0"/>
                </a:rPr>
                <a:t>Seguimiento</a:t>
              </a:r>
            </a:p>
          </p:txBody>
        </p:sp>
      </p:grpSp>
      <p:sp>
        <p:nvSpPr>
          <p:cNvPr id="215" name="Freeform 220"/>
          <p:cNvSpPr>
            <a:spLocks/>
          </p:cNvSpPr>
          <p:nvPr/>
        </p:nvSpPr>
        <p:spPr bwMode="auto">
          <a:xfrm>
            <a:off x="5394165" y="2656913"/>
            <a:ext cx="185470" cy="116243"/>
          </a:xfrm>
          <a:custGeom>
            <a:avLst/>
            <a:gdLst>
              <a:gd name="T0" fmla="*/ 102 w 105"/>
              <a:gd name="T1" fmla="*/ 0 h 91"/>
              <a:gd name="T2" fmla="*/ 36 w 105"/>
              <a:gd name="T3" fmla="*/ 57 h 91"/>
              <a:gd name="T4" fmla="*/ 11 w 105"/>
              <a:gd name="T5" fmla="*/ 37 h 91"/>
              <a:gd name="T6" fmla="*/ 0 w 105"/>
              <a:gd name="T7" fmla="*/ 46 h 91"/>
              <a:gd name="T8" fmla="*/ 44 w 105"/>
              <a:gd name="T9" fmla="*/ 91 h 91"/>
              <a:gd name="T10" fmla="*/ 105 w 105"/>
              <a:gd name="T11" fmla="*/ 6 h 91"/>
              <a:gd name="T12" fmla="*/ 102 w 105"/>
              <a:gd name="T13" fmla="*/ 0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5" h="91">
                <a:moveTo>
                  <a:pt x="102" y="0"/>
                </a:moveTo>
                <a:cubicBezTo>
                  <a:pt x="70" y="19"/>
                  <a:pt x="47" y="44"/>
                  <a:pt x="36" y="57"/>
                </a:cubicBezTo>
                <a:cubicBezTo>
                  <a:pt x="11" y="37"/>
                  <a:pt x="11" y="37"/>
                  <a:pt x="11" y="37"/>
                </a:cubicBezTo>
                <a:cubicBezTo>
                  <a:pt x="0" y="46"/>
                  <a:pt x="0" y="46"/>
                  <a:pt x="0" y="46"/>
                </a:cubicBezTo>
                <a:cubicBezTo>
                  <a:pt x="44" y="91"/>
                  <a:pt x="44" y="91"/>
                  <a:pt x="44" y="91"/>
                </a:cubicBezTo>
                <a:cubicBezTo>
                  <a:pt x="51" y="71"/>
                  <a:pt x="75" y="33"/>
                  <a:pt x="105" y="6"/>
                </a:cubicBezTo>
                <a:lnTo>
                  <a:pt x="102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flat" cmpd="sng">
                <a:solidFill>
                  <a:schemeClr val="hlink"/>
                </a:solidFill>
                <a:prstDash val="solid"/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10345" tIns="55180" rIns="110345" bIns="55180" numCol="1" anchor="ctr" anchorCtr="0" compatLnSpc="1">
            <a:prstTxWarp prst="textNoShape">
              <a:avLst/>
            </a:prstTxWarp>
          </a:bodyPr>
          <a:lstStyle/>
          <a:p>
            <a:pPr defTabSz="1104248"/>
            <a:endParaRPr lang="es-ES_tradnl" sz="11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16" name="Freeform 259"/>
          <p:cNvSpPr>
            <a:spLocks/>
          </p:cNvSpPr>
          <p:nvPr/>
        </p:nvSpPr>
        <p:spPr bwMode="auto">
          <a:xfrm>
            <a:off x="5409636" y="2848095"/>
            <a:ext cx="153627" cy="99719"/>
          </a:xfrm>
          <a:custGeom>
            <a:avLst/>
            <a:gdLst>
              <a:gd name="T0" fmla="*/ 20 w 117"/>
              <a:gd name="T1" fmla="*/ 0 h 116"/>
              <a:gd name="T2" fmla="*/ 58 w 117"/>
              <a:gd name="T3" fmla="*/ 38 h 116"/>
              <a:gd name="T4" fmla="*/ 96 w 117"/>
              <a:gd name="T5" fmla="*/ 0 h 116"/>
              <a:gd name="T6" fmla="*/ 117 w 117"/>
              <a:gd name="T7" fmla="*/ 20 h 116"/>
              <a:gd name="T8" fmla="*/ 79 w 117"/>
              <a:gd name="T9" fmla="*/ 58 h 116"/>
              <a:gd name="T10" fmla="*/ 117 w 117"/>
              <a:gd name="T11" fmla="*/ 96 h 116"/>
              <a:gd name="T12" fmla="*/ 96 w 117"/>
              <a:gd name="T13" fmla="*/ 116 h 116"/>
              <a:gd name="T14" fmla="*/ 58 w 117"/>
              <a:gd name="T15" fmla="*/ 78 h 116"/>
              <a:gd name="T16" fmla="*/ 20 w 117"/>
              <a:gd name="T17" fmla="*/ 116 h 116"/>
              <a:gd name="T18" fmla="*/ 0 w 117"/>
              <a:gd name="T19" fmla="*/ 96 h 116"/>
              <a:gd name="T20" fmla="*/ 38 w 117"/>
              <a:gd name="T21" fmla="*/ 58 h 116"/>
              <a:gd name="T22" fmla="*/ 0 w 117"/>
              <a:gd name="T23" fmla="*/ 20 h 116"/>
              <a:gd name="T24" fmla="*/ 20 w 117"/>
              <a:gd name="T25" fmla="*/ 0 h 1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17" h="116">
                <a:moveTo>
                  <a:pt x="20" y="0"/>
                </a:moveTo>
                <a:lnTo>
                  <a:pt x="58" y="38"/>
                </a:lnTo>
                <a:lnTo>
                  <a:pt x="96" y="0"/>
                </a:lnTo>
                <a:lnTo>
                  <a:pt x="117" y="20"/>
                </a:lnTo>
                <a:lnTo>
                  <a:pt x="79" y="58"/>
                </a:lnTo>
                <a:lnTo>
                  <a:pt x="117" y="96"/>
                </a:lnTo>
                <a:lnTo>
                  <a:pt x="96" y="116"/>
                </a:lnTo>
                <a:lnTo>
                  <a:pt x="58" y="78"/>
                </a:lnTo>
                <a:lnTo>
                  <a:pt x="20" y="116"/>
                </a:lnTo>
                <a:lnTo>
                  <a:pt x="0" y="96"/>
                </a:lnTo>
                <a:lnTo>
                  <a:pt x="38" y="58"/>
                </a:lnTo>
                <a:lnTo>
                  <a:pt x="0" y="20"/>
                </a:lnTo>
                <a:lnTo>
                  <a:pt x="2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110345" tIns="55180" rIns="110345" bIns="55180" numCol="1" anchor="t" anchorCtr="0" compatLnSpc="1">
            <a:prstTxWarp prst="textNoShape">
              <a:avLst/>
            </a:prstTxWarp>
          </a:bodyPr>
          <a:lstStyle/>
          <a:p>
            <a:pPr defTabSz="1104248"/>
            <a:endParaRPr lang="es-ES_tradnl" sz="11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17" name="Freeform 220"/>
          <p:cNvSpPr>
            <a:spLocks/>
          </p:cNvSpPr>
          <p:nvPr/>
        </p:nvSpPr>
        <p:spPr bwMode="auto">
          <a:xfrm>
            <a:off x="5394165" y="2996383"/>
            <a:ext cx="185470" cy="116243"/>
          </a:xfrm>
          <a:custGeom>
            <a:avLst/>
            <a:gdLst>
              <a:gd name="T0" fmla="*/ 102 w 105"/>
              <a:gd name="T1" fmla="*/ 0 h 91"/>
              <a:gd name="T2" fmla="*/ 36 w 105"/>
              <a:gd name="T3" fmla="*/ 57 h 91"/>
              <a:gd name="T4" fmla="*/ 11 w 105"/>
              <a:gd name="T5" fmla="*/ 37 h 91"/>
              <a:gd name="T6" fmla="*/ 0 w 105"/>
              <a:gd name="T7" fmla="*/ 46 h 91"/>
              <a:gd name="T8" fmla="*/ 44 w 105"/>
              <a:gd name="T9" fmla="*/ 91 h 91"/>
              <a:gd name="T10" fmla="*/ 105 w 105"/>
              <a:gd name="T11" fmla="*/ 6 h 91"/>
              <a:gd name="T12" fmla="*/ 102 w 105"/>
              <a:gd name="T13" fmla="*/ 0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5" h="91">
                <a:moveTo>
                  <a:pt x="102" y="0"/>
                </a:moveTo>
                <a:cubicBezTo>
                  <a:pt x="70" y="19"/>
                  <a:pt x="47" y="44"/>
                  <a:pt x="36" y="57"/>
                </a:cubicBezTo>
                <a:cubicBezTo>
                  <a:pt x="11" y="37"/>
                  <a:pt x="11" y="37"/>
                  <a:pt x="11" y="37"/>
                </a:cubicBezTo>
                <a:cubicBezTo>
                  <a:pt x="0" y="46"/>
                  <a:pt x="0" y="46"/>
                  <a:pt x="0" y="46"/>
                </a:cubicBezTo>
                <a:cubicBezTo>
                  <a:pt x="44" y="91"/>
                  <a:pt x="44" y="91"/>
                  <a:pt x="44" y="91"/>
                </a:cubicBezTo>
                <a:cubicBezTo>
                  <a:pt x="51" y="71"/>
                  <a:pt x="75" y="33"/>
                  <a:pt x="105" y="6"/>
                </a:cubicBezTo>
                <a:lnTo>
                  <a:pt x="102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flat" cmpd="sng">
                <a:solidFill>
                  <a:schemeClr val="hlink"/>
                </a:solidFill>
                <a:prstDash val="solid"/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10345" tIns="55180" rIns="110345" bIns="55180" numCol="1" anchor="ctr" anchorCtr="0" compatLnSpc="1">
            <a:prstTxWarp prst="textNoShape">
              <a:avLst/>
            </a:prstTxWarp>
          </a:bodyPr>
          <a:lstStyle/>
          <a:p>
            <a:pPr defTabSz="1104248"/>
            <a:endParaRPr lang="es-ES_tradnl" sz="11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18" name="Freeform 259"/>
          <p:cNvSpPr>
            <a:spLocks/>
          </p:cNvSpPr>
          <p:nvPr/>
        </p:nvSpPr>
        <p:spPr bwMode="auto">
          <a:xfrm>
            <a:off x="5409636" y="3187566"/>
            <a:ext cx="153627" cy="99719"/>
          </a:xfrm>
          <a:custGeom>
            <a:avLst/>
            <a:gdLst>
              <a:gd name="T0" fmla="*/ 20 w 117"/>
              <a:gd name="T1" fmla="*/ 0 h 116"/>
              <a:gd name="T2" fmla="*/ 58 w 117"/>
              <a:gd name="T3" fmla="*/ 38 h 116"/>
              <a:gd name="T4" fmla="*/ 96 w 117"/>
              <a:gd name="T5" fmla="*/ 0 h 116"/>
              <a:gd name="T6" fmla="*/ 117 w 117"/>
              <a:gd name="T7" fmla="*/ 20 h 116"/>
              <a:gd name="T8" fmla="*/ 79 w 117"/>
              <a:gd name="T9" fmla="*/ 58 h 116"/>
              <a:gd name="T10" fmla="*/ 117 w 117"/>
              <a:gd name="T11" fmla="*/ 96 h 116"/>
              <a:gd name="T12" fmla="*/ 96 w 117"/>
              <a:gd name="T13" fmla="*/ 116 h 116"/>
              <a:gd name="T14" fmla="*/ 58 w 117"/>
              <a:gd name="T15" fmla="*/ 78 h 116"/>
              <a:gd name="T16" fmla="*/ 20 w 117"/>
              <a:gd name="T17" fmla="*/ 116 h 116"/>
              <a:gd name="T18" fmla="*/ 0 w 117"/>
              <a:gd name="T19" fmla="*/ 96 h 116"/>
              <a:gd name="T20" fmla="*/ 38 w 117"/>
              <a:gd name="T21" fmla="*/ 58 h 116"/>
              <a:gd name="T22" fmla="*/ 0 w 117"/>
              <a:gd name="T23" fmla="*/ 20 h 116"/>
              <a:gd name="T24" fmla="*/ 20 w 117"/>
              <a:gd name="T25" fmla="*/ 0 h 1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17" h="116">
                <a:moveTo>
                  <a:pt x="20" y="0"/>
                </a:moveTo>
                <a:lnTo>
                  <a:pt x="58" y="38"/>
                </a:lnTo>
                <a:lnTo>
                  <a:pt x="96" y="0"/>
                </a:lnTo>
                <a:lnTo>
                  <a:pt x="117" y="20"/>
                </a:lnTo>
                <a:lnTo>
                  <a:pt x="79" y="58"/>
                </a:lnTo>
                <a:lnTo>
                  <a:pt x="117" y="96"/>
                </a:lnTo>
                <a:lnTo>
                  <a:pt x="96" y="116"/>
                </a:lnTo>
                <a:lnTo>
                  <a:pt x="58" y="78"/>
                </a:lnTo>
                <a:lnTo>
                  <a:pt x="20" y="116"/>
                </a:lnTo>
                <a:lnTo>
                  <a:pt x="0" y="96"/>
                </a:lnTo>
                <a:lnTo>
                  <a:pt x="38" y="58"/>
                </a:lnTo>
                <a:lnTo>
                  <a:pt x="0" y="20"/>
                </a:lnTo>
                <a:lnTo>
                  <a:pt x="2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110345" tIns="55180" rIns="110345" bIns="55180" numCol="1" anchor="t" anchorCtr="0" compatLnSpc="1">
            <a:prstTxWarp prst="textNoShape">
              <a:avLst/>
            </a:prstTxWarp>
          </a:bodyPr>
          <a:lstStyle/>
          <a:p>
            <a:pPr defTabSz="1104248"/>
            <a:endParaRPr lang="es-ES_tradnl" sz="11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grpSp>
        <p:nvGrpSpPr>
          <p:cNvPr id="9" name="8 Grupo"/>
          <p:cNvGrpSpPr/>
          <p:nvPr/>
        </p:nvGrpSpPr>
        <p:grpSpPr>
          <a:xfrm>
            <a:off x="10140980" y="2210380"/>
            <a:ext cx="1462209" cy="1158065"/>
            <a:chOff x="7453884" y="1769165"/>
            <a:chExt cx="1074762" cy="1135011"/>
          </a:xfrm>
        </p:grpSpPr>
        <p:grpSp>
          <p:nvGrpSpPr>
            <p:cNvPr id="11" name="Group 207"/>
            <p:cNvGrpSpPr/>
            <p:nvPr/>
          </p:nvGrpSpPr>
          <p:grpSpPr>
            <a:xfrm>
              <a:off x="7453884" y="1769165"/>
              <a:ext cx="884350" cy="540000"/>
              <a:chOff x="581576" y="2313408"/>
              <a:chExt cx="1059559" cy="622141"/>
            </a:xfrm>
          </p:grpSpPr>
          <p:sp>
            <p:nvSpPr>
              <p:cNvPr id="209" name="Rectangle 1"/>
              <p:cNvSpPr>
                <a:spLocks/>
              </p:cNvSpPr>
              <p:nvPr/>
            </p:nvSpPr>
            <p:spPr>
              <a:xfrm>
                <a:off x="581576" y="2313408"/>
                <a:ext cx="1059559" cy="622141"/>
              </a:xfrm>
              <a:custGeom>
                <a:avLst/>
                <a:gdLst>
                  <a:gd name="connsiteX0" fmla="*/ 0 w 2441576"/>
                  <a:gd name="connsiteY0" fmla="*/ 0 h 900906"/>
                  <a:gd name="connsiteX1" fmla="*/ 94270 w 2441576"/>
                  <a:gd name="connsiteY1" fmla="*/ 0 h 900906"/>
                  <a:gd name="connsiteX2" fmla="*/ 185400 w 2441576"/>
                  <a:gd name="connsiteY2" fmla="*/ 0 h 900906"/>
                  <a:gd name="connsiteX3" fmla="*/ 188541 w 2441576"/>
                  <a:gd name="connsiteY3" fmla="*/ 0 h 900906"/>
                  <a:gd name="connsiteX4" fmla="*/ 282811 w 2441576"/>
                  <a:gd name="connsiteY4" fmla="*/ 0 h 900906"/>
                  <a:gd name="connsiteX5" fmla="*/ 377080 w 2441576"/>
                  <a:gd name="connsiteY5" fmla="*/ 0 h 900906"/>
                  <a:gd name="connsiteX6" fmla="*/ 470246 w 2441576"/>
                  <a:gd name="connsiteY6" fmla="*/ 0 h 900906"/>
                  <a:gd name="connsiteX7" fmla="*/ 471351 w 2441576"/>
                  <a:gd name="connsiteY7" fmla="*/ 0 h 900906"/>
                  <a:gd name="connsiteX8" fmla="*/ 581332 w 2441576"/>
                  <a:gd name="connsiteY8" fmla="*/ 0 h 900906"/>
                  <a:gd name="connsiteX9" fmla="*/ 685028 w 2441576"/>
                  <a:gd name="connsiteY9" fmla="*/ 0 h 900906"/>
                  <a:gd name="connsiteX10" fmla="*/ 755093 w 2441576"/>
                  <a:gd name="connsiteY10" fmla="*/ 0 h 900906"/>
                  <a:gd name="connsiteX11" fmla="*/ 969874 w 2441576"/>
                  <a:gd name="connsiteY11" fmla="*/ 0 h 900906"/>
                  <a:gd name="connsiteX12" fmla="*/ 1039939 w 2441576"/>
                  <a:gd name="connsiteY12" fmla="*/ 0 h 900906"/>
                  <a:gd name="connsiteX13" fmla="*/ 1254721 w 2441576"/>
                  <a:gd name="connsiteY13" fmla="*/ 0 h 900906"/>
                  <a:gd name="connsiteX14" fmla="*/ 1324785 w 2441576"/>
                  <a:gd name="connsiteY14" fmla="*/ 0 h 900906"/>
                  <a:gd name="connsiteX15" fmla="*/ 1539566 w 2441576"/>
                  <a:gd name="connsiteY15" fmla="*/ 0 h 900906"/>
                  <a:gd name="connsiteX16" fmla="*/ 1609632 w 2441576"/>
                  <a:gd name="connsiteY16" fmla="*/ 0 h 900906"/>
                  <a:gd name="connsiteX17" fmla="*/ 1824412 w 2441576"/>
                  <a:gd name="connsiteY17" fmla="*/ 0 h 900906"/>
                  <a:gd name="connsiteX18" fmla="*/ 1941949 w 2441576"/>
                  <a:gd name="connsiteY18" fmla="*/ 0 h 900906"/>
                  <a:gd name="connsiteX19" fmla="*/ 2094866 w 2441576"/>
                  <a:gd name="connsiteY19" fmla="*/ 0 h 900906"/>
                  <a:gd name="connsiteX20" fmla="*/ 2176781 w 2441576"/>
                  <a:gd name="connsiteY20" fmla="*/ 0 h 900906"/>
                  <a:gd name="connsiteX21" fmla="*/ 2258696 w 2441576"/>
                  <a:gd name="connsiteY21" fmla="*/ 0 h 900906"/>
                  <a:gd name="connsiteX22" fmla="*/ 2321561 w 2441576"/>
                  <a:gd name="connsiteY22" fmla="*/ 0 h 900906"/>
                  <a:gd name="connsiteX23" fmla="*/ 2403476 w 2441576"/>
                  <a:gd name="connsiteY23" fmla="*/ 0 h 900906"/>
                  <a:gd name="connsiteX24" fmla="*/ 2441576 w 2441576"/>
                  <a:gd name="connsiteY24" fmla="*/ 0 h 900906"/>
                  <a:gd name="connsiteX25" fmla="*/ 2441576 w 2441576"/>
                  <a:gd name="connsiteY25" fmla="*/ 83444 h 900906"/>
                  <a:gd name="connsiteX26" fmla="*/ 2441576 w 2441576"/>
                  <a:gd name="connsiteY26" fmla="*/ 152052 h 900906"/>
                  <a:gd name="connsiteX27" fmla="*/ 2441576 w 2441576"/>
                  <a:gd name="connsiteY27" fmla="*/ 235496 h 900906"/>
                  <a:gd name="connsiteX28" fmla="*/ 2441576 w 2441576"/>
                  <a:gd name="connsiteY28" fmla="*/ 304104 h 900906"/>
                  <a:gd name="connsiteX29" fmla="*/ 2441576 w 2441576"/>
                  <a:gd name="connsiteY29" fmla="*/ 387548 h 900906"/>
                  <a:gd name="connsiteX30" fmla="*/ 2441576 w 2441576"/>
                  <a:gd name="connsiteY30" fmla="*/ 456156 h 900906"/>
                  <a:gd name="connsiteX31" fmla="*/ 2441576 w 2441576"/>
                  <a:gd name="connsiteY31" fmla="*/ 539600 h 900906"/>
                  <a:gd name="connsiteX32" fmla="*/ 2441576 w 2441576"/>
                  <a:gd name="connsiteY32" fmla="*/ 608208 h 900906"/>
                  <a:gd name="connsiteX33" fmla="*/ 2441576 w 2441576"/>
                  <a:gd name="connsiteY33" fmla="*/ 691652 h 900906"/>
                  <a:gd name="connsiteX34" fmla="*/ 2441576 w 2441576"/>
                  <a:gd name="connsiteY34" fmla="*/ 748854 h 900906"/>
                  <a:gd name="connsiteX35" fmla="*/ 2441576 w 2441576"/>
                  <a:gd name="connsiteY35" fmla="*/ 760260 h 900906"/>
                  <a:gd name="connsiteX36" fmla="*/ 2441576 w 2441576"/>
                  <a:gd name="connsiteY36" fmla="*/ 832298 h 900906"/>
                  <a:gd name="connsiteX37" fmla="*/ 2441576 w 2441576"/>
                  <a:gd name="connsiteY37" fmla="*/ 900906 h 900906"/>
                  <a:gd name="connsiteX38" fmla="*/ 2403476 w 2441576"/>
                  <a:gd name="connsiteY38" fmla="*/ 900906 h 900906"/>
                  <a:gd name="connsiteX39" fmla="*/ 2321561 w 2441576"/>
                  <a:gd name="connsiteY39" fmla="*/ 900906 h 900906"/>
                  <a:gd name="connsiteX40" fmla="*/ 2239646 w 2441576"/>
                  <a:gd name="connsiteY40" fmla="*/ 900906 h 900906"/>
                  <a:gd name="connsiteX41" fmla="*/ 2176781 w 2441576"/>
                  <a:gd name="connsiteY41" fmla="*/ 900906 h 900906"/>
                  <a:gd name="connsiteX42" fmla="*/ 2109259 w 2441576"/>
                  <a:gd name="connsiteY42" fmla="*/ 900906 h 900906"/>
                  <a:gd name="connsiteX43" fmla="*/ 2094866 w 2441576"/>
                  <a:gd name="connsiteY43" fmla="*/ 900906 h 900906"/>
                  <a:gd name="connsiteX44" fmla="*/ 1941949 w 2441576"/>
                  <a:gd name="connsiteY44" fmla="*/ 900906 h 900906"/>
                  <a:gd name="connsiteX45" fmla="*/ 1824412 w 2441576"/>
                  <a:gd name="connsiteY45" fmla="*/ 900906 h 900906"/>
                  <a:gd name="connsiteX46" fmla="*/ 1609632 w 2441576"/>
                  <a:gd name="connsiteY46" fmla="*/ 900906 h 900906"/>
                  <a:gd name="connsiteX47" fmla="*/ 1539566 w 2441576"/>
                  <a:gd name="connsiteY47" fmla="*/ 900906 h 900906"/>
                  <a:gd name="connsiteX48" fmla="*/ 1324785 w 2441576"/>
                  <a:gd name="connsiteY48" fmla="*/ 900906 h 900906"/>
                  <a:gd name="connsiteX49" fmla="*/ 1254721 w 2441576"/>
                  <a:gd name="connsiteY49" fmla="*/ 900906 h 900906"/>
                  <a:gd name="connsiteX50" fmla="*/ 1039939 w 2441576"/>
                  <a:gd name="connsiteY50" fmla="*/ 900906 h 900906"/>
                  <a:gd name="connsiteX51" fmla="*/ 969874 w 2441576"/>
                  <a:gd name="connsiteY51" fmla="*/ 900906 h 900906"/>
                  <a:gd name="connsiteX52" fmla="*/ 755093 w 2441576"/>
                  <a:gd name="connsiteY52" fmla="*/ 900906 h 900906"/>
                  <a:gd name="connsiteX53" fmla="*/ 685028 w 2441576"/>
                  <a:gd name="connsiteY53" fmla="*/ 900906 h 900906"/>
                  <a:gd name="connsiteX54" fmla="*/ 581332 w 2441576"/>
                  <a:gd name="connsiteY54" fmla="*/ 900906 h 900906"/>
                  <a:gd name="connsiteX55" fmla="*/ 471351 w 2441576"/>
                  <a:gd name="connsiteY55" fmla="*/ 900906 h 900906"/>
                  <a:gd name="connsiteX56" fmla="*/ 470246 w 2441576"/>
                  <a:gd name="connsiteY56" fmla="*/ 900906 h 900906"/>
                  <a:gd name="connsiteX57" fmla="*/ 377080 w 2441576"/>
                  <a:gd name="connsiteY57" fmla="*/ 900906 h 900906"/>
                  <a:gd name="connsiteX58" fmla="*/ 282811 w 2441576"/>
                  <a:gd name="connsiteY58" fmla="*/ 900906 h 900906"/>
                  <a:gd name="connsiteX59" fmla="*/ 188541 w 2441576"/>
                  <a:gd name="connsiteY59" fmla="*/ 900906 h 900906"/>
                  <a:gd name="connsiteX60" fmla="*/ 185400 w 2441576"/>
                  <a:gd name="connsiteY60" fmla="*/ 900906 h 900906"/>
                  <a:gd name="connsiteX61" fmla="*/ 94270 w 2441576"/>
                  <a:gd name="connsiteY61" fmla="*/ 900906 h 900906"/>
                  <a:gd name="connsiteX62" fmla="*/ 0 w 2441576"/>
                  <a:gd name="connsiteY62" fmla="*/ 900906 h 900906"/>
                  <a:gd name="connsiteX63" fmla="*/ 0 w 2441576"/>
                  <a:gd name="connsiteY63" fmla="*/ 832298 h 900906"/>
                  <a:gd name="connsiteX64" fmla="*/ 0 w 2441576"/>
                  <a:gd name="connsiteY64" fmla="*/ 760260 h 900906"/>
                  <a:gd name="connsiteX65" fmla="*/ 0 w 2441576"/>
                  <a:gd name="connsiteY65" fmla="*/ 748854 h 900906"/>
                  <a:gd name="connsiteX66" fmla="*/ 0 w 2441576"/>
                  <a:gd name="connsiteY66" fmla="*/ 691652 h 900906"/>
                  <a:gd name="connsiteX67" fmla="*/ 0 w 2441576"/>
                  <a:gd name="connsiteY67" fmla="*/ 608208 h 900906"/>
                  <a:gd name="connsiteX68" fmla="*/ 0 w 2441576"/>
                  <a:gd name="connsiteY68" fmla="*/ 539600 h 900906"/>
                  <a:gd name="connsiteX69" fmla="*/ 0 w 2441576"/>
                  <a:gd name="connsiteY69" fmla="*/ 456156 h 900906"/>
                  <a:gd name="connsiteX70" fmla="*/ 0 w 2441576"/>
                  <a:gd name="connsiteY70" fmla="*/ 387548 h 900906"/>
                  <a:gd name="connsiteX71" fmla="*/ 0 w 2441576"/>
                  <a:gd name="connsiteY71" fmla="*/ 304104 h 900906"/>
                  <a:gd name="connsiteX72" fmla="*/ 0 w 2441576"/>
                  <a:gd name="connsiteY72" fmla="*/ 235496 h 900906"/>
                  <a:gd name="connsiteX73" fmla="*/ 0 w 2441576"/>
                  <a:gd name="connsiteY73" fmla="*/ 152052 h 900906"/>
                  <a:gd name="connsiteX74" fmla="*/ 0 w 2441576"/>
                  <a:gd name="connsiteY74" fmla="*/ 83444 h 900906"/>
                  <a:gd name="connsiteX75" fmla="*/ 0 w 2441576"/>
                  <a:gd name="connsiteY75" fmla="*/ 0 h 900906"/>
                  <a:gd name="connsiteX0" fmla="*/ 0 w 2441576"/>
                  <a:gd name="connsiteY0" fmla="*/ 0 h 900906"/>
                  <a:gd name="connsiteX1" fmla="*/ 94270 w 2441576"/>
                  <a:gd name="connsiteY1" fmla="*/ 0 h 900906"/>
                  <a:gd name="connsiteX2" fmla="*/ 185400 w 2441576"/>
                  <a:gd name="connsiteY2" fmla="*/ 0 h 900906"/>
                  <a:gd name="connsiteX3" fmla="*/ 188541 w 2441576"/>
                  <a:gd name="connsiteY3" fmla="*/ 0 h 900906"/>
                  <a:gd name="connsiteX4" fmla="*/ 282811 w 2441576"/>
                  <a:gd name="connsiteY4" fmla="*/ 0 h 900906"/>
                  <a:gd name="connsiteX5" fmla="*/ 377080 w 2441576"/>
                  <a:gd name="connsiteY5" fmla="*/ 0 h 900906"/>
                  <a:gd name="connsiteX6" fmla="*/ 470246 w 2441576"/>
                  <a:gd name="connsiteY6" fmla="*/ 0 h 900906"/>
                  <a:gd name="connsiteX7" fmla="*/ 471351 w 2441576"/>
                  <a:gd name="connsiteY7" fmla="*/ 0 h 900906"/>
                  <a:gd name="connsiteX8" fmla="*/ 581332 w 2441576"/>
                  <a:gd name="connsiteY8" fmla="*/ 0 h 900906"/>
                  <a:gd name="connsiteX9" fmla="*/ 685028 w 2441576"/>
                  <a:gd name="connsiteY9" fmla="*/ 0 h 900906"/>
                  <a:gd name="connsiteX10" fmla="*/ 755093 w 2441576"/>
                  <a:gd name="connsiteY10" fmla="*/ 0 h 900906"/>
                  <a:gd name="connsiteX11" fmla="*/ 969874 w 2441576"/>
                  <a:gd name="connsiteY11" fmla="*/ 0 h 900906"/>
                  <a:gd name="connsiteX12" fmla="*/ 1039939 w 2441576"/>
                  <a:gd name="connsiteY12" fmla="*/ 0 h 900906"/>
                  <a:gd name="connsiteX13" fmla="*/ 1254721 w 2441576"/>
                  <a:gd name="connsiteY13" fmla="*/ 0 h 900906"/>
                  <a:gd name="connsiteX14" fmla="*/ 1324785 w 2441576"/>
                  <a:gd name="connsiteY14" fmla="*/ 0 h 900906"/>
                  <a:gd name="connsiteX15" fmla="*/ 1539566 w 2441576"/>
                  <a:gd name="connsiteY15" fmla="*/ 0 h 900906"/>
                  <a:gd name="connsiteX16" fmla="*/ 1609632 w 2441576"/>
                  <a:gd name="connsiteY16" fmla="*/ 0 h 900906"/>
                  <a:gd name="connsiteX17" fmla="*/ 1824412 w 2441576"/>
                  <a:gd name="connsiteY17" fmla="*/ 0 h 900906"/>
                  <a:gd name="connsiteX18" fmla="*/ 1941949 w 2441576"/>
                  <a:gd name="connsiteY18" fmla="*/ 0 h 900906"/>
                  <a:gd name="connsiteX19" fmla="*/ 2094866 w 2441576"/>
                  <a:gd name="connsiteY19" fmla="*/ 0 h 900906"/>
                  <a:gd name="connsiteX20" fmla="*/ 2176781 w 2441576"/>
                  <a:gd name="connsiteY20" fmla="*/ 0 h 900906"/>
                  <a:gd name="connsiteX21" fmla="*/ 2258696 w 2441576"/>
                  <a:gd name="connsiteY21" fmla="*/ 0 h 900906"/>
                  <a:gd name="connsiteX22" fmla="*/ 2321561 w 2441576"/>
                  <a:gd name="connsiteY22" fmla="*/ 0 h 900906"/>
                  <a:gd name="connsiteX23" fmla="*/ 2403476 w 2441576"/>
                  <a:gd name="connsiteY23" fmla="*/ 0 h 900906"/>
                  <a:gd name="connsiteX24" fmla="*/ 2441576 w 2441576"/>
                  <a:gd name="connsiteY24" fmla="*/ 0 h 900906"/>
                  <a:gd name="connsiteX25" fmla="*/ 2441576 w 2441576"/>
                  <a:gd name="connsiteY25" fmla="*/ 83444 h 900906"/>
                  <a:gd name="connsiteX26" fmla="*/ 2441576 w 2441576"/>
                  <a:gd name="connsiteY26" fmla="*/ 152052 h 900906"/>
                  <a:gd name="connsiteX27" fmla="*/ 2441576 w 2441576"/>
                  <a:gd name="connsiteY27" fmla="*/ 235496 h 900906"/>
                  <a:gd name="connsiteX28" fmla="*/ 2441576 w 2441576"/>
                  <a:gd name="connsiteY28" fmla="*/ 304104 h 900906"/>
                  <a:gd name="connsiteX29" fmla="*/ 2441576 w 2441576"/>
                  <a:gd name="connsiteY29" fmla="*/ 387548 h 900906"/>
                  <a:gd name="connsiteX30" fmla="*/ 2441576 w 2441576"/>
                  <a:gd name="connsiteY30" fmla="*/ 456156 h 900906"/>
                  <a:gd name="connsiteX31" fmla="*/ 2441576 w 2441576"/>
                  <a:gd name="connsiteY31" fmla="*/ 539600 h 900906"/>
                  <a:gd name="connsiteX32" fmla="*/ 2441576 w 2441576"/>
                  <a:gd name="connsiteY32" fmla="*/ 608208 h 900906"/>
                  <a:gd name="connsiteX33" fmla="*/ 2441576 w 2441576"/>
                  <a:gd name="connsiteY33" fmla="*/ 691652 h 900906"/>
                  <a:gd name="connsiteX34" fmla="*/ 2441576 w 2441576"/>
                  <a:gd name="connsiteY34" fmla="*/ 748854 h 900906"/>
                  <a:gd name="connsiteX35" fmla="*/ 2441576 w 2441576"/>
                  <a:gd name="connsiteY35" fmla="*/ 760260 h 900906"/>
                  <a:gd name="connsiteX36" fmla="*/ 2441576 w 2441576"/>
                  <a:gd name="connsiteY36" fmla="*/ 832298 h 900906"/>
                  <a:gd name="connsiteX37" fmla="*/ 2441576 w 2441576"/>
                  <a:gd name="connsiteY37" fmla="*/ 900906 h 900906"/>
                  <a:gd name="connsiteX38" fmla="*/ 2403476 w 2441576"/>
                  <a:gd name="connsiteY38" fmla="*/ 900906 h 900906"/>
                  <a:gd name="connsiteX39" fmla="*/ 2321561 w 2441576"/>
                  <a:gd name="connsiteY39" fmla="*/ 900906 h 900906"/>
                  <a:gd name="connsiteX40" fmla="*/ 2239646 w 2441576"/>
                  <a:gd name="connsiteY40" fmla="*/ 900906 h 900906"/>
                  <a:gd name="connsiteX41" fmla="*/ 2176781 w 2441576"/>
                  <a:gd name="connsiteY41" fmla="*/ 900906 h 900906"/>
                  <a:gd name="connsiteX42" fmla="*/ 2109259 w 2441576"/>
                  <a:gd name="connsiteY42" fmla="*/ 900906 h 900906"/>
                  <a:gd name="connsiteX43" fmla="*/ 1941949 w 2441576"/>
                  <a:gd name="connsiteY43" fmla="*/ 900906 h 900906"/>
                  <a:gd name="connsiteX44" fmla="*/ 1824412 w 2441576"/>
                  <a:gd name="connsiteY44" fmla="*/ 900906 h 900906"/>
                  <a:gd name="connsiteX45" fmla="*/ 1609632 w 2441576"/>
                  <a:gd name="connsiteY45" fmla="*/ 900906 h 900906"/>
                  <a:gd name="connsiteX46" fmla="*/ 1539566 w 2441576"/>
                  <a:gd name="connsiteY46" fmla="*/ 900906 h 900906"/>
                  <a:gd name="connsiteX47" fmla="*/ 1324785 w 2441576"/>
                  <a:gd name="connsiteY47" fmla="*/ 900906 h 900906"/>
                  <a:gd name="connsiteX48" fmla="*/ 1254721 w 2441576"/>
                  <a:gd name="connsiteY48" fmla="*/ 900906 h 900906"/>
                  <a:gd name="connsiteX49" fmla="*/ 1039939 w 2441576"/>
                  <a:gd name="connsiteY49" fmla="*/ 900906 h 900906"/>
                  <a:gd name="connsiteX50" fmla="*/ 969874 w 2441576"/>
                  <a:gd name="connsiteY50" fmla="*/ 900906 h 900906"/>
                  <a:gd name="connsiteX51" fmla="*/ 755093 w 2441576"/>
                  <a:gd name="connsiteY51" fmla="*/ 900906 h 900906"/>
                  <a:gd name="connsiteX52" fmla="*/ 685028 w 2441576"/>
                  <a:gd name="connsiteY52" fmla="*/ 900906 h 900906"/>
                  <a:gd name="connsiteX53" fmla="*/ 581332 w 2441576"/>
                  <a:gd name="connsiteY53" fmla="*/ 900906 h 900906"/>
                  <a:gd name="connsiteX54" fmla="*/ 471351 w 2441576"/>
                  <a:gd name="connsiteY54" fmla="*/ 900906 h 900906"/>
                  <a:gd name="connsiteX55" fmla="*/ 470246 w 2441576"/>
                  <a:gd name="connsiteY55" fmla="*/ 900906 h 900906"/>
                  <a:gd name="connsiteX56" fmla="*/ 377080 w 2441576"/>
                  <a:gd name="connsiteY56" fmla="*/ 900906 h 900906"/>
                  <a:gd name="connsiteX57" fmla="*/ 282811 w 2441576"/>
                  <a:gd name="connsiteY57" fmla="*/ 900906 h 900906"/>
                  <a:gd name="connsiteX58" fmla="*/ 188541 w 2441576"/>
                  <a:gd name="connsiteY58" fmla="*/ 900906 h 900906"/>
                  <a:gd name="connsiteX59" fmla="*/ 185400 w 2441576"/>
                  <a:gd name="connsiteY59" fmla="*/ 900906 h 900906"/>
                  <a:gd name="connsiteX60" fmla="*/ 94270 w 2441576"/>
                  <a:gd name="connsiteY60" fmla="*/ 900906 h 900906"/>
                  <a:gd name="connsiteX61" fmla="*/ 0 w 2441576"/>
                  <a:gd name="connsiteY61" fmla="*/ 900906 h 900906"/>
                  <a:gd name="connsiteX62" fmla="*/ 0 w 2441576"/>
                  <a:gd name="connsiteY62" fmla="*/ 832298 h 900906"/>
                  <a:gd name="connsiteX63" fmla="*/ 0 w 2441576"/>
                  <a:gd name="connsiteY63" fmla="*/ 760260 h 900906"/>
                  <a:gd name="connsiteX64" fmla="*/ 0 w 2441576"/>
                  <a:gd name="connsiteY64" fmla="*/ 748854 h 900906"/>
                  <a:gd name="connsiteX65" fmla="*/ 0 w 2441576"/>
                  <a:gd name="connsiteY65" fmla="*/ 691652 h 900906"/>
                  <a:gd name="connsiteX66" fmla="*/ 0 w 2441576"/>
                  <a:gd name="connsiteY66" fmla="*/ 608208 h 900906"/>
                  <a:gd name="connsiteX67" fmla="*/ 0 w 2441576"/>
                  <a:gd name="connsiteY67" fmla="*/ 539600 h 900906"/>
                  <a:gd name="connsiteX68" fmla="*/ 0 w 2441576"/>
                  <a:gd name="connsiteY68" fmla="*/ 456156 h 900906"/>
                  <a:gd name="connsiteX69" fmla="*/ 0 w 2441576"/>
                  <a:gd name="connsiteY69" fmla="*/ 387548 h 900906"/>
                  <a:gd name="connsiteX70" fmla="*/ 0 w 2441576"/>
                  <a:gd name="connsiteY70" fmla="*/ 304104 h 900906"/>
                  <a:gd name="connsiteX71" fmla="*/ 0 w 2441576"/>
                  <a:gd name="connsiteY71" fmla="*/ 235496 h 900906"/>
                  <a:gd name="connsiteX72" fmla="*/ 0 w 2441576"/>
                  <a:gd name="connsiteY72" fmla="*/ 152052 h 900906"/>
                  <a:gd name="connsiteX73" fmla="*/ 0 w 2441576"/>
                  <a:gd name="connsiteY73" fmla="*/ 83444 h 900906"/>
                  <a:gd name="connsiteX74" fmla="*/ 0 w 2441576"/>
                  <a:gd name="connsiteY74" fmla="*/ 0 h 900906"/>
                  <a:gd name="connsiteX0" fmla="*/ 0 w 2441576"/>
                  <a:gd name="connsiteY0" fmla="*/ 0 h 900906"/>
                  <a:gd name="connsiteX1" fmla="*/ 94270 w 2441576"/>
                  <a:gd name="connsiteY1" fmla="*/ 0 h 900906"/>
                  <a:gd name="connsiteX2" fmla="*/ 185400 w 2441576"/>
                  <a:gd name="connsiteY2" fmla="*/ 0 h 900906"/>
                  <a:gd name="connsiteX3" fmla="*/ 188541 w 2441576"/>
                  <a:gd name="connsiteY3" fmla="*/ 0 h 900906"/>
                  <a:gd name="connsiteX4" fmla="*/ 282811 w 2441576"/>
                  <a:gd name="connsiteY4" fmla="*/ 0 h 900906"/>
                  <a:gd name="connsiteX5" fmla="*/ 377080 w 2441576"/>
                  <a:gd name="connsiteY5" fmla="*/ 0 h 900906"/>
                  <a:gd name="connsiteX6" fmla="*/ 470246 w 2441576"/>
                  <a:gd name="connsiteY6" fmla="*/ 0 h 900906"/>
                  <a:gd name="connsiteX7" fmla="*/ 471351 w 2441576"/>
                  <a:gd name="connsiteY7" fmla="*/ 0 h 900906"/>
                  <a:gd name="connsiteX8" fmla="*/ 581332 w 2441576"/>
                  <a:gd name="connsiteY8" fmla="*/ 0 h 900906"/>
                  <a:gd name="connsiteX9" fmla="*/ 685028 w 2441576"/>
                  <a:gd name="connsiteY9" fmla="*/ 0 h 900906"/>
                  <a:gd name="connsiteX10" fmla="*/ 755093 w 2441576"/>
                  <a:gd name="connsiteY10" fmla="*/ 0 h 900906"/>
                  <a:gd name="connsiteX11" fmla="*/ 969874 w 2441576"/>
                  <a:gd name="connsiteY11" fmla="*/ 0 h 900906"/>
                  <a:gd name="connsiteX12" fmla="*/ 1039939 w 2441576"/>
                  <a:gd name="connsiteY12" fmla="*/ 0 h 900906"/>
                  <a:gd name="connsiteX13" fmla="*/ 1254721 w 2441576"/>
                  <a:gd name="connsiteY13" fmla="*/ 0 h 900906"/>
                  <a:gd name="connsiteX14" fmla="*/ 1324785 w 2441576"/>
                  <a:gd name="connsiteY14" fmla="*/ 0 h 900906"/>
                  <a:gd name="connsiteX15" fmla="*/ 1539566 w 2441576"/>
                  <a:gd name="connsiteY15" fmla="*/ 0 h 900906"/>
                  <a:gd name="connsiteX16" fmla="*/ 1609632 w 2441576"/>
                  <a:gd name="connsiteY16" fmla="*/ 0 h 900906"/>
                  <a:gd name="connsiteX17" fmla="*/ 1824412 w 2441576"/>
                  <a:gd name="connsiteY17" fmla="*/ 0 h 900906"/>
                  <a:gd name="connsiteX18" fmla="*/ 1941949 w 2441576"/>
                  <a:gd name="connsiteY18" fmla="*/ 0 h 900906"/>
                  <a:gd name="connsiteX19" fmla="*/ 2094866 w 2441576"/>
                  <a:gd name="connsiteY19" fmla="*/ 0 h 900906"/>
                  <a:gd name="connsiteX20" fmla="*/ 2176781 w 2441576"/>
                  <a:gd name="connsiteY20" fmla="*/ 0 h 900906"/>
                  <a:gd name="connsiteX21" fmla="*/ 2258696 w 2441576"/>
                  <a:gd name="connsiteY21" fmla="*/ 0 h 900906"/>
                  <a:gd name="connsiteX22" fmla="*/ 2321561 w 2441576"/>
                  <a:gd name="connsiteY22" fmla="*/ 0 h 900906"/>
                  <a:gd name="connsiteX23" fmla="*/ 2441576 w 2441576"/>
                  <a:gd name="connsiteY23" fmla="*/ 0 h 900906"/>
                  <a:gd name="connsiteX24" fmla="*/ 2441576 w 2441576"/>
                  <a:gd name="connsiteY24" fmla="*/ 83444 h 900906"/>
                  <a:gd name="connsiteX25" fmla="*/ 2441576 w 2441576"/>
                  <a:gd name="connsiteY25" fmla="*/ 152052 h 900906"/>
                  <a:gd name="connsiteX26" fmla="*/ 2441576 w 2441576"/>
                  <a:gd name="connsiteY26" fmla="*/ 235496 h 900906"/>
                  <a:gd name="connsiteX27" fmla="*/ 2441576 w 2441576"/>
                  <a:gd name="connsiteY27" fmla="*/ 304104 h 900906"/>
                  <a:gd name="connsiteX28" fmla="*/ 2441576 w 2441576"/>
                  <a:gd name="connsiteY28" fmla="*/ 387548 h 900906"/>
                  <a:gd name="connsiteX29" fmla="*/ 2441576 w 2441576"/>
                  <a:gd name="connsiteY29" fmla="*/ 456156 h 900906"/>
                  <a:gd name="connsiteX30" fmla="*/ 2441576 w 2441576"/>
                  <a:gd name="connsiteY30" fmla="*/ 539600 h 900906"/>
                  <a:gd name="connsiteX31" fmla="*/ 2441576 w 2441576"/>
                  <a:gd name="connsiteY31" fmla="*/ 608208 h 900906"/>
                  <a:gd name="connsiteX32" fmla="*/ 2441576 w 2441576"/>
                  <a:gd name="connsiteY32" fmla="*/ 691652 h 900906"/>
                  <a:gd name="connsiteX33" fmla="*/ 2441576 w 2441576"/>
                  <a:gd name="connsiteY33" fmla="*/ 748854 h 900906"/>
                  <a:gd name="connsiteX34" fmla="*/ 2441576 w 2441576"/>
                  <a:gd name="connsiteY34" fmla="*/ 760260 h 900906"/>
                  <a:gd name="connsiteX35" fmla="*/ 2441576 w 2441576"/>
                  <a:gd name="connsiteY35" fmla="*/ 832298 h 900906"/>
                  <a:gd name="connsiteX36" fmla="*/ 2441576 w 2441576"/>
                  <a:gd name="connsiteY36" fmla="*/ 900906 h 900906"/>
                  <a:gd name="connsiteX37" fmla="*/ 2403476 w 2441576"/>
                  <a:gd name="connsiteY37" fmla="*/ 900906 h 900906"/>
                  <a:gd name="connsiteX38" fmla="*/ 2321561 w 2441576"/>
                  <a:gd name="connsiteY38" fmla="*/ 900906 h 900906"/>
                  <a:gd name="connsiteX39" fmla="*/ 2239646 w 2441576"/>
                  <a:gd name="connsiteY39" fmla="*/ 900906 h 900906"/>
                  <a:gd name="connsiteX40" fmla="*/ 2176781 w 2441576"/>
                  <a:gd name="connsiteY40" fmla="*/ 900906 h 900906"/>
                  <a:gd name="connsiteX41" fmla="*/ 2109259 w 2441576"/>
                  <a:gd name="connsiteY41" fmla="*/ 900906 h 900906"/>
                  <a:gd name="connsiteX42" fmla="*/ 1941949 w 2441576"/>
                  <a:gd name="connsiteY42" fmla="*/ 900906 h 900906"/>
                  <a:gd name="connsiteX43" fmla="*/ 1824412 w 2441576"/>
                  <a:gd name="connsiteY43" fmla="*/ 900906 h 900906"/>
                  <a:gd name="connsiteX44" fmla="*/ 1609632 w 2441576"/>
                  <a:gd name="connsiteY44" fmla="*/ 900906 h 900906"/>
                  <a:gd name="connsiteX45" fmla="*/ 1539566 w 2441576"/>
                  <a:gd name="connsiteY45" fmla="*/ 900906 h 900906"/>
                  <a:gd name="connsiteX46" fmla="*/ 1324785 w 2441576"/>
                  <a:gd name="connsiteY46" fmla="*/ 900906 h 900906"/>
                  <a:gd name="connsiteX47" fmla="*/ 1254721 w 2441576"/>
                  <a:gd name="connsiteY47" fmla="*/ 900906 h 900906"/>
                  <a:gd name="connsiteX48" fmla="*/ 1039939 w 2441576"/>
                  <a:gd name="connsiteY48" fmla="*/ 900906 h 900906"/>
                  <a:gd name="connsiteX49" fmla="*/ 969874 w 2441576"/>
                  <a:gd name="connsiteY49" fmla="*/ 900906 h 900906"/>
                  <a:gd name="connsiteX50" fmla="*/ 755093 w 2441576"/>
                  <a:gd name="connsiteY50" fmla="*/ 900906 h 900906"/>
                  <a:gd name="connsiteX51" fmla="*/ 685028 w 2441576"/>
                  <a:gd name="connsiteY51" fmla="*/ 900906 h 900906"/>
                  <a:gd name="connsiteX52" fmla="*/ 581332 w 2441576"/>
                  <a:gd name="connsiteY52" fmla="*/ 900906 h 900906"/>
                  <a:gd name="connsiteX53" fmla="*/ 471351 w 2441576"/>
                  <a:gd name="connsiteY53" fmla="*/ 900906 h 900906"/>
                  <a:gd name="connsiteX54" fmla="*/ 470246 w 2441576"/>
                  <a:gd name="connsiteY54" fmla="*/ 900906 h 900906"/>
                  <a:gd name="connsiteX55" fmla="*/ 377080 w 2441576"/>
                  <a:gd name="connsiteY55" fmla="*/ 900906 h 900906"/>
                  <a:gd name="connsiteX56" fmla="*/ 282811 w 2441576"/>
                  <a:gd name="connsiteY56" fmla="*/ 900906 h 900906"/>
                  <a:gd name="connsiteX57" fmla="*/ 188541 w 2441576"/>
                  <a:gd name="connsiteY57" fmla="*/ 900906 h 900906"/>
                  <a:gd name="connsiteX58" fmla="*/ 185400 w 2441576"/>
                  <a:gd name="connsiteY58" fmla="*/ 900906 h 900906"/>
                  <a:gd name="connsiteX59" fmla="*/ 94270 w 2441576"/>
                  <a:gd name="connsiteY59" fmla="*/ 900906 h 900906"/>
                  <a:gd name="connsiteX60" fmla="*/ 0 w 2441576"/>
                  <a:gd name="connsiteY60" fmla="*/ 900906 h 900906"/>
                  <a:gd name="connsiteX61" fmla="*/ 0 w 2441576"/>
                  <a:gd name="connsiteY61" fmla="*/ 832298 h 900906"/>
                  <a:gd name="connsiteX62" fmla="*/ 0 w 2441576"/>
                  <a:gd name="connsiteY62" fmla="*/ 760260 h 900906"/>
                  <a:gd name="connsiteX63" fmla="*/ 0 w 2441576"/>
                  <a:gd name="connsiteY63" fmla="*/ 748854 h 900906"/>
                  <a:gd name="connsiteX64" fmla="*/ 0 w 2441576"/>
                  <a:gd name="connsiteY64" fmla="*/ 691652 h 900906"/>
                  <a:gd name="connsiteX65" fmla="*/ 0 w 2441576"/>
                  <a:gd name="connsiteY65" fmla="*/ 608208 h 900906"/>
                  <a:gd name="connsiteX66" fmla="*/ 0 w 2441576"/>
                  <a:gd name="connsiteY66" fmla="*/ 539600 h 900906"/>
                  <a:gd name="connsiteX67" fmla="*/ 0 w 2441576"/>
                  <a:gd name="connsiteY67" fmla="*/ 456156 h 900906"/>
                  <a:gd name="connsiteX68" fmla="*/ 0 w 2441576"/>
                  <a:gd name="connsiteY68" fmla="*/ 387548 h 900906"/>
                  <a:gd name="connsiteX69" fmla="*/ 0 w 2441576"/>
                  <a:gd name="connsiteY69" fmla="*/ 304104 h 900906"/>
                  <a:gd name="connsiteX70" fmla="*/ 0 w 2441576"/>
                  <a:gd name="connsiteY70" fmla="*/ 235496 h 900906"/>
                  <a:gd name="connsiteX71" fmla="*/ 0 w 2441576"/>
                  <a:gd name="connsiteY71" fmla="*/ 152052 h 900906"/>
                  <a:gd name="connsiteX72" fmla="*/ 0 w 2441576"/>
                  <a:gd name="connsiteY72" fmla="*/ 83444 h 900906"/>
                  <a:gd name="connsiteX73" fmla="*/ 0 w 2441576"/>
                  <a:gd name="connsiteY73" fmla="*/ 0 h 900906"/>
                  <a:gd name="connsiteX0" fmla="*/ 0 w 2441576"/>
                  <a:gd name="connsiteY0" fmla="*/ 0 h 900906"/>
                  <a:gd name="connsiteX1" fmla="*/ 94270 w 2441576"/>
                  <a:gd name="connsiteY1" fmla="*/ 0 h 900906"/>
                  <a:gd name="connsiteX2" fmla="*/ 185400 w 2441576"/>
                  <a:gd name="connsiteY2" fmla="*/ 0 h 900906"/>
                  <a:gd name="connsiteX3" fmla="*/ 188541 w 2441576"/>
                  <a:gd name="connsiteY3" fmla="*/ 0 h 900906"/>
                  <a:gd name="connsiteX4" fmla="*/ 282811 w 2441576"/>
                  <a:gd name="connsiteY4" fmla="*/ 0 h 900906"/>
                  <a:gd name="connsiteX5" fmla="*/ 377080 w 2441576"/>
                  <a:gd name="connsiteY5" fmla="*/ 0 h 900906"/>
                  <a:gd name="connsiteX6" fmla="*/ 470246 w 2441576"/>
                  <a:gd name="connsiteY6" fmla="*/ 0 h 900906"/>
                  <a:gd name="connsiteX7" fmla="*/ 471351 w 2441576"/>
                  <a:gd name="connsiteY7" fmla="*/ 0 h 900906"/>
                  <a:gd name="connsiteX8" fmla="*/ 581332 w 2441576"/>
                  <a:gd name="connsiteY8" fmla="*/ 0 h 900906"/>
                  <a:gd name="connsiteX9" fmla="*/ 685028 w 2441576"/>
                  <a:gd name="connsiteY9" fmla="*/ 0 h 900906"/>
                  <a:gd name="connsiteX10" fmla="*/ 755093 w 2441576"/>
                  <a:gd name="connsiteY10" fmla="*/ 0 h 900906"/>
                  <a:gd name="connsiteX11" fmla="*/ 969874 w 2441576"/>
                  <a:gd name="connsiteY11" fmla="*/ 0 h 900906"/>
                  <a:gd name="connsiteX12" fmla="*/ 1039939 w 2441576"/>
                  <a:gd name="connsiteY12" fmla="*/ 0 h 900906"/>
                  <a:gd name="connsiteX13" fmla="*/ 1254721 w 2441576"/>
                  <a:gd name="connsiteY13" fmla="*/ 0 h 900906"/>
                  <a:gd name="connsiteX14" fmla="*/ 1324785 w 2441576"/>
                  <a:gd name="connsiteY14" fmla="*/ 0 h 900906"/>
                  <a:gd name="connsiteX15" fmla="*/ 1539566 w 2441576"/>
                  <a:gd name="connsiteY15" fmla="*/ 0 h 900906"/>
                  <a:gd name="connsiteX16" fmla="*/ 1609632 w 2441576"/>
                  <a:gd name="connsiteY16" fmla="*/ 0 h 900906"/>
                  <a:gd name="connsiteX17" fmla="*/ 1824412 w 2441576"/>
                  <a:gd name="connsiteY17" fmla="*/ 0 h 900906"/>
                  <a:gd name="connsiteX18" fmla="*/ 1941949 w 2441576"/>
                  <a:gd name="connsiteY18" fmla="*/ 0 h 900906"/>
                  <a:gd name="connsiteX19" fmla="*/ 2094866 w 2441576"/>
                  <a:gd name="connsiteY19" fmla="*/ 0 h 900906"/>
                  <a:gd name="connsiteX20" fmla="*/ 2176781 w 2441576"/>
                  <a:gd name="connsiteY20" fmla="*/ 0 h 900906"/>
                  <a:gd name="connsiteX21" fmla="*/ 2258696 w 2441576"/>
                  <a:gd name="connsiteY21" fmla="*/ 0 h 900906"/>
                  <a:gd name="connsiteX22" fmla="*/ 2321561 w 2441576"/>
                  <a:gd name="connsiteY22" fmla="*/ 0 h 900906"/>
                  <a:gd name="connsiteX23" fmla="*/ 2441576 w 2441576"/>
                  <a:gd name="connsiteY23" fmla="*/ 0 h 900906"/>
                  <a:gd name="connsiteX24" fmla="*/ 2441576 w 2441576"/>
                  <a:gd name="connsiteY24" fmla="*/ 83444 h 900906"/>
                  <a:gd name="connsiteX25" fmla="*/ 2441576 w 2441576"/>
                  <a:gd name="connsiteY25" fmla="*/ 152052 h 900906"/>
                  <a:gd name="connsiteX26" fmla="*/ 2441576 w 2441576"/>
                  <a:gd name="connsiteY26" fmla="*/ 235496 h 900906"/>
                  <a:gd name="connsiteX27" fmla="*/ 2441576 w 2441576"/>
                  <a:gd name="connsiteY27" fmla="*/ 304104 h 900906"/>
                  <a:gd name="connsiteX28" fmla="*/ 2441576 w 2441576"/>
                  <a:gd name="connsiteY28" fmla="*/ 387548 h 900906"/>
                  <a:gd name="connsiteX29" fmla="*/ 2441576 w 2441576"/>
                  <a:gd name="connsiteY29" fmla="*/ 456156 h 900906"/>
                  <a:gd name="connsiteX30" fmla="*/ 2441576 w 2441576"/>
                  <a:gd name="connsiteY30" fmla="*/ 539600 h 900906"/>
                  <a:gd name="connsiteX31" fmla="*/ 2441576 w 2441576"/>
                  <a:gd name="connsiteY31" fmla="*/ 608208 h 900906"/>
                  <a:gd name="connsiteX32" fmla="*/ 2441576 w 2441576"/>
                  <a:gd name="connsiteY32" fmla="*/ 691652 h 900906"/>
                  <a:gd name="connsiteX33" fmla="*/ 2441576 w 2441576"/>
                  <a:gd name="connsiteY33" fmla="*/ 748854 h 900906"/>
                  <a:gd name="connsiteX34" fmla="*/ 2441576 w 2441576"/>
                  <a:gd name="connsiteY34" fmla="*/ 760260 h 900906"/>
                  <a:gd name="connsiteX35" fmla="*/ 2441576 w 2441576"/>
                  <a:gd name="connsiteY35" fmla="*/ 832298 h 900906"/>
                  <a:gd name="connsiteX36" fmla="*/ 2441576 w 2441576"/>
                  <a:gd name="connsiteY36" fmla="*/ 900906 h 900906"/>
                  <a:gd name="connsiteX37" fmla="*/ 2321561 w 2441576"/>
                  <a:gd name="connsiteY37" fmla="*/ 900906 h 900906"/>
                  <a:gd name="connsiteX38" fmla="*/ 2239646 w 2441576"/>
                  <a:gd name="connsiteY38" fmla="*/ 900906 h 900906"/>
                  <a:gd name="connsiteX39" fmla="*/ 2176781 w 2441576"/>
                  <a:gd name="connsiteY39" fmla="*/ 900906 h 900906"/>
                  <a:gd name="connsiteX40" fmla="*/ 2109259 w 2441576"/>
                  <a:gd name="connsiteY40" fmla="*/ 900906 h 900906"/>
                  <a:gd name="connsiteX41" fmla="*/ 1941949 w 2441576"/>
                  <a:gd name="connsiteY41" fmla="*/ 900906 h 900906"/>
                  <a:gd name="connsiteX42" fmla="*/ 1824412 w 2441576"/>
                  <a:gd name="connsiteY42" fmla="*/ 900906 h 900906"/>
                  <a:gd name="connsiteX43" fmla="*/ 1609632 w 2441576"/>
                  <a:gd name="connsiteY43" fmla="*/ 900906 h 900906"/>
                  <a:gd name="connsiteX44" fmla="*/ 1539566 w 2441576"/>
                  <a:gd name="connsiteY44" fmla="*/ 900906 h 900906"/>
                  <a:gd name="connsiteX45" fmla="*/ 1324785 w 2441576"/>
                  <a:gd name="connsiteY45" fmla="*/ 900906 h 900906"/>
                  <a:gd name="connsiteX46" fmla="*/ 1254721 w 2441576"/>
                  <a:gd name="connsiteY46" fmla="*/ 900906 h 900906"/>
                  <a:gd name="connsiteX47" fmla="*/ 1039939 w 2441576"/>
                  <a:gd name="connsiteY47" fmla="*/ 900906 h 900906"/>
                  <a:gd name="connsiteX48" fmla="*/ 969874 w 2441576"/>
                  <a:gd name="connsiteY48" fmla="*/ 900906 h 900906"/>
                  <a:gd name="connsiteX49" fmla="*/ 755093 w 2441576"/>
                  <a:gd name="connsiteY49" fmla="*/ 900906 h 900906"/>
                  <a:gd name="connsiteX50" fmla="*/ 685028 w 2441576"/>
                  <a:gd name="connsiteY50" fmla="*/ 900906 h 900906"/>
                  <a:gd name="connsiteX51" fmla="*/ 581332 w 2441576"/>
                  <a:gd name="connsiteY51" fmla="*/ 900906 h 900906"/>
                  <a:gd name="connsiteX52" fmla="*/ 471351 w 2441576"/>
                  <a:gd name="connsiteY52" fmla="*/ 900906 h 900906"/>
                  <a:gd name="connsiteX53" fmla="*/ 470246 w 2441576"/>
                  <a:gd name="connsiteY53" fmla="*/ 900906 h 900906"/>
                  <a:gd name="connsiteX54" fmla="*/ 377080 w 2441576"/>
                  <a:gd name="connsiteY54" fmla="*/ 900906 h 900906"/>
                  <a:gd name="connsiteX55" fmla="*/ 282811 w 2441576"/>
                  <a:gd name="connsiteY55" fmla="*/ 900906 h 900906"/>
                  <a:gd name="connsiteX56" fmla="*/ 188541 w 2441576"/>
                  <a:gd name="connsiteY56" fmla="*/ 900906 h 900906"/>
                  <a:gd name="connsiteX57" fmla="*/ 185400 w 2441576"/>
                  <a:gd name="connsiteY57" fmla="*/ 900906 h 900906"/>
                  <a:gd name="connsiteX58" fmla="*/ 94270 w 2441576"/>
                  <a:gd name="connsiteY58" fmla="*/ 900906 h 900906"/>
                  <a:gd name="connsiteX59" fmla="*/ 0 w 2441576"/>
                  <a:gd name="connsiteY59" fmla="*/ 900906 h 900906"/>
                  <a:gd name="connsiteX60" fmla="*/ 0 w 2441576"/>
                  <a:gd name="connsiteY60" fmla="*/ 832298 h 900906"/>
                  <a:gd name="connsiteX61" fmla="*/ 0 w 2441576"/>
                  <a:gd name="connsiteY61" fmla="*/ 760260 h 900906"/>
                  <a:gd name="connsiteX62" fmla="*/ 0 w 2441576"/>
                  <a:gd name="connsiteY62" fmla="*/ 748854 h 900906"/>
                  <a:gd name="connsiteX63" fmla="*/ 0 w 2441576"/>
                  <a:gd name="connsiteY63" fmla="*/ 691652 h 900906"/>
                  <a:gd name="connsiteX64" fmla="*/ 0 w 2441576"/>
                  <a:gd name="connsiteY64" fmla="*/ 608208 h 900906"/>
                  <a:gd name="connsiteX65" fmla="*/ 0 w 2441576"/>
                  <a:gd name="connsiteY65" fmla="*/ 539600 h 900906"/>
                  <a:gd name="connsiteX66" fmla="*/ 0 w 2441576"/>
                  <a:gd name="connsiteY66" fmla="*/ 456156 h 900906"/>
                  <a:gd name="connsiteX67" fmla="*/ 0 w 2441576"/>
                  <a:gd name="connsiteY67" fmla="*/ 387548 h 900906"/>
                  <a:gd name="connsiteX68" fmla="*/ 0 w 2441576"/>
                  <a:gd name="connsiteY68" fmla="*/ 304104 h 900906"/>
                  <a:gd name="connsiteX69" fmla="*/ 0 w 2441576"/>
                  <a:gd name="connsiteY69" fmla="*/ 235496 h 900906"/>
                  <a:gd name="connsiteX70" fmla="*/ 0 w 2441576"/>
                  <a:gd name="connsiteY70" fmla="*/ 152052 h 900906"/>
                  <a:gd name="connsiteX71" fmla="*/ 0 w 2441576"/>
                  <a:gd name="connsiteY71" fmla="*/ 83444 h 900906"/>
                  <a:gd name="connsiteX72" fmla="*/ 0 w 2441576"/>
                  <a:gd name="connsiteY72" fmla="*/ 0 h 900906"/>
                  <a:gd name="connsiteX0" fmla="*/ 0 w 2441576"/>
                  <a:gd name="connsiteY0" fmla="*/ 0 h 900906"/>
                  <a:gd name="connsiteX1" fmla="*/ 94270 w 2441576"/>
                  <a:gd name="connsiteY1" fmla="*/ 0 h 900906"/>
                  <a:gd name="connsiteX2" fmla="*/ 185400 w 2441576"/>
                  <a:gd name="connsiteY2" fmla="*/ 0 h 900906"/>
                  <a:gd name="connsiteX3" fmla="*/ 188541 w 2441576"/>
                  <a:gd name="connsiteY3" fmla="*/ 0 h 900906"/>
                  <a:gd name="connsiteX4" fmla="*/ 282811 w 2441576"/>
                  <a:gd name="connsiteY4" fmla="*/ 0 h 900906"/>
                  <a:gd name="connsiteX5" fmla="*/ 377080 w 2441576"/>
                  <a:gd name="connsiteY5" fmla="*/ 0 h 900906"/>
                  <a:gd name="connsiteX6" fmla="*/ 470246 w 2441576"/>
                  <a:gd name="connsiteY6" fmla="*/ 0 h 900906"/>
                  <a:gd name="connsiteX7" fmla="*/ 471351 w 2441576"/>
                  <a:gd name="connsiteY7" fmla="*/ 0 h 900906"/>
                  <a:gd name="connsiteX8" fmla="*/ 581332 w 2441576"/>
                  <a:gd name="connsiteY8" fmla="*/ 0 h 900906"/>
                  <a:gd name="connsiteX9" fmla="*/ 685028 w 2441576"/>
                  <a:gd name="connsiteY9" fmla="*/ 0 h 900906"/>
                  <a:gd name="connsiteX10" fmla="*/ 755093 w 2441576"/>
                  <a:gd name="connsiteY10" fmla="*/ 0 h 900906"/>
                  <a:gd name="connsiteX11" fmla="*/ 969874 w 2441576"/>
                  <a:gd name="connsiteY11" fmla="*/ 0 h 900906"/>
                  <a:gd name="connsiteX12" fmla="*/ 1039939 w 2441576"/>
                  <a:gd name="connsiteY12" fmla="*/ 0 h 900906"/>
                  <a:gd name="connsiteX13" fmla="*/ 1254721 w 2441576"/>
                  <a:gd name="connsiteY13" fmla="*/ 0 h 900906"/>
                  <a:gd name="connsiteX14" fmla="*/ 1324785 w 2441576"/>
                  <a:gd name="connsiteY14" fmla="*/ 0 h 900906"/>
                  <a:gd name="connsiteX15" fmla="*/ 1539566 w 2441576"/>
                  <a:gd name="connsiteY15" fmla="*/ 0 h 900906"/>
                  <a:gd name="connsiteX16" fmla="*/ 1609632 w 2441576"/>
                  <a:gd name="connsiteY16" fmla="*/ 0 h 900906"/>
                  <a:gd name="connsiteX17" fmla="*/ 1824412 w 2441576"/>
                  <a:gd name="connsiteY17" fmla="*/ 0 h 900906"/>
                  <a:gd name="connsiteX18" fmla="*/ 1941949 w 2441576"/>
                  <a:gd name="connsiteY18" fmla="*/ 0 h 900906"/>
                  <a:gd name="connsiteX19" fmla="*/ 2094866 w 2441576"/>
                  <a:gd name="connsiteY19" fmla="*/ 0 h 900906"/>
                  <a:gd name="connsiteX20" fmla="*/ 2176781 w 2441576"/>
                  <a:gd name="connsiteY20" fmla="*/ 0 h 900906"/>
                  <a:gd name="connsiteX21" fmla="*/ 2258696 w 2441576"/>
                  <a:gd name="connsiteY21" fmla="*/ 0 h 900906"/>
                  <a:gd name="connsiteX22" fmla="*/ 2321561 w 2441576"/>
                  <a:gd name="connsiteY22" fmla="*/ 0 h 900906"/>
                  <a:gd name="connsiteX23" fmla="*/ 2441576 w 2441576"/>
                  <a:gd name="connsiteY23" fmla="*/ 0 h 900906"/>
                  <a:gd name="connsiteX24" fmla="*/ 2441576 w 2441576"/>
                  <a:gd name="connsiteY24" fmla="*/ 83444 h 900906"/>
                  <a:gd name="connsiteX25" fmla="*/ 2441576 w 2441576"/>
                  <a:gd name="connsiteY25" fmla="*/ 152052 h 900906"/>
                  <a:gd name="connsiteX26" fmla="*/ 2441576 w 2441576"/>
                  <a:gd name="connsiteY26" fmla="*/ 235496 h 900906"/>
                  <a:gd name="connsiteX27" fmla="*/ 2441576 w 2441576"/>
                  <a:gd name="connsiteY27" fmla="*/ 304104 h 900906"/>
                  <a:gd name="connsiteX28" fmla="*/ 2441576 w 2441576"/>
                  <a:gd name="connsiteY28" fmla="*/ 387548 h 900906"/>
                  <a:gd name="connsiteX29" fmla="*/ 2441576 w 2441576"/>
                  <a:gd name="connsiteY29" fmla="*/ 456156 h 900906"/>
                  <a:gd name="connsiteX30" fmla="*/ 2441576 w 2441576"/>
                  <a:gd name="connsiteY30" fmla="*/ 539600 h 900906"/>
                  <a:gd name="connsiteX31" fmla="*/ 2441576 w 2441576"/>
                  <a:gd name="connsiteY31" fmla="*/ 608208 h 900906"/>
                  <a:gd name="connsiteX32" fmla="*/ 2441576 w 2441576"/>
                  <a:gd name="connsiteY32" fmla="*/ 691652 h 900906"/>
                  <a:gd name="connsiteX33" fmla="*/ 2441576 w 2441576"/>
                  <a:gd name="connsiteY33" fmla="*/ 760260 h 900906"/>
                  <a:gd name="connsiteX34" fmla="*/ 2441576 w 2441576"/>
                  <a:gd name="connsiteY34" fmla="*/ 832298 h 900906"/>
                  <a:gd name="connsiteX35" fmla="*/ 2441576 w 2441576"/>
                  <a:gd name="connsiteY35" fmla="*/ 900906 h 900906"/>
                  <a:gd name="connsiteX36" fmla="*/ 2321561 w 2441576"/>
                  <a:gd name="connsiteY36" fmla="*/ 900906 h 900906"/>
                  <a:gd name="connsiteX37" fmla="*/ 2239646 w 2441576"/>
                  <a:gd name="connsiteY37" fmla="*/ 900906 h 900906"/>
                  <a:gd name="connsiteX38" fmla="*/ 2176781 w 2441576"/>
                  <a:gd name="connsiteY38" fmla="*/ 900906 h 900906"/>
                  <a:gd name="connsiteX39" fmla="*/ 2109259 w 2441576"/>
                  <a:gd name="connsiteY39" fmla="*/ 900906 h 900906"/>
                  <a:gd name="connsiteX40" fmla="*/ 1941949 w 2441576"/>
                  <a:gd name="connsiteY40" fmla="*/ 900906 h 900906"/>
                  <a:gd name="connsiteX41" fmla="*/ 1824412 w 2441576"/>
                  <a:gd name="connsiteY41" fmla="*/ 900906 h 900906"/>
                  <a:gd name="connsiteX42" fmla="*/ 1609632 w 2441576"/>
                  <a:gd name="connsiteY42" fmla="*/ 900906 h 900906"/>
                  <a:gd name="connsiteX43" fmla="*/ 1539566 w 2441576"/>
                  <a:gd name="connsiteY43" fmla="*/ 900906 h 900906"/>
                  <a:gd name="connsiteX44" fmla="*/ 1324785 w 2441576"/>
                  <a:gd name="connsiteY44" fmla="*/ 900906 h 900906"/>
                  <a:gd name="connsiteX45" fmla="*/ 1254721 w 2441576"/>
                  <a:gd name="connsiteY45" fmla="*/ 900906 h 900906"/>
                  <a:gd name="connsiteX46" fmla="*/ 1039939 w 2441576"/>
                  <a:gd name="connsiteY46" fmla="*/ 900906 h 900906"/>
                  <a:gd name="connsiteX47" fmla="*/ 969874 w 2441576"/>
                  <a:gd name="connsiteY47" fmla="*/ 900906 h 900906"/>
                  <a:gd name="connsiteX48" fmla="*/ 755093 w 2441576"/>
                  <a:gd name="connsiteY48" fmla="*/ 900906 h 900906"/>
                  <a:gd name="connsiteX49" fmla="*/ 685028 w 2441576"/>
                  <a:gd name="connsiteY49" fmla="*/ 900906 h 900906"/>
                  <a:gd name="connsiteX50" fmla="*/ 581332 w 2441576"/>
                  <a:gd name="connsiteY50" fmla="*/ 900906 h 900906"/>
                  <a:gd name="connsiteX51" fmla="*/ 471351 w 2441576"/>
                  <a:gd name="connsiteY51" fmla="*/ 900906 h 900906"/>
                  <a:gd name="connsiteX52" fmla="*/ 470246 w 2441576"/>
                  <a:gd name="connsiteY52" fmla="*/ 900906 h 900906"/>
                  <a:gd name="connsiteX53" fmla="*/ 377080 w 2441576"/>
                  <a:gd name="connsiteY53" fmla="*/ 900906 h 900906"/>
                  <a:gd name="connsiteX54" fmla="*/ 282811 w 2441576"/>
                  <a:gd name="connsiteY54" fmla="*/ 900906 h 900906"/>
                  <a:gd name="connsiteX55" fmla="*/ 188541 w 2441576"/>
                  <a:gd name="connsiteY55" fmla="*/ 900906 h 900906"/>
                  <a:gd name="connsiteX56" fmla="*/ 185400 w 2441576"/>
                  <a:gd name="connsiteY56" fmla="*/ 900906 h 900906"/>
                  <a:gd name="connsiteX57" fmla="*/ 94270 w 2441576"/>
                  <a:gd name="connsiteY57" fmla="*/ 900906 h 900906"/>
                  <a:gd name="connsiteX58" fmla="*/ 0 w 2441576"/>
                  <a:gd name="connsiteY58" fmla="*/ 900906 h 900906"/>
                  <a:gd name="connsiteX59" fmla="*/ 0 w 2441576"/>
                  <a:gd name="connsiteY59" fmla="*/ 832298 h 900906"/>
                  <a:gd name="connsiteX60" fmla="*/ 0 w 2441576"/>
                  <a:gd name="connsiteY60" fmla="*/ 760260 h 900906"/>
                  <a:gd name="connsiteX61" fmla="*/ 0 w 2441576"/>
                  <a:gd name="connsiteY61" fmla="*/ 748854 h 900906"/>
                  <a:gd name="connsiteX62" fmla="*/ 0 w 2441576"/>
                  <a:gd name="connsiteY62" fmla="*/ 691652 h 900906"/>
                  <a:gd name="connsiteX63" fmla="*/ 0 w 2441576"/>
                  <a:gd name="connsiteY63" fmla="*/ 608208 h 900906"/>
                  <a:gd name="connsiteX64" fmla="*/ 0 w 2441576"/>
                  <a:gd name="connsiteY64" fmla="*/ 539600 h 900906"/>
                  <a:gd name="connsiteX65" fmla="*/ 0 w 2441576"/>
                  <a:gd name="connsiteY65" fmla="*/ 456156 h 900906"/>
                  <a:gd name="connsiteX66" fmla="*/ 0 w 2441576"/>
                  <a:gd name="connsiteY66" fmla="*/ 387548 h 900906"/>
                  <a:gd name="connsiteX67" fmla="*/ 0 w 2441576"/>
                  <a:gd name="connsiteY67" fmla="*/ 304104 h 900906"/>
                  <a:gd name="connsiteX68" fmla="*/ 0 w 2441576"/>
                  <a:gd name="connsiteY68" fmla="*/ 235496 h 900906"/>
                  <a:gd name="connsiteX69" fmla="*/ 0 w 2441576"/>
                  <a:gd name="connsiteY69" fmla="*/ 152052 h 900906"/>
                  <a:gd name="connsiteX70" fmla="*/ 0 w 2441576"/>
                  <a:gd name="connsiteY70" fmla="*/ 83444 h 900906"/>
                  <a:gd name="connsiteX71" fmla="*/ 0 w 2441576"/>
                  <a:gd name="connsiteY71" fmla="*/ 0 h 900906"/>
                  <a:gd name="connsiteX0" fmla="*/ 0 w 2441576"/>
                  <a:gd name="connsiteY0" fmla="*/ 0 h 900906"/>
                  <a:gd name="connsiteX1" fmla="*/ 94270 w 2441576"/>
                  <a:gd name="connsiteY1" fmla="*/ 0 h 900906"/>
                  <a:gd name="connsiteX2" fmla="*/ 185400 w 2441576"/>
                  <a:gd name="connsiteY2" fmla="*/ 0 h 900906"/>
                  <a:gd name="connsiteX3" fmla="*/ 188541 w 2441576"/>
                  <a:gd name="connsiteY3" fmla="*/ 0 h 900906"/>
                  <a:gd name="connsiteX4" fmla="*/ 282811 w 2441576"/>
                  <a:gd name="connsiteY4" fmla="*/ 0 h 900906"/>
                  <a:gd name="connsiteX5" fmla="*/ 377080 w 2441576"/>
                  <a:gd name="connsiteY5" fmla="*/ 0 h 900906"/>
                  <a:gd name="connsiteX6" fmla="*/ 470246 w 2441576"/>
                  <a:gd name="connsiteY6" fmla="*/ 0 h 900906"/>
                  <a:gd name="connsiteX7" fmla="*/ 471351 w 2441576"/>
                  <a:gd name="connsiteY7" fmla="*/ 0 h 900906"/>
                  <a:gd name="connsiteX8" fmla="*/ 581332 w 2441576"/>
                  <a:gd name="connsiteY8" fmla="*/ 0 h 900906"/>
                  <a:gd name="connsiteX9" fmla="*/ 685028 w 2441576"/>
                  <a:gd name="connsiteY9" fmla="*/ 0 h 900906"/>
                  <a:gd name="connsiteX10" fmla="*/ 755093 w 2441576"/>
                  <a:gd name="connsiteY10" fmla="*/ 0 h 900906"/>
                  <a:gd name="connsiteX11" fmla="*/ 969874 w 2441576"/>
                  <a:gd name="connsiteY11" fmla="*/ 0 h 900906"/>
                  <a:gd name="connsiteX12" fmla="*/ 1039939 w 2441576"/>
                  <a:gd name="connsiteY12" fmla="*/ 0 h 900906"/>
                  <a:gd name="connsiteX13" fmla="*/ 1254721 w 2441576"/>
                  <a:gd name="connsiteY13" fmla="*/ 0 h 900906"/>
                  <a:gd name="connsiteX14" fmla="*/ 1324785 w 2441576"/>
                  <a:gd name="connsiteY14" fmla="*/ 0 h 900906"/>
                  <a:gd name="connsiteX15" fmla="*/ 1539566 w 2441576"/>
                  <a:gd name="connsiteY15" fmla="*/ 0 h 900906"/>
                  <a:gd name="connsiteX16" fmla="*/ 1609632 w 2441576"/>
                  <a:gd name="connsiteY16" fmla="*/ 0 h 900906"/>
                  <a:gd name="connsiteX17" fmla="*/ 1824412 w 2441576"/>
                  <a:gd name="connsiteY17" fmla="*/ 0 h 900906"/>
                  <a:gd name="connsiteX18" fmla="*/ 1941949 w 2441576"/>
                  <a:gd name="connsiteY18" fmla="*/ 0 h 900906"/>
                  <a:gd name="connsiteX19" fmla="*/ 2094866 w 2441576"/>
                  <a:gd name="connsiteY19" fmla="*/ 0 h 900906"/>
                  <a:gd name="connsiteX20" fmla="*/ 2176781 w 2441576"/>
                  <a:gd name="connsiteY20" fmla="*/ 0 h 900906"/>
                  <a:gd name="connsiteX21" fmla="*/ 2258696 w 2441576"/>
                  <a:gd name="connsiteY21" fmla="*/ 0 h 900906"/>
                  <a:gd name="connsiteX22" fmla="*/ 2321561 w 2441576"/>
                  <a:gd name="connsiteY22" fmla="*/ 0 h 900906"/>
                  <a:gd name="connsiteX23" fmla="*/ 2441576 w 2441576"/>
                  <a:gd name="connsiteY23" fmla="*/ 0 h 900906"/>
                  <a:gd name="connsiteX24" fmla="*/ 2441576 w 2441576"/>
                  <a:gd name="connsiteY24" fmla="*/ 83444 h 900906"/>
                  <a:gd name="connsiteX25" fmla="*/ 2441576 w 2441576"/>
                  <a:gd name="connsiteY25" fmla="*/ 152052 h 900906"/>
                  <a:gd name="connsiteX26" fmla="*/ 2441576 w 2441576"/>
                  <a:gd name="connsiteY26" fmla="*/ 235496 h 900906"/>
                  <a:gd name="connsiteX27" fmla="*/ 2441576 w 2441576"/>
                  <a:gd name="connsiteY27" fmla="*/ 304104 h 900906"/>
                  <a:gd name="connsiteX28" fmla="*/ 2441576 w 2441576"/>
                  <a:gd name="connsiteY28" fmla="*/ 387548 h 900906"/>
                  <a:gd name="connsiteX29" fmla="*/ 2441576 w 2441576"/>
                  <a:gd name="connsiteY29" fmla="*/ 456156 h 900906"/>
                  <a:gd name="connsiteX30" fmla="*/ 2441576 w 2441576"/>
                  <a:gd name="connsiteY30" fmla="*/ 539600 h 900906"/>
                  <a:gd name="connsiteX31" fmla="*/ 2441576 w 2441576"/>
                  <a:gd name="connsiteY31" fmla="*/ 608208 h 900906"/>
                  <a:gd name="connsiteX32" fmla="*/ 2441576 w 2441576"/>
                  <a:gd name="connsiteY32" fmla="*/ 691652 h 900906"/>
                  <a:gd name="connsiteX33" fmla="*/ 2441576 w 2441576"/>
                  <a:gd name="connsiteY33" fmla="*/ 760260 h 900906"/>
                  <a:gd name="connsiteX34" fmla="*/ 2441576 w 2441576"/>
                  <a:gd name="connsiteY34" fmla="*/ 832298 h 900906"/>
                  <a:gd name="connsiteX35" fmla="*/ 2441576 w 2441576"/>
                  <a:gd name="connsiteY35" fmla="*/ 900906 h 900906"/>
                  <a:gd name="connsiteX36" fmla="*/ 2321561 w 2441576"/>
                  <a:gd name="connsiteY36" fmla="*/ 900906 h 900906"/>
                  <a:gd name="connsiteX37" fmla="*/ 2239646 w 2441576"/>
                  <a:gd name="connsiteY37" fmla="*/ 900906 h 900906"/>
                  <a:gd name="connsiteX38" fmla="*/ 2176781 w 2441576"/>
                  <a:gd name="connsiteY38" fmla="*/ 900906 h 900906"/>
                  <a:gd name="connsiteX39" fmla="*/ 2109259 w 2441576"/>
                  <a:gd name="connsiteY39" fmla="*/ 900906 h 900906"/>
                  <a:gd name="connsiteX40" fmla="*/ 1941949 w 2441576"/>
                  <a:gd name="connsiteY40" fmla="*/ 900906 h 900906"/>
                  <a:gd name="connsiteX41" fmla="*/ 1824412 w 2441576"/>
                  <a:gd name="connsiteY41" fmla="*/ 900906 h 900906"/>
                  <a:gd name="connsiteX42" fmla="*/ 1609632 w 2441576"/>
                  <a:gd name="connsiteY42" fmla="*/ 900906 h 900906"/>
                  <a:gd name="connsiteX43" fmla="*/ 1539566 w 2441576"/>
                  <a:gd name="connsiteY43" fmla="*/ 900906 h 900906"/>
                  <a:gd name="connsiteX44" fmla="*/ 1324785 w 2441576"/>
                  <a:gd name="connsiteY44" fmla="*/ 900906 h 900906"/>
                  <a:gd name="connsiteX45" fmla="*/ 1254721 w 2441576"/>
                  <a:gd name="connsiteY45" fmla="*/ 900906 h 900906"/>
                  <a:gd name="connsiteX46" fmla="*/ 1039939 w 2441576"/>
                  <a:gd name="connsiteY46" fmla="*/ 900906 h 900906"/>
                  <a:gd name="connsiteX47" fmla="*/ 969874 w 2441576"/>
                  <a:gd name="connsiteY47" fmla="*/ 900906 h 900906"/>
                  <a:gd name="connsiteX48" fmla="*/ 755093 w 2441576"/>
                  <a:gd name="connsiteY48" fmla="*/ 900906 h 900906"/>
                  <a:gd name="connsiteX49" fmla="*/ 685028 w 2441576"/>
                  <a:gd name="connsiteY49" fmla="*/ 900906 h 900906"/>
                  <a:gd name="connsiteX50" fmla="*/ 581332 w 2441576"/>
                  <a:gd name="connsiteY50" fmla="*/ 900906 h 900906"/>
                  <a:gd name="connsiteX51" fmla="*/ 471351 w 2441576"/>
                  <a:gd name="connsiteY51" fmla="*/ 900906 h 900906"/>
                  <a:gd name="connsiteX52" fmla="*/ 470246 w 2441576"/>
                  <a:gd name="connsiteY52" fmla="*/ 900906 h 900906"/>
                  <a:gd name="connsiteX53" fmla="*/ 377080 w 2441576"/>
                  <a:gd name="connsiteY53" fmla="*/ 900906 h 900906"/>
                  <a:gd name="connsiteX54" fmla="*/ 282811 w 2441576"/>
                  <a:gd name="connsiteY54" fmla="*/ 900906 h 900906"/>
                  <a:gd name="connsiteX55" fmla="*/ 188541 w 2441576"/>
                  <a:gd name="connsiteY55" fmla="*/ 900906 h 900906"/>
                  <a:gd name="connsiteX56" fmla="*/ 185400 w 2441576"/>
                  <a:gd name="connsiteY56" fmla="*/ 900906 h 900906"/>
                  <a:gd name="connsiteX57" fmla="*/ 94270 w 2441576"/>
                  <a:gd name="connsiteY57" fmla="*/ 900906 h 900906"/>
                  <a:gd name="connsiteX58" fmla="*/ 0 w 2441576"/>
                  <a:gd name="connsiteY58" fmla="*/ 900906 h 900906"/>
                  <a:gd name="connsiteX59" fmla="*/ 0 w 2441576"/>
                  <a:gd name="connsiteY59" fmla="*/ 832298 h 900906"/>
                  <a:gd name="connsiteX60" fmla="*/ 0 w 2441576"/>
                  <a:gd name="connsiteY60" fmla="*/ 760260 h 900906"/>
                  <a:gd name="connsiteX61" fmla="*/ 0 w 2441576"/>
                  <a:gd name="connsiteY61" fmla="*/ 691652 h 900906"/>
                  <a:gd name="connsiteX62" fmla="*/ 0 w 2441576"/>
                  <a:gd name="connsiteY62" fmla="*/ 608208 h 900906"/>
                  <a:gd name="connsiteX63" fmla="*/ 0 w 2441576"/>
                  <a:gd name="connsiteY63" fmla="*/ 539600 h 900906"/>
                  <a:gd name="connsiteX64" fmla="*/ 0 w 2441576"/>
                  <a:gd name="connsiteY64" fmla="*/ 456156 h 900906"/>
                  <a:gd name="connsiteX65" fmla="*/ 0 w 2441576"/>
                  <a:gd name="connsiteY65" fmla="*/ 387548 h 900906"/>
                  <a:gd name="connsiteX66" fmla="*/ 0 w 2441576"/>
                  <a:gd name="connsiteY66" fmla="*/ 304104 h 900906"/>
                  <a:gd name="connsiteX67" fmla="*/ 0 w 2441576"/>
                  <a:gd name="connsiteY67" fmla="*/ 235496 h 900906"/>
                  <a:gd name="connsiteX68" fmla="*/ 0 w 2441576"/>
                  <a:gd name="connsiteY68" fmla="*/ 152052 h 900906"/>
                  <a:gd name="connsiteX69" fmla="*/ 0 w 2441576"/>
                  <a:gd name="connsiteY69" fmla="*/ 83444 h 900906"/>
                  <a:gd name="connsiteX70" fmla="*/ 0 w 2441576"/>
                  <a:gd name="connsiteY70" fmla="*/ 0 h 900906"/>
                  <a:gd name="connsiteX0" fmla="*/ 0 w 2441576"/>
                  <a:gd name="connsiteY0" fmla="*/ 247 h 901153"/>
                  <a:gd name="connsiteX1" fmla="*/ 94270 w 2441576"/>
                  <a:gd name="connsiteY1" fmla="*/ 247 h 901153"/>
                  <a:gd name="connsiteX2" fmla="*/ 185400 w 2441576"/>
                  <a:gd name="connsiteY2" fmla="*/ 247 h 901153"/>
                  <a:gd name="connsiteX3" fmla="*/ 188541 w 2441576"/>
                  <a:gd name="connsiteY3" fmla="*/ 247 h 901153"/>
                  <a:gd name="connsiteX4" fmla="*/ 282811 w 2441576"/>
                  <a:gd name="connsiteY4" fmla="*/ 247 h 901153"/>
                  <a:gd name="connsiteX5" fmla="*/ 377080 w 2441576"/>
                  <a:gd name="connsiteY5" fmla="*/ 247 h 901153"/>
                  <a:gd name="connsiteX6" fmla="*/ 470246 w 2441576"/>
                  <a:gd name="connsiteY6" fmla="*/ 247 h 901153"/>
                  <a:gd name="connsiteX7" fmla="*/ 471351 w 2441576"/>
                  <a:gd name="connsiteY7" fmla="*/ 247 h 901153"/>
                  <a:gd name="connsiteX8" fmla="*/ 581332 w 2441576"/>
                  <a:gd name="connsiteY8" fmla="*/ 247 h 901153"/>
                  <a:gd name="connsiteX9" fmla="*/ 685028 w 2441576"/>
                  <a:gd name="connsiteY9" fmla="*/ 247 h 901153"/>
                  <a:gd name="connsiteX10" fmla="*/ 755093 w 2441576"/>
                  <a:gd name="connsiteY10" fmla="*/ 247 h 901153"/>
                  <a:gd name="connsiteX11" fmla="*/ 969874 w 2441576"/>
                  <a:gd name="connsiteY11" fmla="*/ 247 h 901153"/>
                  <a:gd name="connsiteX12" fmla="*/ 1039939 w 2441576"/>
                  <a:gd name="connsiteY12" fmla="*/ 247 h 901153"/>
                  <a:gd name="connsiteX13" fmla="*/ 1254721 w 2441576"/>
                  <a:gd name="connsiteY13" fmla="*/ 247 h 901153"/>
                  <a:gd name="connsiteX14" fmla="*/ 1324785 w 2441576"/>
                  <a:gd name="connsiteY14" fmla="*/ 247 h 901153"/>
                  <a:gd name="connsiteX15" fmla="*/ 1430031 w 2441576"/>
                  <a:gd name="connsiteY15" fmla="*/ 0 h 901153"/>
                  <a:gd name="connsiteX16" fmla="*/ 1539566 w 2441576"/>
                  <a:gd name="connsiteY16" fmla="*/ 247 h 901153"/>
                  <a:gd name="connsiteX17" fmla="*/ 1609632 w 2441576"/>
                  <a:gd name="connsiteY17" fmla="*/ 247 h 901153"/>
                  <a:gd name="connsiteX18" fmla="*/ 1824412 w 2441576"/>
                  <a:gd name="connsiteY18" fmla="*/ 247 h 901153"/>
                  <a:gd name="connsiteX19" fmla="*/ 1941949 w 2441576"/>
                  <a:gd name="connsiteY19" fmla="*/ 247 h 901153"/>
                  <a:gd name="connsiteX20" fmla="*/ 2094866 w 2441576"/>
                  <a:gd name="connsiteY20" fmla="*/ 247 h 901153"/>
                  <a:gd name="connsiteX21" fmla="*/ 2176781 w 2441576"/>
                  <a:gd name="connsiteY21" fmla="*/ 247 h 901153"/>
                  <a:gd name="connsiteX22" fmla="*/ 2258696 w 2441576"/>
                  <a:gd name="connsiteY22" fmla="*/ 247 h 901153"/>
                  <a:gd name="connsiteX23" fmla="*/ 2321561 w 2441576"/>
                  <a:gd name="connsiteY23" fmla="*/ 247 h 901153"/>
                  <a:gd name="connsiteX24" fmla="*/ 2441576 w 2441576"/>
                  <a:gd name="connsiteY24" fmla="*/ 247 h 901153"/>
                  <a:gd name="connsiteX25" fmla="*/ 2441576 w 2441576"/>
                  <a:gd name="connsiteY25" fmla="*/ 83691 h 901153"/>
                  <a:gd name="connsiteX26" fmla="*/ 2441576 w 2441576"/>
                  <a:gd name="connsiteY26" fmla="*/ 152299 h 901153"/>
                  <a:gd name="connsiteX27" fmla="*/ 2441576 w 2441576"/>
                  <a:gd name="connsiteY27" fmla="*/ 235743 h 901153"/>
                  <a:gd name="connsiteX28" fmla="*/ 2441576 w 2441576"/>
                  <a:gd name="connsiteY28" fmla="*/ 304351 h 901153"/>
                  <a:gd name="connsiteX29" fmla="*/ 2441576 w 2441576"/>
                  <a:gd name="connsiteY29" fmla="*/ 387795 h 901153"/>
                  <a:gd name="connsiteX30" fmla="*/ 2441576 w 2441576"/>
                  <a:gd name="connsiteY30" fmla="*/ 456403 h 901153"/>
                  <a:gd name="connsiteX31" fmla="*/ 2441576 w 2441576"/>
                  <a:gd name="connsiteY31" fmla="*/ 539847 h 901153"/>
                  <a:gd name="connsiteX32" fmla="*/ 2441576 w 2441576"/>
                  <a:gd name="connsiteY32" fmla="*/ 608455 h 901153"/>
                  <a:gd name="connsiteX33" fmla="*/ 2441576 w 2441576"/>
                  <a:gd name="connsiteY33" fmla="*/ 691899 h 901153"/>
                  <a:gd name="connsiteX34" fmla="*/ 2441576 w 2441576"/>
                  <a:gd name="connsiteY34" fmla="*/ 760507 h 901153"/>
                  <a:gd name="connsiteX35" fmla="*/ 2441576 w 2441576"/>
                  <a:gd name="connsiteY35" fmla="*/ 832545 h 901153"/>
                  <a:gd name="connsiteX36" fmla="*/ 2441576 w 2441576"/>
                  <a:gd name="connsiteY36" fmla="*/ 901153 h 901153"/>
                  <a:gd name="connsiteX37" fmla="*/ 2321561 w 2441576"/>
                  <a:gd name="connsiteY37" fmla="*/ 901153 h 901153"/>
                  <a:gd name="connsiteX38" fmla="*/ 2239646 w 2441576"/>
                  <a:gd name="connsiteY38" fmla="*/ 901153 h 901153"/>
                  <a:gd name="connsiteX39" fmla="*/ 2176781 w 2441576"/>
                  <a:gd name="connsiteY39" fmla="*/ 901153 h 901153"/>
                  <a:gd name="connsiteX40" fmla="*/ 2109259 w 2441576"/>
                  <a:gd name="connsiteY40" fmla="*/ 901153 h 901153"/>
                  <a:gd name="connsiteX41" fmla="*/ 1941949 w 2441576"/>
                  <a:gd name="connsiteY41" fmla="*/ 901153 h 901153"/>
                  <a:gd name="connsiteX42" fmla="*/ 1824412 w 2441576"/>
                  <a:gd name="connsiteY42" fmla="*/ 901153 h 901153"/>
                  <a:gd name="connsiteX43" fmla="*/ 1609632 w 2441576"/>
                  <a:gd name="connsiteY43" fmla="*/ 901153 h 901153"/>
                  <a:gd name="connsiteX44" fmla="*/ 1539566 w 2441576"/>
                  <a:gd name="connsiteY44" fmla="*/ 901153 h 901153"/>
                  <a:gd name="connsiteX45" fmla="*/ 1324785 w 2441576"/>
                  <a:gd name="connsiteY45" fmla="*/ 901153 h 901153"/>
                  <a:gd name="connsiteX46" fmla="*/ 1254721 w 2441576"/>
                  <a:gd name="connsiteY46" fmla="*/ 901153 h 901153"/>
                  <a:gd name="connsiteX47" fmla="*/ 1039939 w 2441576"/>
                  <a:gd name="connsiteY47" fmla="*/ 901153 h 901153"/>
                  <a:gd name="connsiteX48" fmla="*/ 969874 w 2441576"/>
                  <a:gd name="connsiteY48" fmla="*/ 901153 h 901153"/>
                  <a:gd name="connsiteX49" fmla="*/ 755093 w 2441576"/>
                  <a:gd name="connsiteY49" fmla="*/ 901153 h 901153"/>
                  <a:gd name="connsiteX50" fmla="*/ 685028 w 2441576"/>
                  <a:gd name="connsiteY50" fmla="*/ 901153 h 901153"/>
                  <a:gd name="connsiteX51" fmla="*/ 581332 w 2441576"/>
                  <a:gd name="connsiteY51" fmla="*/ 901153 h 901153"/>
                  <a:gd name="connsiteX52" fmla="*/ 471351 w 2441576"/>
                  <a:gd name="connsiteY52" fmla="*/ 901153 h 901153"/>
                  <a:gd name="connsiteX53" fmla="*/ 470246 w 2441576"/>
                  <a:gd name="connsiteY53" fmla="*/ 901153 h 901153"/>
                  <a:gd name="connsiteX54" fmla="*/ 377080 w 2441576"/>
                  <a:gd name="connsiteY54" fmla="*/ 901153 h 901153"/>
                  <a:gd name="connsiteX55" fmla="*/ 282811 w 2441576"/>
                  <a:gd name="connsiteY55" fmla="*/ 901153 h 901153"/>
                  <a:gd name="connsiteX56" fmla="*/ 188541 w 2441576"/>
                  <a:gd name="connsiteY56" fmla="*/ 901153 h 901153"/>
                  <a:gd name="connsiteX57" fmla="*/ 185400 w 2441576"/>
                  <a:gd name="connsiteY57" fmla="*/ 901153 h 901153"/>
                  <a:gd name="connsiteX58" fmla="*/ 94270 w 2441576"/>
                  <a:gd name="connsiteY58" fmla="*/ 901153 h 901153"/>
                  <a:gd name="connsiteX59" fmla="*/ 0 w 2441576"/>
                  <a:gd name="connsiteY59" fmla="*/ 901153 h 901153"/>
                  <a:gd name="connsiteX60" fmla="*/ 0 w 2441576"/>
                  <a:gd name="connsiteY60" fmla="*/ 832545 h 901153"/>
                  <a:gd name="connsiteX61" fmla="*/ 0 w 2441576"/>
                  <a:gd name="connsiteY61" fmla="*/ 760507 h 901153"/>
                  <a:gd name="connsiteX62" fmla="*/ 0 w 2441576"/>
                  <a:gd name="connsiteY62" fmla="*/ 691899 h 901153"/>
                  <a:gd name="connsiteX63" fmla="*/ 0 w 2441576"/>
                  <a:gd name="connsiteY63" fmla="*/ 608455 h 901153"/>
                  <a:gd name="connsiteX64" fmla="*/ 0 w 2441576"/>
                  <a:gd name="connsiteY64" fmla="*/ 539847 h 901153"/>
                  <a:gd name="connsiteX65" fmla="*/ 0 w 2441576"/>
                  <a:gd name="connsiteY65" fmla="*/ 456403 h 901153"/>
                  <a:gd name="connsiteX66" fmla="*/ 0 w 2441576"/>
                  <a:gd name="connsiteY66" fmla="*/ 387795 h 901153"/>
                  <a:gd name="connsiteX67" fmla="*/ 0 w 2441576"/>
                  <a:gd name="connsiteY67" fmla="*/ 304351 h 901153"/>
                  <a:gd name="connsiteX68" fmla="*/ 0 w 2441576"/>
                  <a:gd name="connsiteY68" fmla="*/ 235743 h 901153"/>
                  <a:gd name="connsiteX69" fmla="*/ 0 w 2441576"/>
                  <a:gd name="connsiteY69" fmla="*/ 152299 h 901153"/>
                  <a:gd name="connsiteX70" fmla="*/ 0 w 2441576"/>
                  <a:gd name="connsiteY70" fmla="*/ 83691 h 901153"/>
                  <a:gd name="connsiteX71" fmla="*/ 0 w 2441576"/>
                  <a:gd name="connsiteY71" fmla="*/ 247 h 901153"/>
                  <a:gd name="connsiteX0" fmla="*/ 0 w 2441576"/>
                  <a:gd name="connsiteY0" fmla="*/ 247 h 901154"/>
                  <a:gd name="connsiteX1" fmla="*/ 94270 w 2441576"/>
                  <a:gd name="connsiteY1" fmla="*/ 247 h 901154"/>
                  <a:gd name="connsiteX2" fmla="*/ 185400 w 2441576"/>
                  <a:gd name="connsiteY2" fmla="*/ 247 h 901154"/>
                  <a:gd name="connsiteX3" fmla="*/ 188541 w 2441576"/>
                  <a:gd name="connsiteY3" fmla="*/ 247 h 901154"/>
                  <a:gd name="connsiteX4" fmla="*/ 282811 w 2441576"/>
                  <a:gd name="connsiteY4" fmla="*/ 247 h 901154"/>
                  <a:gd name="connsiteX5" fmla="*/ 377080 w 2441576"/>
                  <a:gd name="connsiteY5" fmla="*/ 247 h 901154"/>
                  <a:gd name="connsiteX6" fmla="*/ 470246 w 2441576"/>
                  <a:gd name="connsiteY6" fmla="*/ 247 h 901154"/>
                  <a:gd name="connsiteX7" fmla="*/ 471351 w 2441576"/>
                  <a:gd name="connsiteY7" fmla="*/ 247 h 901154"/>
                  <a:gd name="connsiteX8" fmla="*/ 581332 w 2441576"/>
                  <a:gd name="connsiteY8" fmla="*/ 247 h 901154"/>
                  <a:gd name="connsiteX9" fmla="*/ 685028 w 2441576"/>
                  <a:gd name="connsiteY9" fmla="*/ 247 h 901154"/>
                  <a:gd name="connsiteX10" fmla="*/ 755093 w 2441576"/>
                  <a:gd name="connsiteY10" fmla="*/ 247 h 901154"/>
                  <a:gd name="connsiteX11" fmla="*/ 969874 w 2441576"/>
                  <a:gd name="connsiteY11" fmla="*/ 247 h 901154"/>
                  <a:gd name="connsiteX12" fmla="*/ 1039939 w 2441576"/>
                  <a:gd name="connsiteY12" fmla="*/ 247 h 901154"/>
                  <a:gd name="connsiteX13" fmla="*/ 1254721 w 2441576"/>
                  <a:gd name="connsiteY13" fmla="*/ 247 h 901154"/>
                  <a:gd name="connsiteX14" fmla="*/ 1324785 w 2441576"/>
                  <a:gd name="connsiteY14" fmla="*/ 247 h 901154"/>
                  <a:gd name="connsiteX15" fmla="*/ 1430031 w 2441576"/>
                  <a:gd name="connsiteY15" fmla="*/ 0 h 901154"/>
                  <a:gd name="connsiteX16" fmla="*/ 1539566 w 2441576"/>
                  <a:gd name="connsiteY16" fmla="*/ 247 h 901154"/>
                  <a:gd name="connsiteX17" fmla="*/ 1609632 w 2441576"/>
                  <a:gd name="connsiteY17" fmla="*/ 247 h 901154"/>
                  <a:gd name="connsiteX18" fmla="*/ 1824412 w 2441576"/>
                  <a:gd name="connsiteY18" fmla="*/ 247 h 901154"/>
                  <a:gd name="connsiteX19" fmla="*/ 1941949 w 2441576"/>
                  <a:gd name="connsiteY19" fmla="*/ 247 h 901154"/>
                  <a:gd name="connsiteX20" fmla="*/ 2094866 w 2441576"/>
                  <a:gd name="connsiteY20" fmla="*/ 247 h 901154"/>
                  <a:gd name="connsiteX21" fmla="*/ 2176781 w 2441576"/>
                  <a:gd name="connsiteY21" fmla="*/ 247 h 901154"/>
                  <a:gd name="connsiteX22" fmla="*/ 2258696 w 2441576"/>
                  <a:gd name="connsiteY22" fmla="*/ 247 h 901154"/>
                  <a:gd name="connsiteX23" fmla="*/ 2321561 w 2441576"/>
                  <a:gd name="connsiteY23" fmla="*/ 247 h 901154"/>
                  <a:gd name="connsiteX24" fmla="*/ 2441576 w 2441576"/>
                  <a:gd name="connsiteY24" fmla="*/ 247 h 901154"/>
                  <a:gd name="connsiteX25" fmla="*/ 2441576 w 2441576"/>
                  <a:gd name="connsiteY25" fmla="*/ 83691 h 901154"/>
                  <a:gd name="connsiteX26" fmla="*/ 2441576 w 2441576"/>
                  <a:gd name="connsiteY26" fmla="*/ 152299 h 901154"/>
                  <a:gd name="connsiteX27" fmla="*/ 2441576 w 2441576"/>
                  <a:gd name="connsiteY27" fmla="*/ 235743 h 901154"/>
                  <a:gd name="connsiteX28" fmla="*/ 2441576 w 2441576"/>
                  <a:gd name="connsiteY28" fmla="*/ 304351 h 901154"/>
                  <a:gd name="connsiteX29" fmla="*/ 2441576 w 2441576"/>
                  <a:gd name="connsiteY29" fmla="*/ 387795 h 901154"/>
                  <a:gd name="connsiteX30" fmla="*/ 2441576 w 2441576"/>
                  <a:gd name="connsiteY30" fmla="*/ 456403 h 901154"/>
                  <a:gd name="connsiteX31" fmla="*/ 2441576 w 2441576"/>
                  <a:gd name="connsiteY31" fmla="*/ 539847 h 901154"/>
                  <a:gd name="connsiteX32" fmla="*/ 2441576 w 2441576"/>
                  <a:gd name="connsiteY32" fmla="*/ 608455 h 901154"/>
                  <a:gd name="connsiteX33" fmla="*/ 2441576 w 2441576"/>
                  <a:gd name="connsiteY33" fmla="*/ 691899 h 901154"/>
                  <a:gd name="connsiteX34" fmla="*/ 2441576 w 2441576"/>
                  <a:gd name="connsiteY34" fmla="*/ 760507 h 901154"/>
                  <a:gd name="connsiteX35" fmla="*/ 2441576 w 2441576"/>
                  <a:gd name="connsiteY35" fmla="*/ 832545 h 901154"/>
                  <a:gd name="connsiteX36" fmla="*/ 2441576 w 2441576"/>
                  <a:gd name="connsiteY36" fmla="*/ 901153 h 901154"/>
                  <a:gd name="connsiteX37" fmla="*/ 2321561 w 2441576"/>
                  <a:gd name="connsiteY37" fmla="*/ 901153 h 901154"/>
                  <a:gd name="connsiteX38" fmla="*/ 2239646 w 2441576"/>
                  <a:gd name="connsiteY38" fmla="*/ 901153 h 901154"/>
                  <a:gd name="connsiteX39" fmla="*/ 2176781 w 2441576"/>
                  <a:gd name="connsiteY39" fmla="*/ 901153 h 901154"/>
                  <a:gd name="connsiteX40" fmla="*/ 2109259 w 2441576"/>
                  <a:gd name="connsiteY40" fmla="*/ 901153 h 901154"/>
                  <a:gd name="connsiteX41" fmla="*/ 1941949 w 2441576"/>
                  <a:gd name="connsiteY41" fmla="*/ 901153 h 901154"/>
                  <a:gd name="connsiteX42" fmla="*/ 1824412 w 2441576"/>
                  <a:gd name="connsiteY42" fmla="*/ 901153 h 901154"/>
                  <a:gd name="connsiteX43" fmla="*/ 1609632 w 2441576"/>
                  <a:gd name="connsiteY43" fmla="*/ 901153 h 901154"/>
                  <a:gd name="connsiteX44" fmla="*/ 1539566 w 2441576"/>
                  <a:gd name="connsiteY44" fmla="*/ 901153 h 901154"/>
                  <a:gd name="connsiteX45" fmla="*/ 1324785 w 2441576"/>
                  <a:gd name="connsiteY45" fmla="*/ 901153 h 901154"/>
                  <a:gd name="connsiteX46" fmla="*/ 1254721 w 2441576"/>
                  <a:gd name="connsiteY46" fmla="*/ 901153 h 901154"/>
                  <a:gd name="connsiteX47" fmla="*/ 1039939 w 2441576"/>
                  <a:gd name="connsiteY47" fmla="*/ 901153 h 901154"/>
                  <a:gd name="connsiteX48" fmla="*/ 969874 w 2441576"/>
                  <a:gd name="connsiteY48" fmla="*/ 901153 h 901154"/>
                  <a:gd name="connsiteX49" fmla="*/ 864820 w 2441576"/>
                  <a:gd name="connsiteY49" fmla="*/ 901154 h 901154"/>
                  <a:gd name="connsiteX50" fmla="*/ 755093 w 2441576"/>
                  <a:gd name="connsiteY50" fmla="*/ 901153 h 901154"/>
                  <a:gd name="connsiteX51" fmla="*/ 685028 w 2441576"/>
                  <a:gd name="connsiteY51" fmla="*/ 901153 h 901154"/>
                  <a:gd name="connsiteX52" fmla="*/ 581332 w 2441576"/>
                  <a:gd name="connsiteY52" fmla="*/ 901153 h 901154"/>
                  <a:gd name="connsiteX53" fmla="*/ 471351 w 2441576"/>
                  <a:gd name="connsiteY53" fmla="*/ 901153 h 901154"/>
                  <a:gd name="connsiteX54" fmla="*/ 470246 w 2441576"/>
                  <a:gd name="connsiteY54" fmla="*/ 901153 h 901154"/>
                  <a:gd name="connsiteX55" fmla="*/ 377080 w 2441576"/>
                  <a:gd name="connsiteY55" fmla="*/ 901153 h 901154"/>
                  <a:gd name="connsiteX56" fmla="*/ 282811 w 2441576"/>
                  <a:gd name="connsiteY56" fmla="*/ 901153 h 901154"/>
                  <a:gd name="connsiteX57" fmla="*/ 188541 w 2441576"/>
                  <a:gd name="connsiteY57" fmla="*/ 901153 h 901154"/>
                  <a:gd name="connsiteX58" fmla="*/ 185400 w 2441576"/>
                  <a:gd name="connsiteY58" fmla="*/ 901153 h 901154"/>
                  <a:gd name="connsiteX59" fmla="*/ 94270 w 2441576"/>
                  <a:gd name="connsiteY59" fmla="*/ 901153 h 901154"/>
                  <a:gd name="connsiteX60" fmla="*/ 0 w 2441576"/>
                  <a:gd name="connsiteY60" fmla="*/ 901153 h 901154"/>
                  <a:gd name="connsiteX61" fmla="*/ 0 w 2441576"/>
                  <a:gd name="connsiteY61" fmla="*/ 832545 h 901154"/>
                  <a:gd name="connsiteX62" fmla="*/ 0 w 2441576"/>
                  <a:gd name="connsiteY62" fmla="*/ 760507 h 901154"/>
                  <a:gd name="connsiteX63" fmla="*/ 0 w 2441576"/>
                  <a:gd name="connsiteY63" fmla="*/ 691899 h 901154"/>
                  <a:gd name="connsiteX64" fmla="*/ 0 w 2441576"/>
                  <a:gd name="connsiteY64" fmla="*/ 608455 h 901154"/>
                  <a:gd name="connsiteX65" fmla="*/ 0 w 2441576"/>
                  <a:gd name="connsiteY65" fmla="*/ 539847 h 901154"/>
                  <a:gd name="connsiteX66" fmla="*/ 0 w 2441576"/>
                  <a:gd name="connsiteY66" fmla="*/ 456403 h 901154"/>
                  <a:gd name="connsiteX67" fmla="*/ 0 w 2441576"/>
                  <a:gd name="connsiteY67" fmla="*/ 387795 h 901154"/>
                  <a:gd name="connsiteX68" fmla="*/ 0 w 2441576"/>
                  <a:gd name="connsiteY68" fmla="*/ 304351 h 901154"/>
                  <a:gd name="connsiteX69" fmla="*/ 0 w 2441576"/>
                  <a:gd name="connsiteY69" fmla="*/ 235743 h 901154"/>
                  <a:gd name="connsiteX70" fmla="*/ 0 w 2441576"/>
                  <a:gd name="connsiteY70" fmla="*/ 152299 h 901154"/>
                  <a:gd name="connsiteX71" fmla="*/ 0 w 2441576"/>
                  <a:gd name="connsiteY71" fmla="*/ 83691 h 901154"/>
                  <a:gd name="connsiteX72" fmla="*/ 0 w 2441576"/>
                  <a:gd name="connsiteY72" fmla="*/ 247 h 901154"/>
                  <a:gd name="connsiteX0" fmla="*/ 0 w 2441576"/>
                  <a:gd name="connsiteY0" fmla="*/ 247 h 901154"/>
                  <a:gd name="connsiteX1" fmla="*/ 94270 w 2441576"/>
                  <a:gd name="connsiteY1" fmla="*/ 247 h 901154"/>
                  <a:gd name="connsiteX2" fmla="*/ 185400 w 2441576"/>
                  <a:gd name="connsiteY2" fmla="*/ 247 h 901154"/>
                  <a:gd name="connsiteX3" fmla="*/ 188541 w 2441576"/>
                  <a:gd name="connsiteY3" fmla="*/ 247 h 901154"/>
                  <a:gd name="connsiteX4" fmla="*/ 282811 w 2441576"/>
                  <a:gd name="connsiteY4" fmla="*/ 247 h 901154"/>
                  <a:gd name="connsiteX5" fmla="*/ 377080 w 2441576"/>
                  <a:gd name="connsiteY5" fmla="*/ 247 h 901154"/>
                  <a:gd name="connsiteX6" fmla="*/ 470246 w 2441576"/>
                  <a:gd name="connsiteY6" fmla="*/ 247 h 901154"/>
                  <a:gd name="connsiteX7" fmla="*/ 471351 w 2441576"/>
                  <a:gd name="connsiteY7" fmla="*/ 247 h 901154"/>
                  <a:gd name="connsiteX8" fmla="*/ 581332 w 2441576"/>
                  <a:gd name="connsiteY8" fmla="*/ 247 h 901154"/>
                  <a:gd name="connsiteX9" fmla="*/ 685028 w 2441576"/>
                  <a:gd name="connsiteY9" fmla="*/ 247 h 901154"/>
                  <a:gd name="connsiteX10" fmla="*/ 755093 w 2441576"/>
                  <a:gd name="connsiteY10" fmla="*/ 247 h 901154"/>
                  <a:gd name="connsiteX11" fmla="*/ 969874 w 2441576"/>
                  <a:gd name="connsiteY11" fmla="*/ 247 h 901154"/>
                  <a:gd name="connsiteX12" fmla="*/ 1039939 w 2441576"/>
                  <a:gd name="connsiteY12" fmla="*/ 247 h 901154"/>
                  <a:gd name="connsiteX13" fmla="*/ 1254721 w 2441576"/>
                  <a:gd name="connsiteY13" fmla="*/ 247 h 901154"/>
                  <a:gd name="connsiteX14" fmla="*/ 1324785 w 2441576"/>
                  <a:gd name="connsiteY14" fmla="*/ 247 h 901154"/>
                  <a:gd name="connsiteX15" fmla="*/ 1430031 w 2441576"/>
                  <a:gd name="connsiteY15" fmla="*/ 0 h 901154"/>
                  <a:gd name="connsiteX16" fmla="*/ 1539566 w 2441576"/>
                  <a:gd name="connsiteY16" fmla="*/ 247 h 901154"/>
                  <a:gd name="connsiteX17" fmla="*/ 1609632 w 2441576"/>
                  <a:gd name="connsiteY17" fmla="*/ 247 h 901154"/>
                  <a:gd name="connsiteX18" fmla="*/ 1824412 w 2441576"/>
                  <a:gd name="connsiteY18" fmla="*/ 247 h 901154"/>
                  <a:gd name="connsiteX19" fmla="*/ 1941949 w 2441576"/>
                  <a:gd name="connsiteY19" fmla="*/ 247 h 901154"/>
                  <a:gd name="connsiteX20" fmla="*/ 2094866 w 2441576"/>
                  <a:gd name="connsiteY20" fmla="*/ 247 h 901154"/>
                  <a:gd name="connsiteX21" fmla="*/ 2176781 w 2441576"/>
                  <a:gd name="connsiteY21" fmla="*/ 247 h 901154"/>
                  <a:gd name="connsiteX22" fmla="*/ 2258696 w 2441576"/>
                  <a:gd name="connsiteY22" fmla="*/ 247 h 901154"/>
                  <a:gd name="connsiteX23" fmla="*/ 2321561 w 2441576"/>
                  <a:gd name="connsiteY23" fmla="*/ 247 h 901154"/>
                  <a:gd name="connsiteX24" fmla="*/ 2441576 w 2441576"/>
                  <a:gd name="connsiteY24" fmla="*/ 247 h 901154"/>
                  <a:gd name="connsiteX25" fmla="*/ 2441576 w 2441576"/>
                  <a:gd name="connsiteY25" fmla="*/ 83691 h 901154"/>
                  <a:gd name="connsiteX26" fmla="*/ 2441576 w 2441576"/>
                  <a:gd name="connsiteY26" fmla="*/ 152299 h 901154"/>
                  <a:gd name="connsiteX27" fmla="*/ 2441576 w 2441576"/>
                  <a:gd name="connsiteY27" fmla="*/ 235743 h 901154"/>
                  <a:gd name="connsiteX28" fmla="*/ 2441576 w 2441576"/>
                  <a:gd name="connsiteY28" fmla="*/ 304351 h 901154"/>
                  <a:gd name="connsiteX29" fmla="*/ 2441576 w 2441576"/>
                  <a:gd name="connsiteY29" fmla="*/ 387795 h 901154"/>
                  <a:gd name="connsiteX30" fmla="*/ 2441576 w 2441576"/>
                  <a:gd name="connsiteY30" fmla="*/ 456403 h 901154"/>
                  <a:gd name="connsiteX31" fmla="*/ 2441576 w 2441576"/>
                  <a:gd name="connsiteY31" fmla="*/ 539847 h 901154"/>
                  <a:gd name="connsiteX32" fmla="*/ 2441576 w 2441576"/>
                  <a:gd name="connsiteY32" fmla="*/ 608455 h 901154"/>
                  <a:gd name="connsiteX33" fmla="*/ 2441576 w 2441576"/>
                  <a:gd name="connsiteY33" fmla="*/ 691899 h 901154"/>
                  <a:gd name="connsiteX34" fmla="*/ 2441576 w 2441576"/>
                  <a:gd name="connsiteY34" fmla="*/ 760507 h 901154"/>
                  <a:gd name="connsiteX35" fmla="*/ 2441576 w 2441576"/>
                  <a:gd name="connsiteY35" fmla="*/ 832545 h 901154"/>
                  <a:gd name="connsiteX36" fmla="*/ 2441576 w 2441576"/>
                  <a:gd name="connsiteY36" fmla="*/ 901153 h 901154"/>
                  <a:gd name="connsiteX37" fmla="*/ 2321561 w 2441576"/>
                  <a:gd name="connsiteY37" fmla="*/ 901153 h 901154"/>
                  <a:gd name="connsiteX38" fmla="*/ 2239646 w 2441576"/>
                  <a:gd name="connsiteY38" fmla="*/ 901153 h 901154"/>
                  <a:gd name="connsiteX39" fmla="*/ 2176781 w 2441576"/>
                  <a:gd name="connsiteY39" fmla="*/ 901153 h 901154"/>
                  <a:gd name="connsiteX40" fmla="*/ 2109259 w 2441576"/>
                  <a:gd name="connsiteY40" fmla="*/ 901153 h 901154"/>
                  <a:gd name="connsiteX41" fmla="*/ 1941949 w 2441576"/>
                  <a:gd name="connsiteY41" fmla="*/ 901153 h 901154"/>
                  <a:gd name="connsiteX42" fmla="*/ 1824412 w 2441576"/>
                  <a:gd name="connsiteY42" fmla="*/ 901153 h 901154"/>
                  <a:gd name="connsiteX43" fmla="*/ 1609632 w 2441576"/>
                  <a:gd name="connsiteY43" fmla="*/ 901153 h 901154"/>
                  <a:gd name="connsiteX44" fmla="*/ 1539566 w 2441576"/>
                  <a:gd name="connsiteY44" fmla="*/ 901153 h 901154"/>
                  <a:gd name="connsiteX45" fmla="*/ 1324785 w 2441576"/>
                  <a:gd name="connsiteY45" fmla="*/ 901153 h 901154"/>
                  <a:gd name="connsiteX46" fmla="*/ 1254721 w 2441576"/>
                  <a:gd name="connsiteY46" fmla="*/ 901153 h 901154"/>
                  <a:gd name="connsiteX47" fmla="*/ 1146253 w 2441576"/>
                  <a:gd name="connsiteY47" fmla="*/ 901153 h 901154"/>
                  <a:gd name="connsiteX48" fmla="*/ 1039939 w 2441576"/>
                  <a:gd name="connsiteY48" fmla="*/ 901153 h 901154"/>
                  <a:gd name="connsiteX49" fmla="*/ 969874 w 2441576"/>
                  <a:gd name="connsiteY49" fmla="*/ 901153 h 901154"/>
                  <a:gd name="connsiteX50" fmla="*/ 864820 w 2441576"/>
                  <a:gd name="connsiteY50" fmla="*/ 901154 h 901154"/>
                  <a:gd name="connsiteX51" fmla="*/ 755093 w 2441576"/>
                  <a:gd name="connsiteY51" fmla="*/ 901153 h 901154"/>
                  <a:gd name="connsiteX52" fmla="*/ 685028 w 2441576"/>
                  <a:gd name="connsiteY52" fmla="*/ 901153 h 901154"/>
                  <a:gd name="connsiteX53" fmla="*/ 581332 w 2441576"/>
                  <a:gd name="connsiteY53" fmla="*/ 901153 h 901154"/>
                  <a:gd name="connsiteX54" fmla="*/ 471351 w 2441576"/>
                  <a:gd name="connsiteY54" fmla="*/ 901153 h 901154"/>
                  <a:gd name="connsiteX55" fmla="*/ 470246 w 2441576"/>
                  <a:gd name="connsiteY55" fmla="*/ 901153 h 901154"/>
                  <a:gd name="connsiteX56" fmla="*/ 377080 w 2441576"/>
                  <a:gd name="connsiteY56" fmla="*/ 901153 h 901154"/>
                  <a:gd name="connsiteX57" fmla="*/ 282811 w 2441576"/>
                  <a:gd name="connsiteY57" fmla="*/ 901153 h 901154"/>
                  <a:gd name="connsiteX58" fmla="*/ 188541 w 2441576"/>
                  <a:gd name="connsiteY58" fmla="*/ 901153 h 901154"/>
                  <a:gd name="connsiteX59" fmla="*/ 185400 w 2441576"/>
                  <a:gd name="connsiteY59" fmla="*/ 901153 h 901154"/>
                  <a:gd name="connsiteX60" fmla="*/ 94270 w 2441576"/>
                  <a:gd name="connsiteY60" fmla="*/ 901153 h 901154"/>
                  <a:gd name="connsiteX61" fmla="*/ 0 w 2441576"/>
                  <a:gd name="connsiteY61" fmla="*/ 901153 h 901154"/>
                  <a:gd name="connsiteX62" fmla="*/ 0 w 2441576"/>
                  <a:gd name="connsiteY62" fmla="*/ 832545 h 901154"/>
                  <a:gd name="connsiteX63" fmla="*/ 0 w 2441576"/>
                  <a:gd name="connsiteY63" fmla="*/ 760507 h 901154"/>
                  <a:gd name="connsiteX64" fmla="*/ 0 w 2441576"/>
                  <a:gd name="connsiteY64" fmla="*/ 691899 h 901154"/>
                  <a:gd name="connsiteX65" fmla="*/ 0 w 2441576"/>
                  <a:gd name="connsiteY65" fmla="*/ 608455 h 901154"/>
                  <a:gd name="connsiteX66" fmla="*/ 0 w 2441576"/>
                  <a:gd name="connsiteY66" fmla="*/ 539847 h 901154"/>
                  <a:gd name="connsiteX67" fmla="*/ 0 w 2441576"/>
                  <a:gd name="connsiteY67" fmla="*/ 456403 h 901154"/>
                  <a:gd name="connsiteX68" fmla="*/ 0 w 2441576"/>
                  <a:gd name="connsiteY68" fmla="*/ 387795 h 901154"/>
                  <a:gd name="connsiteX69" fmla="*/ 0 w 2441576"/>
                  <a:gd name="connsiteY69" fmla="*/ 304351 h 901154"/>
                  <a:gd name="connsiteX70" fmla="*/ 0 w 2441576"/>
                  <a:gd name="connsiteY70" fmla="*/ 235743 h 901154"/>
                  <a:gd name="connsiteX71" fmla="*/ 0 w 2441576"/>
                  <a:gd name="connsiteY71" fmla="*/ 152299 h 901154"/>
                  <a:gd name="connsiteX72" fmla="*/ 0 w 2441576"/>
                  <a:gd name="connsiteY72" fmla="*/ 83691 h 901154"/>
                  <a:gd name="connsiteX73" fmla="*/ 0 w 2441576"/>
                  <a:gd name="connsiteY73" fmla="*/ 247 h 901154"/>
                  <a:gd name="connsiteX0" fmla="*/ 0 w 2441576"/>
                  <a:gd name="connsiteY0" fmla="*/ 247 h 901154"/>
                  <a:gd name="connsiteX1" fmla="*/ 94270 w 2441576"/>
                  <a:gd name="connsiteY1" fmla="*/ 247 h 901154"/>
                  <a:gd name="connsiteX2" fmla="*/ 185400 w 2441576"/>
                  <a:gd name="connsiteY2" fmla="*/ 247 h 901154"/>
                  <a:gd name="connsiteX3" fmla="*/ 188541 w 2441576"/>
                  <a:gd name="connsiteY3" fmla="*/ 247 h 901154"/>
                  <a:gd name="connsiteX4" fmla="*/ 282811 w 2441576"/>
                  <a:gd name="connsiteY4" fmla="*/ 247 h 901154"/>
                  <a:gd name="connsiteX5" fmla="*/ 377080 w 2441576"/>
                  <a:gd name="connsiteY5" fmla="*/ 247 h 901154"/>
                  <a:gd name="connsiteX6" fmla="*/ 470246 w 2441576"/>
                  <a:gd name="connsiteY6" fmla="*/ 247 h 901154"/>
                  <a:gd name="connsiteX7" fmla="*/ 471351 w 2441576"/>
                  <a:gd name="connsiteY7" fmla="*/ 247 h 901154"/>
                  <a:gd name="connsiteX8" fmla="*/ 581332 w 2441576"/>
                  <a:gd name="connsiteY8" fmla="*/ 247 h 901154"/>
                  <a:gd name="connsiteX9" fmla="*/ 685028 w 2441576"/>
                  <a:gd name="connsiteY9" fmla="*/ 247 h 901154"/>
                  <a:gd name="connsiteX10" fmla="*/ 755093 w 2441576"/>
                  <a:gd name="connsiteY10" fmla="*/ 247 h 901154"/>
                  <a:gd name="connsiteX11" fmla="*/ 969874 w 2441576"/>
                  <a:gd name="connsiteY11" fmla="*/ 247 h 901154"/>
                  <a:gd name="connsiteX12" fmla="*/ 1039939 w 2441576"/>
                  <a:gd name="connsiteY12" fmla="*/ 247 h 901154"/>
                  <a:gd name="connsiteX13" fmla="*/ 1254721 w 2441576"/>
                  <a:gd name="connsiteY13" fmla="*/ 247 h 901154"/>
                  <a:gd name="connsiteX14" fmla="*/ 1324785 w 2441576"/>
                  <a:gd name="connsiteY14" fmla="*/ 247 h 901154"/>
                  <a:gd name="connsiteX15" fmla="*/ 1430031 w 2441576"/>
                  <a:gd name="connsiteY15" fmla="*/ 0 h 901154"/>
                  <a:gd name="connsiteX16" fmla="*/ 1539566 w 2441576"/>
                  <a:gd name="connsiteY16" fmla="*/ 247 h 901154"/>
                  <a:gd name="connsiteX17" fmla="*/ 1609632 w 2441576"/>
                  <a:gd name="connsiteY17" fmla="*/ 247 h 901154"/>
                  <a:gd name="connsiteX18" fmla="*/ 1824412 w 2441576"/>
                  <a:gd name="connsiteY18" fmla="*/ 247 h 901154"/>
                  <a:gd name="connsiteX19" fmla="*/ 1941949 w 2441576"/>
                  <a:gd name="connsiteY19" fmla="*/ 247 h 901154"/>
                  <a:gd name="connsiteX20" fmla="*/ 2094866 w 2441576"/>
                  <a:gd name="connsiteY20" fmla="*/ 247 h 901154"/>
                  <a:gd name="connsiteX21" fmla="*/ 2176781 w 2441576"/>
                  <a:gd name="connsiteY21" fmla="*/ 247 h 901154"/>
                  <a:gd name="connsiteX22" fmla="*/ 2258696 w 2441576"/>
                  <a:gd name="connsiteY22" fmla="*/ 247 h 901154"/>
                  <a:gd name="connsiteX23" fmla="*/ 2321561 w 2441576"/>
                  <a:gd name="connsiteY23" fmla="*/ 247 h 901154"/>
                  <a:gd name="connsiteX24" fmla="*/ 2441576 w 2441576"/>
                  <a:gd name="connsiteY24" fmla="*/ 247 h 901154"/>
                  <a:gd name="connsiteX25" fmla="*/ 2441576 w 2441576"/>
                  <a:gd name="connsiteY25" fmla="*/ 83691 h 901154"/>
                  <a:gd name="connsiteX26" fmla="*/ 2441576 w 2441576"/>
                  <a:gd name="connsiteY26" fmla="*/ 152299 h 901154"/>
                  <a:gd name="connsiteX27" fmla="*/ 2441576 w 2441576"/>
                  <a:gd name="connsiteY27" fmla="*/ 235743 h 901154"/>
                  <a:gd name="connsiteX28" fmla="*/ 2441576 w 2441576"/>
                  <a:gd name="connsiteY28" fmla="*/ 304351 h 901154"/>
                  <a:gd name="connsiteX29" fmla="*/ 2441576 w 2441576"/>
                  <a:gd name="connsiteY29" fmla="*/ 387795 h 901154"/>
                  <a:gd name="connsiteX30" fmla="*/ 2441576 w 2441576"/>
                  <a:gd name="connsiteY30" fmla="*/ 456403 h 901154"/>
                  <a:gd name="connsiteX31" fmla="*/ 2441576 w 2441576"/>
                  <a:gd name="connsiteY31" fmla="*/ 539847 h 901154"/>
                  <a:gd name="connsiteX32" fmla="*/ 2441576 w 2441576"/>
                  <a:gd name="connsiteY32" fmla="*/ 608455 h 901154"/>
                  <a:gd name="connsiteX33" fmla="*/ 2441576 w 2441576"/>
                  <a:gd name="connsiteY33" fmla="*/ 691899 h 901154"/>
                  <a:gd name="connsiteX34" fmla="*/ 2441576 w 2441576"/>
                  <a:gd name="connsiteY34" fmla="*/ 760507 h 901154"/>
                  <a:gd name="connsiteX35" fmla="*/ 2441576 w 2441576"/>
                  <a:gd name="connsiteY35" fmla="*/ 832545 h 901154"/>
                  <a:gd name="connsiteX36" fmla="*/ 2441576 w 2441576"/>
                  <a:gd name="connsiteY36" fmla="*/ 901153 h 901154"/>
                  <a:gd name="connsiteX37" fmla="*/ 2321561 w 2441576"/>
                  <a:gd name="connsiteY37" fmla="*/ 901153 h 901154"/>
                  <a:gd name="connsiteX38" fmla="*/ 2239646 w 2441576"/>
                  <a:gd name="connsiteY38" fmla="*/ 901153 h 901154"/>
                  <a:gd name="connsiteX39" fmla="*/ 2176781 w 2441576"/>
                  <a:gd name="connsiteY39" fmla="*/ 901153 h 901154"/>
                  <a:gd name="connsiteX40" fmla="*/ 2109259 w 2441576"/>
                  <a:gd name="connsiteY40" fmla="*/ 901153 h 901154"/>
                  <a:gd name="connsiteX41" fmla="*/ 1941949 w 2441576"/>
                  <a:gd name="connsiteY41" fmla="*/ 901153 h 901154"/>
                  <a:gd name="connsiteX42" fmla="*/ 1824412 w 2441576"/>
                  <a:gd name="connsiteY42" fmla="*/ 901153 h 901154"/>
                  <a:gd name="connsiteX43" fmla="*/ 1609632 w 2441576"/>
                  <a:gd name="connsiteY43" fmla="*/ 901153 h 901154"/>
                  <a:gd name="connsiteX44" fmla="*/ 1539566 w 2441576"/>
                  <a:gd name="connsiteY44" fmla="*/ 901153 h 901154"/>
                  <a:gd name="connsiteX45" fmla="*/ 1427685 w 2441576"/>
                  <a:gd name="connsiteY45" fmla="*/ 901153 h 901154"/>
                  <a:gd name="connsiteX46" fmla="*/ 1324785 w 2441576"/>
                  <a:gd name="connsiteY46" fmla="*/ 901153 h 901154"/>
                  <a:gd name="connsiteX47" fmla="*/ 1254721 w 2441576"/>
                  <a:gd name="connsiteY47" fmla="*/ 901153 h 901154"/>
                  <a:gd name="connsiteX48" fmla="*/ 1146253 w 2441576"/>
                  <a:gd name="connsiteY48" fmla="*/ 901153 h 901154"/>
                  <a:gd name="connsiteX49" fmla="*/ 1039939 w 2441576"/>
                  <a:gd name="connsiteY49" fmla="*/ 901153 h 901154"/>
                  <a:gd name="connsiteX50" fmla="*/ 969874 w 2441576"/>
                  <a:gd name="connsiteY50" fmla="*/ 901153 h 901154"/>
                  <a:gd name="connsiteX51" fmla="*/ 864820 w 2441576"/>
                  <a:gd name="connsiteY51" fmla="*/ 901154 h 901154"/>
                  <a:gd name="connsiteX52" fmla="*/ 755093 w 2441576"/>
                  <a:gd name="connsiteY52" fmla="*/ 901153 h 901154"/>
                  <a:gd name="connsiteX53" fmla="*/ 685028 w 2441576"/>
                  <a:gd name="connsiteY53" fmla="*/ 901153 h 901154"/>
                  <a:gd name="connsiteX54" fmla="*/ 581332 w 2441576"/>
                  <a:gd name="connsiteY54" fmla="*/ 901153 h 901154"/>
                  <a:gd name="connsiteX55" fmla="*/ 471351 w 2441576"/>
                  <a:gd name="connsiteY55" fmla="*/ 901153 h 901154"/>
                  <a:gd name="connsiteX56" fmla="*/ 470246 w 2441576"/>
                  <a:gd name="connsiteY56" fmla="*/ 901153 h 901154"/>
                  <a:gd name="connsiteX57" fmla="*/ 377080 w 2441576"/>
                  <a:gd name="connsiteY57" fmla="*/ 901153 h 901154"/>
                  <a:gd name="connsiteX58" fmla="*/ 282811 w 2441576"/>
                  <a:gd name="connsiteY58" fmla="*/ 901153 h 901154"/>
                  <a:gd name="connsiteX59" fmla="*/ 188541 w 2441576"/>
                  <a:gd name="connsiteY59" fmla="*/ 901153 h 901154"/>
                  <a:gd name="connsiteX60" fmla="*/ 185400 w 2441576"/>
                  <a:gd name="connsiteY60" fmla="*/ 901153 h 901154"/>
                  <a:gd name="connsiteX61" fmla="*/ 94270 w 2441576"/>
                  <a:gd name="connsiteY61" fmla="*/ 901153 h 901154"/>
                  <a:gd name="connsiteX62" fmla="*/ 0 w 2441576"/>
                  <a:gd name="connsiteY62" fmla="*/ 901153 h 901154"/>
                  <a:gd name="connsiteX63" fmla="*/ 0 w 2441576"/>
                  <a:gd name="connsiteY63" fmla="*/ 832545 h 901154"/>
                  <a:gd name="connsiteX64" fmla="*/ 0 w 2441576"/>
                  <a:gd name="connsiteY64" fmla="*/ 760507 h 901154"/>
                  <a:gd name="connsiteX65" fmla="*/ 0 w 2441576"/>
                  <a:gd name="connsiteY65" fmla="*/ 691899 h 901154"/>
                  <a:gd name="connsiteX66" fmla="*/ 0 w 2441576"/>
                  <a:gd name="connsiteY66" fmla="*/ 608455 h 901154"/>
                  <a:gd name="connsiteX67" fmla="*/ 0 w 2441576"/>
                  <a:gd name="connsiteY67" fmla="*/ 539847 h 901154"/>
                  <a:gd name="connsiteX68" fmla="*/ 0 w 2441576"/>
                  <a:gd name="connsiteY68" fmla="*/ 456403 h 901154"/>
                  <a:gd name="connsiteX69" fmla="*/ 0 w 2441576"/>
                  <a:gd name="connsiteY69" fmla="*/ 387795 h 901154"/>
                  <a:gd name="connsiteX70" fmla="*/ 0 w 2441576"/>
                  <a:gd name="connsiteY70" fmla="*/ 304351 h 901154"/>
                  <a:gd name="connsiteX71" fmla="*/ 0 w 2441576"/>
                  <a:gd name="connsiteY71" fmla="*/ 235743 h 901154"/>
                  <a:gd name="connsiteX72" fmla="*/ 0 w 2441576"/>
                  <a:gd name="connsiteY72" fmla="*/ 152299 h 901154"/>
                  <a:gd name="connsiteX73" fmla="*/ 0 w 2441576"/>
                  <a:gd name="connsiteY73" fmla="*/ 83691 h 901154"/>
                  <a:gd name="connsiteX74" fmla="*/ 0 w 2441576"/>
                  <a:gd name="connsiteY74" fmla="*/ 247 h 901154"/>
                  <a:gd name="connsiteX0" fmla="*/ 0 w 2441576"/>
                  <a:gd name="connsiteY0" fmla="*/ 247 h 901154"/>
                  <a:gd name="connsiteX1" fmla="*/ 94270 w 2441576"/>
                  <a:gd name="connsiteY1" fmla="*/ 247 h 901154"/>
                  <a:gd name="connsiteX2" fmla="*/ 185400 w 2441576"/>
                  <a:gd name="connsiteY2" fmla="*/ 247 h 901154"/>
                  <a:gd name="connsiteX3" fmla="*/ 188541 w 2441576"/>
                  <a:gd name="connsiteY3" fmla="*/ 247 h 901154"/>
                  <a:gd name="connsiteX4" fmla="*/ 282811 w 2441576"/>
                  <a:gd name="connsiteY4" fmla="*/ 247 h 901154"/>
                  <a:gd name="connsiteX5" fmla="*/ 377080 w 2441576"/>
                  <a:gd name="connsiteY5" fmla="*/ 247 h 901154"/>
                  <a:gd name="connsiteX6" fmla="*/ 470246 w 2441576"/>
                  <a:gd name="connsiteY6" fmla="*/ 247 h 901154"/>
                  <a:gd name="connsiteX7" fmla="*/ 471351 w 2441576"/>
                  <a:gd name="connsiteY7" fmla="*/ 247 h 901154"/>
                  <a:gd name="connsiteX8" fmla="*/ 581332 w 2441576"/>
                  <a:gd name="connsiteY8" fmla="*/ 247 h 901154"/>
                  <a:gd name="connsiteX9" fmla="*/ 685028 w 2441576"/>
                  <a:gd name="connsiteY9" fmla="*/ 247 h 901154"/>
                  <a:gd name="connsiteX10" fmla="*/ 755093 w 2441576"/>
                  <a:gd name="connsiteY10" fmla="*/ 247 h 901154"/>
                  <a:gd name="connsiteX11" fmla="*/ 969874 w 2441576"/>
                  <a:gd name="connsiteY11" fmla="*/ 247 h 901154"/>
                  <a:gd name="connsiteX12" fmla="*/ 1039939 w 2441576"/>
                  <a:gd name="connsiteY12" fmla="*/ 247 h 901154"/>
                  <a:gd name="connsiteX13" fmla="*/ 1254721 w 2441576"/>
                  <a:gd name="connsiteY13" fmla="*/ 247 h 901154"/>
                  <a:gd name="connsiteX14" fmla="*/ 1324785 w 2441576"/>
                  <a:gd name="connsiteY14" fmla="*/ 247 h 901154"/>
                  <a:gd name="connsiteX15" fmla="*/ 1430031 w 2441576"/>
                  <a:gd name="connsiteY15" fmla="*/ 0 h 901154"/>
                  <a:gd name="connsiteX16" fmla="*/ 1539566 w 2441576"/>
                  <a:gd name="connsiteY16" fmla="*/ 247 h 901154"/>
                  <a:gd name="connsiteX17" fmla="*/ 1609632 w 2441576"/>
                  <a:gd name="connsiteY17" fmla="*/ 247 h 901154"/>
                  <a:gd name="connsiteX18" fmla="*/ 1824412 w 2441576"/>
                  <a:gd name="connsiteY18" fmla="*/ 247 h 901154"/>
                  <a:gd name="connsiteX19" fmla="*/ 1941949 w 2441576"/>
                  <a:gd name="connsiteY19" fmla="*/ 247 h 901154"/>
                  <a:gd name="connsiteX20" fmla="*/ 2094866 w 2441576"/>
                  <a:gd name="connsiteY20" fmla="*/ 247 h 901154"/>
                  <a:gd name="connsiteX21" fmla="*/ 2176781 w 2441576"/>
                  <a:gd name="connsiteY21" fmla="*/ 247 h 901154"/>
                  <a:gd name="connsiteX22" fmla="*/ 2258696 w 2441576"/>
                  <a:gd name="connsiteY22" fmla="*/ 247 h 901154"/>
                  <a:gd name="connsiteX23" fmla="*/ 2321561 w 2441576"/>
                  <a:gd name="connsiteY23" fmla="*/ 247 h 901154"/>
                  <a:gd name="connsiteX24" fmla="*/ 2441576 w 2441576"/>
                  <a:gd name="connsiteY24" fmla="*/ 247 h 901154"/>
                  <a:gd name="connsiteX25" fmla="*/ 2441576 w 2441576"/>
                  <a:gd name="connsiteY25" fmla="*/ 83691 h 901154"/>
                  <a:gd name="connsiteX26" fmla="*/ 2441576 w 2441576"/>
                  <a:gd name="connsiteY26" fmla="*/ 152299 h 901154"/>
                  <a:gd name="connsiteX27" fmla="*/ 2441576 w 2441576"/>
                  <a:gd name="connsiteY27" fmla="*/ 235743 h 901154"/>
                  <a:gd name="connsiteX28" fmla="*/ 2441576 w 2441576"/>
                  <a:gd name="connsiteY28" fmla="*/ 304351 h 901154"/>
                  <a:gd name="connsiteX29" fmla="*/ 2441576 w 2441576"/>
                  <a:gd name="connsiteY29" fmla="*/ 387795 h 901154"/>
                  <a:gd name="connsiteX30" fmla="*/ 2441576 w 2441576"/>
                  <a:gd name="connsiteY30" fmla="*/ 456403 h 901154"/>
                  <a:gd name="connsiteX31" fmla="*/ 2441576 w 2441576"/>
                  <a:gd name="connsiteY31" fmla="*/ 539847 h 901154"/>
                  <a:gd name="connsiteX32" fmla="*/ 2441576 w 2441576"/>
                  <a:gd name="connsiteY32" fmla="*/ 608455 h 901154"/>
                  <a:gd name="connsiteX33" fmla="*/ 2441576 w 2441576"/>
                  <a:gd name="connsiteY33" fmla="*/ 691899 h 901154"/>
                  <a:gd name="connsiteX34" fmla="*/ 2441576 w 2441576"/>
                  <a:gd name="connsiteY34" fmla="*/ 760507 h 901154"/>
                  <a:gd name="connsiteX35" fmla="*/ 2441576 w 2441576"/>
                  <a:gd name="connsiteY35" fmla="*/ 832545 h 901154"/>
                  <a:gd name="connsiteX36" fmla="*/ 2441576 w 2441576"/>
                  <a:gd name="connsiteY36" fmla="*/ 901153 h 901154"/>
                  <a:gd name="connsiteX37" fmla="*/ 2321561 w 2441576"/>
                  <a:gd name="connsiteY37" fmla="*/ 901153 h 901154"/>
                  <a:gd name="connsiteX38" fmla="*/ 2239646 w 2441576"/>
                  <a:gd name="connsiteY38" fmla="*/ 901153 h 901154"/>
                  <a:gd name="connsiteX39" fmla="*/ 2176781 w 2441576"/>
                  <a:gd name="connsiteY39" fmla="*/ 901153 h 901154"/>
                  <a:gd name="connsiteX40" fmla="*/ 2109259 w 2441576"/>
                  <a:gd name="connsiteY40" fmla="*/ 901153 h 901154"/>
                  <a:gd name="connsiteX41" fmla="*/ 1941949 w 2441576"/>
                  <a:gd name="connsiteY41" fmla="*/ 901153 h 901154"/>
                  <a:gd name="connsiteX42" fmla="*/ 1824412 w 2441576"/>
                  <a:gd name="connsiteY42" fmla="*/ 901153 h 901154"/>
                  <a:gd name="connsiteX43" fmla="*/ 1720844 w 2441576"/>
                  <a:gd name="connsiteY43" fmla="*/ 901153 h 901154"/>
                  <a:gd name="connsiteX44" fmla="*/ 1609632 w 2441576"/>
                  <a:gd name="connsiteY44" fmla="*/ 901153 h 901154"/>
                  <a:gd name="connsiteX45" fmla="*/ 1539566 w 2441576"/>
                  <a:gd name="connsiteY45" fmla="*/ 901153 h 901154"/>
                  <a:gd name="connsiteX46" fmla="*/ 1427685 w 2441576"/>
                  <a:gd name="connsiteY46" fmla="*/ 901153 h 901154"/>
                  <a:gd name="connsiteX47" fmla="*/ 1324785 w 2441576"/>
                  <a:gd name="connsiteY47" fmla="*/ 901153 h 901154"/>
                  <a:gd name="connsiteX48" fmla="*/ 1254721 w 2441576"/>
                  <a:gd name="connsiteY48" fmla="*/ 901153 h 901154"/>
                  <a:gd name="connsiteX49" fmla="*/ 1146253 w 2441576"/>
                  <a:gd name="connsiteY49" fmla="*/ 901153 h 901154"/>
                  <a:gd name="connsiteX50" fmla="*/ 1039939 w 2441576"/>
                  <a:gd name="connsiteY50" fmla="*/ 901153 h 901154"/>
                  <a:gd name="connsiteX51" fmla="*/ 969874 w 2441576"/>
                  <a:gd name="connsiteY51" fmla="*/ 901153 h 901154"/>
                  <a:gd name="connsiteX52" fmla="*/ 864820 w 2441576"/>
                  <a:gd name="connsiteY52" fmla="*/ 901154 h 901154"/>
                  <a:gd name="connsiteX53" fmla="*/ 755093 w 2441576"/>
                  <a:gd name="connsiteY53" fmla="*/ 901153 h 901154"/>
                  <a:gd name="connsiteX54" fmla="*/ 685028 w 2441576"/>
                  <a:gd name="connsiteY54" fmla="*/ 901153 h 901154"/>
                  <a:gd name="connsiteX55" fmla="*/ 581332 w 2441576"/>
                  <a:gd name="connsiteY55" fmla="*/ 901153 h 901154"/>
                  <a:gd name="connsiteX56" fmla="*/ 471351 w 2441576"/>
                  <a:gd name="connsiteY56" fmla="*/ 901153 h 901154"/>
                  <a:gd name="connsiteX57" fmla="*/ 470246 w 2441576"/>
                  <a:gd name="connsiteY57" fmla="*/ 901153 h 901154"/>
                  <a:gd name="connsiteX58" fmla="*/ 377080 w 2441576"/>
                  <a:gd name="connsiteY58" fmla="*/ 901153 h 901154"/>
                  <a:gd name="connsiteX59" fmla="*/ 282811 w 2441576"/>
                  <a:gd name="connsiteY59" fmla="*/ 901153 h 901154"/>
                  <a:gd name="connsiteX60" fmla="*/ 188541 w 2441576"/>
                  <a:gd name="connsiteY60" fmla="*/ 901153 h 901154"/>
                  <a:gd name="connsiteX61" fmla="*/ 185400 w 2441576"/>
                  <a:gd name="connsiteY61" fmla="*/ 901153 h 901154"/>
                  <a:gd name="connsiteX62" fmla="*/ 94270 w 2441576"/>
                  <a:gd name="connsiteY62" fmla="*/ 901153 h 901154"/>
                  <a:gd name="connsiteX63" fmla="*/ 0 w 2441576"/>
                  <a:gd name="connsiteY63" fmla="*/ 901153 h 901154"/>
                  <a:gd name="connsiteX64" fmla="*/ 0 w 2441576"/>
                  <a:gd name="connsiteY64" fmla="*/ 832545 h 901154"/>
                  <a:gd name="connsiteX65" fmla="*/ 0 w 2441576"/>
                  <a:gd name="connsiteY65" fmla="*/ 760507 h 901154"/>
                  <a:gd name="connsiteX66" fmla="*/ 0 w 2441576"/>
                  <a:gd name="connsiteY66" fmla="*/ 691899 h 901154"/>
                  <a:gd name="connsiteX67" fmla="*/ 0 w 2441576"/>
                  <a:gd name="connsiteY67" fmla="*/ 608455 h 901154"/>
                  <a:gd name="connsiteX68" fmla="*/ 0 w 2441576"/>
                  <a:gd name="connsiteY68" fmla="*/ 539847 h 901154"/>
                  <a:gd name="connsiteX69" fmla="*/ 0 w 2441576"/>
                  <a:gd name="connsiteY69" fmla="*/ 456403 h 901154"/>
                  <a:gd name="connsiteX70" fmla="*/ 0 w 2441576"/>
                  <a:gd name="connsiteY70" fmla="*/ 387795 h 901154"/>
                  <a:gd name="connsiteX71" fmla="*/ 0 w 2441576"/>
                  <a:gd name="connsiteY71" fmla="*/ 304351 h 901154"/>
                  <a:gd name="connsiteX72" fmla="*/ 0 w 2441576"/>
                  <a:gd name="connsiteY72" fmla="*/ 235743 h 901154"/>
                  <a:gd name="connsiteX73" fmla="*/ 0 w 2441576"/>
                  <a:gd name="connsiteY73" fmla="*/ 152299 h 901154"/>
                  <a:gd name="connsiteX74" fmla="*/ 0 w 2441576"/>
                  <a:gd name="connsiteY74" fmla="*/ 83691 h 901154"/>
                  <a:gd name="connsiteX75" fmla="*/ 0 w 2441576"/>
                  <a:gd name="connsiteY75" fmla="*/ 247 h 901154"/>
                  <a:gd name="connsiteX0" fmla="*/ 0 w 2441576"/>
                  <a:gd name="connsiteY0" fmla="*/ 247 h 901154"/>
                  <a:gd name="connsiteX1" fmla="*/ 94270 w 2441576"/>
                  <a:gd name="connsiteY1" fmla="*/ 247 h 901154"/>
                  <a:gd name="connsiteX2" fmla="*/ 185400 w 2441576"/>
                  <a:gd name="connsiteY2" fmla="*/ 247 h 901154"/>
                  <a:gd name="connsiteX3" fmla="*/ 188541 w 2441576"/>
                  <a:gd name="connsiteY3" fmla="*/ 247 h 901154"/>
                  <a:gd name="connsiteX4" fmla="*/ 282811 w 2441576"/>
                  <a:gd name="connsiteY4" fmla="*/ 247 h 901154"/>
                  <a:gd name="connsiteX5" fmla="*/ 377080 w 2441576"/>
                  <a:gd name="connsiteY5" fmla="*/ 247 h 901154"/>
                  <a:gd name="connsiteX6" fmla="*/ 470246 w 2441576"/>
                  <a:gd name="connsiteY6" fmla="*/ 247 h 901154"/>
                  <a:gd name="connsiteX7" fmla="*/ 471351 w 2441576"/>
                  <a:gd name="connsiteY7" fmla="*/ 247 h 901154"/>
                  <a:gd name="connsiteX8" fmla="*/ 581332 w 2441576"/>
                  <a:gd name="connsiteY8" fmla="*/ 247 h 901154"/>
                  <a:gd name="connsiteX9" fmla="*/ 685028 w 2441576"/>
                  <a:gd name="connsiteY9" fmla="*/ 247 h 901154"/>
                  <a:gd name="connsiteX10" fmla="*/ 755093 w 2441576"/>
                  <a:gd name="connsiteY10" fmla="*/ 247 h 901154"/>
                  <a:gd name="connsiteX11" fmla="*/ 969874 w 2441576"/>
                  <a:gd name="connsiteY11" fmla="*/ 247 h 901154"/>
                  <a:gd name="connsiteX12" fmla="*/ 1039939 w 2441576"/>
                  <a:gd name="connsiteY12" fmla="*/ 247 h 901154"/>
                  <a:gd name="connsiteX13" fmla="*/ 1254721 w 2441576"/>
                  <a:gd name="connsiteY13" fmla="*/ 247 h 901154"/>
                  <a:gd name="connsiteX14" fmla="*/ 1324785 w 2441576"/>
                  <a:gd name="connsiteY14" fmla="*/ 247 h 901154"/>
                  <a:gd name="connsiteX15" fmla="*/ 1430031 w 2441576"/>
                  <a:gd name="connsiteY15" fmla="*/ 0 h 901154"/>
                  <a:gd name="connsiteX16" fmla="*/ 1539566 w 2441576"/>
                  <a:gd name="connsiteY16" fmla="*/ 247 h 901154"/>
                  <a:gd name="connsiteX17" fmla="*/ 1609632 w 2441576"/>
                  <a:gd name="connsiteY17" fmla="*/ 247 h 901154"/>
                  <a:gd name="connsiteX18" fmla="*/ 1824412 w 2441576"/>
                  <a:gd name="connsiteY18" fmla="*/ 247 h 901154"/>
                  <a:gd name="connsiteX19" fmla="*/ 1941949 w 2441576"/>
                  <a:gd name="connsiteY19" fmla="*/ 247 h 901154"/>
                  <a:gd name="connsiteX20" fmla="*/ 2094866 w 2441576"/>
                  <a:gd name="connsiteY20" fmla="*/ 247 h 901154"/>
                  <a:gd name="connsiteX21" fmla="*/ 2176781 w 2441576"/>
                  <a:gd name="connsiteY21" fmla="*/ 247 h 901154"/>
                  <a:gd name="connsiteX22" fmla="*/ 2258696 w 2441576"/>
                  <a:gd name="connsiteY22" fmla="*/ 247 h 901154"/>
                  <a:gd name="connsiteX23" fmla="*/ 2321561 w 2441576"/>
                  <a:gd name="connsiteY23" fmla="*/ 247 h 901154"/>
                  <a:gd name="connsiteX24" fmla="*/ 2441576 w 2441576"/>
                  <a:gd name="connsiteY24" fmla="*/ 247 h 901154"/>
                  <a:gd name="connsiteX25" fmla="*/ 2441576 w 2441576"/>
                  <a:gd name="connsiteY25" fmla="*/ 83691 h 901154"/>
                  <a:gd name="connsiteX26" fmla="*/ 2441576 w 2441576"/>
                  <a:gd name="connsiteY26" fmla="*/ 152299 h 901154"/>
                  <a:gd name="connsiteX27" fmla="*/ 2441576 w 2441576"/>
                  <a:gd name="connsiteY27" fmla="*/ 235743 h 901154"/>
                  <a:gd name="connsiteX28" fmla="*/ 2441576 w 2441576"/>
                  <a:gd name="connsiteY28" fmla="*/ 304351 h 901154"/>
                  <a:gd name="connsiteX29" fmla="*/ 2441576 w 2441576"/>
                  <a:gd name="connsiteY29" fmla="*/ 387795 h 901154"/>
                  <a:gd name="connsiteX30" fmla="*/ 2441576 w 2441576"/>
                  <a:gd name="connsiteY30" fmla="*/ 456403 h 901154"/>
                  <a:gd name="connsiteX31" fmla="*/ 2441576 w 2441576"/>
                  <a:gd name="connsiteY31" fmla="*/ 539847 h 901154"/>
                  <a:gd name="connsiteX32" fmla="*/ 2441576 w 2441576"/>
                  <a:gd name="connsiteY32" fmla="*/ 608455 h 901154"/>
                  <a:gd name="connsiteX33" fmla="*/ 2441576 w 2441576"/>
                  <a:gd name="connsiteY33" fmla="*/ 691899 h 901154"/>
                  <a:gd name="connsiteX34" fmla="*/ 2441576 w 2441576"/>
                  <a:gd name="connsiteY34" fmla="*/ 760507 h 901154"/>
                  <a:gd name="connsiteX35" fmla="*/ 2441576 w 2441576"/>
                  <a:gd name="connsiteY35" fmla="*/ 832545 h 901154"/>
                  <a:gd name="connsiteX36" fmla="*/ 2441576 w 2441576"/>
                  <a:gd name="connsiteY36" fmla="*/ 901153 h 901154"/>
                  <a:gd name="connsiteX37" fmla="*/ 2321561 w 2441576"/>
                  <a:gd name="connsiteY37" fmla="*/ 901153 h 901154"/>
                  <a:gd name="connsiteX38" fmla="*/ 2239646 w 2441576"/>
                  <a:gd name="connsiteY38" fmla="*/ 901153 h 901154"/>
                  <a:gd name="connsiteX39" fmla="*/ 2176781 w 2441576"/>
                  <a:gd name="connsiteY39" fmla="*/ 901153 h 901154"/>
                  <a:gd name="connsiteX40" fmla="*/ 2109259 w 2441576"/>
                  <a:gd name="connsiteY40" fmla="*/ 901153 h 901154"/>
                  <a:gd name="connsiteX41" fmla="*/ 2025730 w 2441576"/>
                  <a:gd name="connsiteY41" fmla="*/ 901153 h 901154"/>
                  <a:gd name="connsiteX42" fmla="*/ 1941949 w 2441576"/>
                  <a:gd name="connsiteY42" fmla="*/ 901153 h 901154"/>
                  <a:gd name="connsiteX43" fmla="*/ 1824412 w 2441576"/>
                  <a:gd name="connsiteY43" fmla="*/ 901153 h 901154"/>
                  <a:gd name="connsiteX44" fmla="*/ 1720844 w 2441576"/>
                  <a:gd name="connsiteY44" fmla="*/ 901153 h 901154"/>
                  <a:gd name="connsiteX45" fmla="*/ 1609632 w 2441576"/>
                  <a:gd name="connsiteY45" fmla="*/ 901153 h 901154"/>
                  <a:gd name="connsiteX46" fmla="*/ 1539566 w 2441576"/>
                  <a:gd name="connsiteY46" fmla="*/ 901153 h 901154"/>
                  <a:gd name="connsiteX47" fmla="*/ 1427685 w 2441576"/>
                  <a:gd name="connsiteY47" fmla="*/ 901153 h 901154"/>
                  <a:gd name="connsiteX48" fmla="*/ 1324785 w 2441576"/>
                  <a:gd name="connsiteY48" fmla="*/ 901153 h 901154"/>
                  <a:gd name="connsiteX49" fmla="*/ 1254721 w 2441576"/>
                  <a:gd name="connsiteY49" fmla="*/ 901153 h 901154"/>
                  <a:gd name="connsiteX50" fmla="*/ 1146253 w 2441576"/>
                  <a:gd name="connsiteY50" fmla="*/ 901153 h 901154"/>
                  <a:gd name="connsiteX51" fmla="*/ 1039939 w 2441576"/>
                  <a:gd name="connsiteY51" fmla="*/ 901153 h 901154"/>
                  <a:gd name="connsiteX52" fmla="*/ 969874 w 2441576"/>
                  <a:gd name="connsiteY52" fmla="*/ 901153 h 901154"/>
                  <a:gd name="connsiteX53" fmla="*/ 864820 w 2441576"/>
                  <a:gd name="connsiteY53" fmla="*/ 901154 h 901154"/>
                  <a:gd name="connsiteX54" fmla="*/ 755093 w 2441576"/>
                  <a:gd name="connsiteY54" fmla="*/ 901153 h 901154"/>
                  <a:gd name="connsiteX55" fmla="*/ 685028 w 2441576"/>
                  <a:gd name="connsiteY55" fmla="*/ 901153 h 901154"/>
                  <a:gd name="connsiteX56" fmla="*/ 581332 w 2441576"/>
                  <a:gd name="connsiteY56" fmla="*/ 901153 h 901154"/>
                  <a:gd name="connsiteX57" fmla="*/ 471351 w 2441576"/>
                  <a:gd name="connsiteY57" fmla="*/ 901153 h 901154"/>
                  <a:gd name="connsiteX58" fmla="*/ 470246 w 2441576"/>
                  <a:gd name="connsiteY58" fmla="*/ 901153 h 901154"/>
                  <a:gd name="connsiteX59" fmla="*/ 377080 w 2441576"/>
                  <a:gd name="connsiteY59" fmla="*/ 901153 h 901154"/>
                  <a:gd name="connsiteX60" fmla="*/ 282811 w 2441576"/>
                  <a:gd name="connsiteY60" fmla="*/ 901153 h 901154"/>
                  <a:gd name="connsiteX61" fmla="*/ 188541 w 2441576"/>
                  <a:gd name="connsiteY61" fmla="*/ 901153 h 901154"/>
                  <a:gd name="connsiteX62" fmla="*/ 185400 w 2441576"/>
                  <a:gd name="connsiteY62" fmla="*/ 901153 h 901154"/>
                  <a:gd name="connsiteX63" fmla="*/ 94270 w 2441576"/>
                  <a:gd name="connsiteY63" fmla="*/ 901153 h 901154"/>
                  <a:gd name="connsiteX64" fmla="*/ 0 w 2441576"/>
                  <a:gd name="connsiteY64" fmla="*/ 901153 h 901154"/>
                  <a:gd name="connsiteX65" fmla="*/ 0 w 2441576"/>
                  <a:gd name="connsiteY65" fmla="*/ 832545 h 901154"/>
                  <a:gd name="connsiteX66" fmla="*/ 0 w 2441576"/>
                  <a:gd name="connsiteY66" fmla="*/ 760507 h 901154"/>
                  <a:gd name="connsiteX67" fmla="*/ 0 w 2441576"/>
                  <a:gd name="connsiteY67" fmla="*/ 691899 h 901154"/>
                  <a:gd name="connsiteX68" fmla="*/ 0 w 2441576"/>
                  <a:gd name="connsiteY68" fmla="*/ 608455 h 901154"/>
                  <a:gd name="connsiteX69" fmla="*/ 0 w 2441576"/>
                  <a:gd name="connsiteY69" fmla="*/ 539847 h 901154"/>
                  <a:gd name="connsiteX70" fmla="*/ 0 w 2441576"/>
                  <a:gd name="connsiteY70" fmla="*/ 456403 h 901154"/>
                  <a:gd name="connsiteX71" fmla="*/ 0 w 2441576"/>
                  <a:gd name="connsiteY71" fmla="*/ 387795 h 901154"/>
                  <a:gd name="connsiteX72" fmla="*/ 0 w 2441576"/>
                  <a:gd name="connsiteY72" fmla="*/ 304351 h 901154"/>
                  <a:gd name="connsiteX73" fmla="*/ 0 w 2441576"/>
                  <a:gd name="connsiteY73" fmla="*/ 235743 h 901154"/>
                  <a:gd name="connsiteX74" fmla="*/ 0 w 2441576"/>
                  <a:gd name="connsiteY74" fmla="*/ 152299 h 901154"/>
                  <a:gd name="connsiteX75" fmla="*/ 0 w 2441576"/>
                  <a:gd name="connsiteY75" fmla="*/ 83691 h 901154"/>
                  <a:gd name="connsiteX76" fmla="*/ 0 w 2441576"/>
                  <a:gd name="connsiteY76" fmla="*/ 247 h 901154"/>
                  <a:gd name="connsiteX0" fmla="*/ 0 w 2441576"/>
                  <a:gd name="connsiteY0" fmla="*/ 247 h 901154"/>
                  <a:gd name="connsiteX1" fmla="*/ 94270 w 2441576"/>
                  <a:gd name="connsiteY1" fmla="*/ 247 h 901154"/>
                  <a:gd name="connsiteX2" fmla="*/ 185400 w 2441576"/>
                  <a:gd name="connsiteY2" fmla="*/ 247 h 901154"/>
                  <a:gd name="connsiteX3" fmla="*/ 188541 w 2441576"/>
                  <a:gd name="connsiteY3" fmla="*/ 247 h 901154"/>
                  <a:gd name="connsiteX4" fmla="*/ 282811 w 2441576"/>
                  <a:gd name="connsiteY4" fmla="*/ 247 h 901154"/>
                  <a:gd name="connsiteX5" fmla="*/ 377080 w 2441576"/>
                  <a:gd name="connsiteY5" fmla="*/ 247 h 901154"/>
                  <a:gd name="connsiteX6" fmla="*/ 470246 w 2441576"/>
                  <a:gd name="connsiteY6" fmla="*/ 247 h 901154"/>
                  <a:gd name="connsiteX7" fmla="*/ 471351 w 2441576"/>
                  <a:gd name="connsiteY7" fmla="*/ 247 h 901154"/>
                  <a:gd name="connsiteX8" fmla="*/ 581332 w 2441576"/>
                  <a:gd name="connsiteY8" fmla="*/ 247 h 901154"/>
                  <a:gd name="connsiteX9" fmla="*/ 685028 w 2441576"/>
                  <a:gd name="connsiteY9" fmla="*/ 247 h 901154"/>
                  <a:gd name="connsiteX10" fmla="*/ 755093 w 2441576"/>
                  <a:gd name="connsiteY10" fmla="*/ 247 h 901154"/>
                  <a:gd name="connsiteX11" fmla="*/ 969874 w 2441576"/>
                  <a:gd name="connsiteY11" fmla="*/ 247 h 901154"/>
                  <a:gd name="connsiteX12" fmla="*/ 1039939 w 2441576"/>
                  <a:gd name="connsiteY12" fmla="*/ 247 h 901154"/>
                  <a:gd name="connsiteX13" fmla="*/ 1254721 w 2441576"/>
                  <a:gd name="connsiteY13" fmla="*/ 247 h 901154"/>
                  <a:gd name="connsiteX14" fmla="*/ 1324785 w 2441576"/>
                  <a:gd name="connsiteY14" fmla="*/ 247 h 901154"/>
                  <a:gd name="connsiteX15" fmla="*/ 1430031 w 2441576"/>
                  <a:gd name="connsiteY15" fmla="*/ 0 h 901154"/>
                  <a:gd name="connsiteX16" fmla="*/ 1539566 w 2441576"/>
                  <a:gd name="connsiteY16" fmla="*/ 247 h 901154"/>
                  <a:gd name="connsiteX17" fmla="*/ 1609632 w 2441576"/>
                  <a:gd name="connsiteY17" fmla="*/ 247 h 901154"/>
                  <a:gd name="connsiteX18" fmla="*/ 1707946 w 2441576"/>
                  <a:gd name="connsiteY18" fmla="*/ 1 h 901154"/>
                  <a:gd name="connsiteX19" fmla="*/ 1824412 w 2441576"/>
                  <a:gd name="connsiteY19" fmla="*/ 247 h 901154"/>
                  <a:gd name="connsiteX20" fmla="*/ 1941949 w 2441576"/>
                  <a:gd name="connsiteY20" fmla="*/ 247 h 901154"/>
                  <a:gd name="connsiteX21" fmla="*/ 2094866 w 2441576"/>
                  <a:gd name="connsiteY21" fmla="*/ 247 h 901154"/>
                  <a:gd name="connsiteX22" fmla="*/ 2176781 w 2441576"/>
                  <a:gd name="connsiteY22" fmla="*/ 247 h 901154"/>
                  <a:gd name="connsiteX23" fmla="*/ 2258696 w 2441576"/>
                  <a:gd name="connsiteY23" fmla="*/ 247 h 901154"/>
                  <a:gd name="connsiteX24" fmla="*/ 2321561 w 2441576"/>
                  <a:gd name="connsiteY24" fmla="*/ 247 h 901154"/>
                  <a:gd name="connsiteX25" fmla="*/ 2441576 w 2441576"/>
                  <a:gd name="connsiteY25" fmla="*/ 247 h 901154"/>
                  <a:gd name="connsiteX26" fmla="*/ 2441576 w 2441576"/>
                  <a:gd name="connsiteY26" fmla="*/ 83691 h 901154"/>
                  <a:gd name="connsiteX27" fmla="*/ 2441576 w 2441576"/>
                  <a:gd name="connsiteY27" fmla="*/ 152299 h 901154"/>
                  <a:gd name="connsiteX28" fmla="*/ 2441576 w 2441576"/>
                  <a:gd name="connsiteY28" fmla="*/ 235743 h 901154"/>
                  <a:gd name="connsiteX29" fmla="*/ 2441576 w 2441576"/>
                  <a:gd name="connsiteY29" fmla="*/ 304351 h 901154"/>
                  <a:gd name="connsiteX30" fmla="*/ 2441576 w 2441576"/>
                  <a:gd name="connsiteY30" fmla="*/ 387795 h 901154"/>
                  <a:gd name="connsiteX31" fmla="*/ 2441576 w 2441576"/>
                  <a:gd name="connsiteY31" fmla="*/ 456403 h 901154"/>
                  <a:gd name="connsiteX32" fmla="*/ 2441576 w 2441576"/>
                  <a:gd name="connsiteY32" fmla="*/ 539847 h 901154"/>
                  <a:gd name="connsiteX33" fmla="*/ 2441576 w 2441576"/>
                  <a:gd name="connsiteY33" fmla="*/ 608455 h 901154"/>
                  <a:gd name="connsiteX34" fmla="*/ 2441576 w 2441576"/>
                  <a:gd name="connsiteY34" fmla="*/ 691899 h 901154"/>
                  <a:gd name="connsiteX35" fmla="*/ 2441576 w 2441576"/>
                  <a:gd name="connsiteY35" fmla="*/ 760507 h 901154"/>
                  <a:gd name="connsiteX36" fmla="*/ 2441576 w 2441576"/>
                  <a:gd name="connsiteY36" fmla="*/ 832545 h 901154"/>
                  <a:gd name="connsiteX37" fmla="*/ 2441576 w 2441576"/>
                  <a:gd name="connsiteY37" fmla="*/ 901153 h 901154"/>
                  <a:gd name="connsiteX38" fmla="*/ 2321561 w 2441576"/>
                  <a:gd name="connsiteY38" fmla="*/ 901153 h 901154"/>
                  <a:gd name="connsiteX39" fmla="*/ 2239646 w 2441576"/>
                  <a:gd name="connsiteY39" fmla="*/ 901153 h 901154"/>
                  <a:gd name="connsiteX40" fmla="*/ 2176781 w 2441576"/>
                  <a:gd name="connsiteY40" fmla="*/ 901153 h 901154"/>
                  <a:gd name="connsiteX41" fmla="*/ 2109259 w 2441576"/>
                  <a:gd name="connsiteY41" fmla="*/ 901153 h 901154"/>
                  <a:gd name="connsiteX42" fmla="*/ 2025730 w 2441576"/>
                  <a:gd name="connsiteY42" fmla="*/ 901153 h 901154"/>
                  <a:gd name="connsiteX43" fmla="*/ 1941949 w 2441576"/>
                  <a:gd name="connsiteY43" fmla="*/ 901153 h 901154"/>
                  <a:gd name="connsiteX44" fmla="*/ 1824412 w 2441576"/>
                  <a:gd name="connsiteY44" fmla="*/ 901153 h 901154"/>
                  <a:gd name="connsiteX45" fmla="*/ 1720844 w 2441576"/>
                  <a:gd name="connsiteY45" fmla="*/ 901153 h 901154"/>
                  <a:gd name="connsiteX46" fmla="*/ 1609632 w 2441576"/>
                  <a:gd name="connsiteY46" fmla="*/ 901153 h 901154"/>
                  <a:gd name="connsiteX47" fmla="*/ 1539566 w 2441576"/>
                  <a:gd name="connsiteY47" fmla="*/ 901153 h 901154"/>
                  <a:gd name="connsiteX48" fmla="*/ 1427685 w 2441576"/>
                  <a:gd name="connsiteY48" fmla="*/ 901153 h 901154"/>
                  <a:gd name="connsiteX49" fmla="*/ 1324785 w 2441576"/>
                  <a:gd name="connsiteY49" fmla="*/ 901153 h 901154"/>
                  <a:gd name="connsiteX50" fmla="*/ 1254721 w 2441576"/>
                  <a:gd name="connsiteY50" fmla="*/ 901153 h 901154"/>
                  <a:gd name="connsiteX51" fmla="*/ 1146253 w 2441576"/>
                  <a:gd name="connsiteY51" fmla="*/ 901153 h 901154"/>
                  <a:gd name="connsiteX52" fmla="*/ 1039939 w 2441576"/>
                  <a:gd name="connsiteY52" fmla="*/ 901153 h 901154"/>
                  <a:gd name="connsiteX53" fmla="*/ 969874 w 2441576"/>
                  <a:gd name="connsiteY53" fmla="*/ 901153 h 901154"/>
                  <a:gd name="connsiteX54" fmla="*/ 864820 w 2441576"/>
                  <a:gd name="connsiteY54" fmla="*/ 901154 h 901154"/>
                  <a:gd name="connsiteX55" fmla="*/ 755093 w 2441576"/>
                  <a:gd name="connsiteY55" fmla="*/ 901153 h 901154"/>
                  <a:gd name="connsiteX56" fmla="*/ 685028 w 2441576"/>
                  <a:gd name="connsiteY56" fmla="*/ 901153 h 901154"/>
                  <a:gd name="connsiteX57" fmla="*/ 581332 w 2441576"/>
                  <a:gd name="connsiteY57" fmla="*/ 901153 h 901154"/>
                  <a:gd name="connsiteX58" fmla="*/ 471351 w 2441576"/>
                  <a:gd name="connsiteY58" fmla="*/ 901153 h 901154"/>
                  <a:gd name="connsiteX59" fmla="*/ 470246 w 2441576"/>
                  <a:gd name="connsiteY59" fmla="*/ 901153 h 901154"/>
                  <a:gd name="connsiteX60" fmla="*/ 377080 w 2441576"/>
                  <a:gd name="connsiteY60" fmla="*/ 901153 h 901154"/>
                  <a:gd name="connsiteX61" fmla="*/ 282811 w 2441576"/>
                  <a:gd name="connsiteY61" fmla="*/ 901153 h 901154"/>
                  <a:gd name="connsiteX62" fmla="*/ 188541 w 2441576"/>
                  <a:gd name="connsiteY62" fmla="*/ 901153 h 901154"/>
                  <a:gd name="connsiteX63" fmla="*/ 185400 w 2441576"/>
                  <a:gd name="connsiteY63" fmla="*/ 901153 h 901154"/>
                  <a:gd name="connsiteX64" fmla="*/ 94270 w 2441576"/>
                  <a:gd name="connsiteY64" fmla="*/ 901153 h 901154"/>
                  <a:gd name="connsiteX65" fmla="*/ 0 w 2441576"/>
                  <a:gd name="connsiteY65" fmla="*/ 901153 h 901154"/>
                  <a:gd name="connsiteX66" fmla="*/ 0 w 2441576"/>
                  <a:gd name="connsiteY66" fmla="*/ 832545 h 901154"/>
                  <a:gd name="connsiteX67" fmla="*/ 0 w 2441576"/>
                  <a:gd name="connsiteY67" fmla="*/ 760507 h 901154"/>
                  <a:gd name="connsiteX68" fmla="*/ 0 w 2441576"/>
                  <a:gd name="connsiteY68" fmla="*/ 691899 h 901154"/>
                  <a:gd name="connsiteX69" fmla="*/ 0 w 2441576"/>
                  <a:gd name="connsiteY69" fmla="*/ 608455 h 901154"/>
                  <a:gd name="connsiteX70" fmla="*/ 0 w 2441576"/>
                  <a:gd name="connsiteY70" fmla="*/ 539847 h 901154"/>
                  <a:gd name="connsiteX71" fmla="*/ 0 w 2441576"/>
                  <a:gd name="connsiteY71" fmla="*/ 456403 h 901154"/>
                  <a:gd name="connsiteX72" fmla="*/ 0 w 2441576"/>
                  <a:gd name="connsiteY72" fmla="*/ 387795 h 901154"/>
                  <a:gd name="connsiteX73" fmla="*/ 0 w 2441576"/>
                  <a:gd name="connsiteY73" fmla="*/ 304351 h 901154"/>
                  <a:gd name="connsiteX74" fmla="*/ 0 w 2441576"/>
                  <a:gd name="connsiteY74" fmla="*/ 235743 h 901154"/>
                  <a:gd name="connsiteX75" fmla="*/ 0 w 2441576"/>
                  <a:gd name="connsiteY75" fmla="*/ 152299 h 901154"/>
                  <a:gd name="connsiteX76" fmla="*/ 0 w 2441576"/>
                  <a:gd name="connsiteY76" fmla="*/ 83691 h 901154"/>
                  <a:gd name="connsiteX77" fmla="*/ 0 w 2441576"/>
                  <a:gd name="connsiteY77" fmla="*/ 247 h 901154"/>
                  <a:gd name="connsiteX0" fmla="*/ 0 w 2441576"/>
                  <a:gd name="connsiteY0" fmla="*/ 247 h 901154"/>
                  <a:gd name="connsiteX1" fmla="*/ 94270 w 2441576"/>
                  <a:gd name="connsiteY1" fmla="*/ 247 h 901154"/>
                  <a:gd name="connsiteX2" fmla="*/ 185400 w 2441576"/>
                  <a:gd name="connsiteY2" fmla="*/ 247 h 901154"/>
                  <a:gd name="connsiteX3" fmla="*/ 188541 w 2441576"/>
                  <a:gd name="connsiteY3" fmla="*/ 247 h 901154"/>
                  <a:gd name="connsiteX4" fmla="*/ 282811 w 2441576"/>
                  <a:gd name="connsiteY4" fmla="*/ 247 h 901154"/>
                  <a:gd name="connsiteX5" fmla="*/ 377080 w 2441576"/>
                  <a:gd name="connsiteY5" fmla="*/ 247 h 901154"/>
                  <a:gd name="connsiteX6" fmla="*/ 470246 w 2441576"/>
                  <a:gd name="connsiteY6" fmla="*/ 247 h 901154"/>
                  <a:gd name="connsiteX7" fmla="*/ 471351 w 2441576"/>
                  <a:gd name="connsiteY7" fmla="*/ 247 h 901154"/>
                  <a:gd name="connsiteX8" fmla="*/ 581332 w 2441576"/>
                  <a:gd name="connsiteY8" fmla="*/ 247 h 901154"/>
                  <a:gd name="connsiteX9" fmla="*/ 685028 w 2441576"/>
                  <a:gd name="connsiteY9" fmla="*/ 247 h 901154"/>
                  <a:gd name="connsiteX10" fmla="*/ 755093 w 2441576"/>
                  <a:gd name="connsiteY10" fmla="*/ 247 h 901154"/>
                  <a:gd name="connsiteX11" fmla="*/ 969874 w 2441576"/>
                  <a:gd name="connsiteY11" fmla="*/ 247 h 901154"/>
                  <a:gd name="connsiteX12" fmla="*/ 1039939 w 2441576"/>
                  <a:gd name="connsiteY12" fmla="*/ 247 h 901154"/>
                  <a:gd name="connsiteX13" fmla="*/ 1146839 w 2441576"/>
                  <a:gd name="connsiteY13" fmla="*/ 1 h 901154"/>
                  <a:gd name="connsiteX14" fmla="*/ 1254721 w 2441576"/>
                  <a:gd name="connsiteY14" fmla="*/ 247 h 901154"/>
                  <a:gd name="connsiteX15" fmla="*/ 1324785 w 2441576"/>
                  <a:gd name="connsiteY15" fmla="*/ 247 h 901154"/>
                  <a:gd name="connsiteX16" fmla="*/ 1430031 w 2441576"/>
                  <a:gd name="connsiteY16" fmla="*/ 0 h 901154"/>
                  <a:gd name="connsiteX17" fmla="*/ 1539566 w 2441576"/>
                  <a:gd name="connsiteY17" fmla="*/ 247 h 901154"/>
                  <a:gd name="connsiteX18" fmla="*/ 1609632 w 2441576"/>
                  <a:gd name="connsiteY18" fmla="*/ 247 h 901154"/>
                  <a:gd name="connsiteX19" fmla="*/ 1707946 w 2441576"/>
                  <a:gd name="connsiteY19" fmla="*/ 1 h 901154"/>
                  <a:gd name="connsiteX20" fmla="*/ 1824412 w 2441576"/>
                  <a:gd name="connsiteY20" fmla="*/ 247 h 901154"/>
                  <a:gd name="connsiteX21" fmla="*/ 1941949 w 2441576"/>
                  <a:gd name="connsiteY21" fmla="*/ 247 h 901154"/>
                  <a:gd name="connsiteX22" fmla="*/ 2094866 w 2441576"/>
                  <a:gd name="connsiteY22" fmla="*/ 247 h 901154"/>
                  <a:gd name="connsiteX23" fmla="*/ 2176781 w 2441576"/>
                  <a:gd name="connsiteY23" fmla="*/ 247 h 901154"/>
                  <a:gd name="connsiteX24" fmla="*/ 2258696 w 2441576"/>
                  <a:gd name="connsiteY24" fmla="*/ 247 h 901154"/>
                  <a:gd name="connsiteX25" fmla="*/ 2321561 w 2441576"/>
                  <a:gd name="connsiteY25" fmla="*/ 247 h 901154"/>
                  <a:gd name="connsiteX26" fmla="*/ 2441576 w 2441576"/>
                  <a:gd name="connsiteY26" fmla="*/ 247 h 901154"/>
                  <a:gd name="connsiteX27" fmla="*/ 2441576 w 2441576"/>
                  <a:gd name="connsiteY27" fmla="*/ 83691 h 901154"/>
                  <a:gd name="connsiteX28" fmla="*/ 2441576 w 2441576"/>
                  <a:gd name="connsiteY28" fmla="*/ 152299 h 901154"/>
                  <a:gd name="connsiteX29" fmla="*/ 2441576 w 2441576"/>
                  <a:gd name="connsiteY29" fmla="*/ 235743 h 901154"/>
                  <a:gd name="connsiteX30" fmla="*/ 2441576 w 2441576"/>
                  <a:gd name="connsiteY30" fmla="*/ 304351 h 901154"/>
                  <a:gd name="connsiteX31" fmla="*/ 2441576 w 2441576"/>
                  <a:gd name="connsiteY31" fmla="*/ 387795 h 901154"/>
                  <a:gd name="connsiteX32" fmla="*/ 2441576 w 2441576"/>
                  <a:gd name="connsiteY32" fmla="*/ 456403 h 901154"/>
                  <a:gd name="connsiteX33" fmla="*/ 2441576 w 2441576"/>
                  <a:gd name="connsiteY33" fmla="*/ 539847 h 901154"/>
                  <a:gd name="connsiteX34" fmla="*/ 2441576 w 2441576"/>
                  <a:gd name="connsiteY34" fmla="*/ 608455 h 901154"/>
                  <a:gd name="connsiteX35" fmla="*/ 2441576 w 2441576"/>
                  <a:gd name="connsiteY35" fmla="*/ 691899 h 901154"/>
                  <a:gd name="connsiteX36" fmla="*/ 2441576 w 2441576"/>
                  <a:gd name="connsiteY36" fmla="*/ 760507 h 901154"/>
                  <a:gd name="connsiteX37" fmla="*/ 2441576 w 2441576"/>
                  <a:gd name="connsiteY37" fmla="*/ 832545 h 901154"/>
                  <a:gd name="connsiteX38" fmla="*/ 2441576 w 2441576"/>
                  <a:gd name="connsiteY38" fmla="*/ 901153 h 901154"/>
                  <a:gd name="connsiteX39" fmla="*/ 2321561 w 2441576"/>
                  <a:gd name="connsiteY39" fmla="*/ 901153 h 901154"/>
                  <a:gd name="connsiteX40" fmla="*/ 2239646 w 2441576"/>
                  <a:gd name="connsiteY40" fmla="*/ 901153 h 901154"/>
                  <a:gd name="connsiteX41" fmla="*/ 2176781 w 2441576"/>
                  <a:gd name="connsiteY41" fmla="*/ 901153 h 901154"/>
                  <a:gd name="connsiteX42" fmla="*/ 2109259 w 2441576"/>
                  <a:gd name="connsiteY42" fmla="*/ 901153 h 901154"/>
                  <a:gd name="connsiteX43" fmla="*/ 2025730 w 2441576"/>
                  <a:gd name="connsiteY43" fmla="*/ 901153 h 901154"/>
                  <a:gd name="connsiteX44" fmla="*/ 1941949 w 2441576"/>
                  <a:gd name="connsiteY44" fmla="*/ 901153 h 901154"/>
                  <a:gd name="connsiteX45" fmla="*/ 1824412 w 2441576"/>
                  <a:gd name="connsiteY45" fmla="*/ 901153 h 901154"/>
                  <a:gd name="connsiteX46" fmla="*/ 1720844 w 2441576"/>
                  <a:gd name="connsiteY46" fmla="*/ 901153 h 901154"/>
                  <a:gd name="connsiteX47" fmla="*/ 1609632 w 2441576"/>
                  <a:gd name="connsiteY47" fmla="*/ 901153 h 901154"/>
                  <a:gd name="connsiteX48" fmla="*/ 1539566 w 2441576"/>
                  <a:gd name="connsiteY48" fmla="*/ 901153 h 901154"/>
                  <a:gd name="connsiteX49" fmla="*/ 1427685 w 2441576"/>
                  <a:gd name="connsiteY49" fmla="*/ 901153 h 901154"/>
                  <a:gd name="connsiteX50" fmla="*/ 1324785 w 2441576"/>
                  <a:gd name="connsiteY50" fmla="*/ 901153 h 901154"/>
                  <a:gd name="connsiteX51" fmla="*/ 1254721 w 2441576"/>
                  <a:gd name="connsiteY51" fmla="*/ 901153 h 901154"/>
                  <a:gd name="connsiteX52" fmla="*/ 1146253 w 2441576"/>
                  <a:gd name="connsiteY52" fmla="*/ 901153 h 901154"/>
                  <a:gd name="connsiteX53" fmla="*/ 1039939 w 2441576"/>
                  <a:gd name="connsiteY53" fmla="*/ 901153 h 901154"/>
                  <a:gd name="connsiteX54" fmla="*/ 969874 w 2441576"/>
                  <a:gd name="connsiteY54" fmla="*/ 901153 h 901154"/>
                  <a:gd name="connsiteX55" fmla="*/ 864820 w 2441576"/>
                  <a:gd name="connsiteY55" fmla="*/ 901154 h 901154"/>
                  <a:gd name="connsiteX56" fmla="*/ 755093 w 2441576"/>
                  <a:gd name="connsiteY56" fmla="*/ 901153 h 901154"/>
                  <a:gd name="connsiteX57" fmla="*/ 685028 w 2441576"/>
                  <a:gd name="connsiteY57" fmla="*/ 901153 h 901154"/>
                  <a:gd name="connsiteX58" fmla="*/ 581332 w 2441576"/>
                  <a:gd name="connsiteY58" fmla="*/ 901153 h 901154"/>
                  <a:gd name="connsiteX59" fmla="*/ 471351 w 2441576"/>
                  <a:gd name="connsiteY59" fmla="*/ 901153 h 901154"/>
                  <a:gd name="connsiteX60" fmla="*/ 470246 w 2441576"/>
                  <a:gd name="connsiteY60" fmla="*/ 901153 h 901154"/>
                  <a:gd name="connsiteX61" fmla="*/ 377080 w 2441576"/>
                  <a:gd name="connsiteY61" fmla="*/ 901153 h 901154"/>
                  <a:gd name="connsiteX62" fmla="*/ 282811 w 2441576"/>
                  <a:gd name="connsiteY62" fmla="*/ 901153 h 901154"/>
                  <a:gd name="connsiteX63" fmla="*/ 188541 w 2441576"/>
                  <a:gd name="connsiteY63" fmla="*/ 901153 h 901154"/>
                  <a:gd name="connsiteX64" fmla="*/ 185400 w 2441576"/>
                  <a:gd name="connsiteY64" fmla="*/ 901153 h 901154"/>
                  <a:gd name="connsiteX65" fmla="*/ 94270 w 2441576"/>
                  <a:gd name="connsiteY65" fmla="*/ 901153 h 901154"/>
                  <a:gd name="connsiteX66" fmla="*/ 0 w 2441576"/>
                  <a:gd name="connsiteY66" fmla="*/ 901153 h 901154"/>
                  <a:gd name="connsiteX67" fmla="*/ 0 w 2441576"/>
                  <a:gd name="connsiteY67" fmla="*/ 832545 h 901154"/>
                  <a:gd name="connsiteX68" fmla="*/ 0 w 2441576"/>
                  <a:gd name="connsiteY68" fmla="*/ 760507 h 901154"/>
                  <a:gd name="connsiteX69" fmla="*/ 0 w 2441576"/>
                  <a:gd name="connsiteY69" fmla="*/ 691899 h 901154"/>
                  <a:gd name="connsiteX70" fmla="*/ 0 w 2441576"/>
                  <a:gd name="connsiteY70" fmla="*/ 608455 h 901154"/>
                  <a:gd name="connsiteX71" fmla="*/ 0 w 2441576"/>
                  <a:gd name="connsiteY71" fmla="*/ 539847 h 901154"/>
                  <a:gd name="connsiteX72" fmla="*/ 0 w 2441576"/>
                  <a:gd name="connsiteY72" fmla="*/ 456403 h 901154"/>
                  <a:gd name="connsiteX73" fmla="*/ 0 w 2441576"/>
                  <a:gd name="connsiteY73" fmla="*/ 387795 h 901154"/>
                  <a:gd name="connsiteX74" fmla="*/ 0 w 2441576"/>
                  <a:gd name="connsiteY74" fmla="*/ 304351 h 901154"/>
                  <a:gd name="connsiteX75" fmla="*/ 0 w 2441576"/>
                  <a:gd name="connsiteY75" fmla="*/ 235743 h 901154"/>
                  <a:gd name="connsiteX76" fmla="*/ 0 w 2441576"/>
                  <a:gd name="connsiteY76" fmla="*/ 152299 h 901154"/>
                  <a:gd name="connsiteX77" fmla="*/ 0 w 2441576"/>
                  <a:gd name="connsiteY77" fmla="*/ 83691 h 901154"/>
                  <a:gd name="connsiteX78" fmla="*/ 0 w 2441576"/>
                  <a:gd name="connsiteY78" fmla="*/ 247 h 901154"/>
                  <a:gd name="connsiteX0" fmla="*/ 0 w 2441576"/>
                  <a:gd name="connsiteY0" fmla="*/ 247 h 901154"/>
                  <a:gd name="connsiteX1" fmla="*/ 94270 w 2441576"/>
                  <a:gd name="connsiteY1" fmla="*/ 247 h 901154"/>
                  <a:gd name="connsiteX2" fmla="*/ 185400 w 2441576"/>
                  <a:gd name="connsiteY2" fmla="*/ 247 h 901154"/>
                  <a:gd name="connsiteX3" fmla="*/ 188541 w 2441576"/>
                  <a:gd name="connsiteY3" fmla="*/ 247 h 901154"/>
                  <a:gd name="connsiteX4" fmla="*/ 282811 w 2441576"/>
                  <a:gd name="connsiteY4" fmla="*/ 247 h 901154"/>
                  <a:gd name="connsiteX5" fmla="*/ 377080 w 2441576"/>
                  <a:gd name="connsiteY5" fmla="*/ 247 h 901154"/>
                  <a:gd name="connsiteX6" fmla="*/ 470246 w 2441576"/>
                  <a:gd name="connsiteY6" fmla="*/ 247 h 901154"/>
                  <a:gd name="connsiteX7" fmla="*/ 471351 w 2441576"/>
                  <a:gd name="connsiteY7" fmla="*/ 247 h 901154"/>
                  <a:gd name="connsiteX8" fmla="*/ 581332 w 2441576"/>
                  <a:gd name="connsiteY8" fmla="*/ 247 h 901154"/>
                  <a:gd name="connsiteX9" fmla="*/ 685028 w 2441576"/>
                  <a:gd name="connsiteY9" fmla="*/ 247 h 901154"/>
                  <a:gd name="connsiteX10" fmla="*/ 755093 w 2441576"/>
                  <a:gd name="connsiteY10" fmla="*/ 247 h 901154"/>
                  <a:gd name="connsiteX11" fmla="*/ 860129 w 2441576"/>
                  <a:gd name="connsiteY11" fmla="*/ 1 h 901154"/>
                  <a:gd name="connsiteX12" fmla="*/ 969874 w 2441576"/>
                  <a:gd name="connsiteY12" fmla="*/ 247 h 901154"/>
                  <a:gd name="connsiteX13" fmla="*/ 1039939 w 2441576"/>
                  <a:gd name="connsiteY13" fmla="*/ 247 h 901154"/>
                  <a:gd name="connsiteX14" fmla="*/ 1146839 w 2441576"/>
                  <a:gd name="connsiteY14" fmla="*/ 1 h 901154"/>
                  <a:gd name="connsiteX15" fmla="*/ 1254721 w 2441576"/>
                  <a:gd name="connsiteY15" fmla="*/ 247 h 901154"/>
                  <a:gd name="connsiteX16" fmla="*/ 1324785 w 2441576"/>
                  <a:gd name="connsiteY16" fmla="*/ 247 h 901154"/>
                  <a:gd name="connsiteX17" fmla="*/ 1430031 w 2441576"/>
                  <a:gd name="connsiteY17" fmla="*/ 0 h 901154"/>
                  <a:gd name="connsiteX18" fmla="*/ 1539566 w 2441576"/>
                  <a:gd name="connsiteY18" fmla="*/ 247 h 901154"/>
                  <a:gd name="connsiteX19" fmla="*/ 1609632 w 2441576"/>
                  <a:gd name="connsiteY19" fmla="*/ 247 h 901154"/>
                  <a:gd name="connsiteX20" fmla="*/ 1707946 w 2441576"/>
                  <a:gd name="connsiteY20" fmla="*/ 1 h 901154"/>
                  <a:gd name="connsiteX21" fmla="*/ 1824412 w 2441576"/>
                  <a:gd name="connsiteY21" fmla="*/ 247 h 901154"/>
                  <a:gd name="connsiteX22" fmla="*/ 1941949 w 2441576"/>
                  <a:gd name="connsiteY22" fmla="*/ 247 h 901154"/>
                  <a:gd name="connsiteX23" fmla="*/ 2094866 w 2441576"/>
                  <a:gd name="connsiteY23" fmla="*/ 247 h 901154"/>
                  <a:gd name="connsiteX24" fmla="*/ 2176781 w 2441576"/>
                  <a:gd name="connsiteY24" fmla="*/ 247 h 901154"/>
                  <a:gd name="connsiteX25" fmla="*/ 2258696 w 2441576"/>
                  <a:gd name="connsiteY25" fmla="*/ 247 h 901154"/>
                  <a:gd name="connsiteX26" fmla="*/ 2321561 w 2441576"/>
                  <a:gd name="connsiteY26" fmla="*/ 247 h 901154"/>
                  <a:gd name="connsiteX27" fmla="*/ 2441576 w 2441576"/>
                  <a:gd name="connsiteY27" fmla="*/ 247 h 901154"/>
                  <a:gd name="connsiteX28" fmla="*/ 2441576 w 2441576"/>
                  <a:gd name="connsiteY28" fmla="*/ 83691 h 901154"/>
                  <a:gd name="connsiteX29" fmla="*/ 2441576 w 2441576"/>
                  <a:gd name="connsiteY29" fmla="*/ 152299 h 901154"/>
                  <a:gd name="connsiteX30" fmla="*/ 2441576 w 2441576"/>
                  <a:gd name="connsiteY30" fmla="*/ 235743 h 901154"/>
                  <a:gd name="connsiteX31" fmla="*/ 2441576 w 2441576"/>
                  <a:gd name="connsiteY31" fmla="*/ 304351 h 901154"/>
                  <a:gd name="connsiteX32" fmla="*/ 2441576 w 2441576"/>
                  <a:gd name="connsiteY32" fmla="*/ 387795 h 901154"/>
                  <a:gd name="connsiteX33" fmla="*/ 2441576 w 2441576"/>
                  <a:gd name="connsiteY33" fmla="*/ 456403 h 901154"/>
                  <a:gd name="connsiteX34" fmla="*/ 2441576 w 2441576"/>
                  <a:gd name="connsiteY34" fmla="*/ 539847 h 901154"/>
                  <a:gd name="connsiteX35" fmla="*/ 2441576 w 2441576"/>
                  <a:gd name="connsiteY35" fmla="*/ 608455 h 901154"/>
                  <a:gd name="connsiteX36" fmla="*/ 2441576 w 2441576"/>
                  <a:gd name="connsiteY36" fmla="*/ 691899 h 901154"/>
                  <a:gd name="connsiteX37" fmla="*/ 2441576 w 2441576"/>
                  <a:gd name="connsiteY37" fmla="*/ 760507 h 901154"/>
                  <a:gd name="connsiteX38" fmla="*/ 2441576 w 2441576"/>
                  <a:gd name="connsiteY38" fmla="*/ 832545 h 901154"/>
                  <a:gd name="connsiteX39" fmla="*/ 2441576 w 2441576"/>
                  <a:gd name="connsiteY39" fmla="*/ 901153 h 901154"/>
                  <a:gd name="connsiteX40" fmla="*/ 2321561 w 2441576"/>
                  <a:gd name="connsiteY40" fmla="*/ 901153 h 901154"/>
                  <a:gd name="connsiteX41" fmla="*/ 2239646 w 2441576"/>
                  <a:gd name="connsiteY41" fmla="*/ 901153 h 901154"/>
                  <a:gd name="connsiteX42" fmla="*/ 2176781 w 2441576"/>
                  <a:gd name="connsiteY42" fmla="*/ 901153 h 901154"/>
                  <a:gd name="connsiteX43" fmla="*/ 2109259 w 2441576"/>
                  <a:gd name="connsiteY43" fmla="*/ 901153 h 901154"/>
                  <a:gd name="connsiteX44" fmla="*/ 2025730 w 2441576"/>
                  <a:gd name="connsiteY44" fmla="*/ 901153 h 901154"/>
                  <a:gd name="connsiteX45" fmla="*/ 1941949 w 2441576"/>
                  <a:gd name="connsiteY45" fmla="*/ 901153 h 901154"/>
                  <a:gd name="connsiteX46" fmla="*/ 1824412 w 2441576"/>
                  <a:gd name="connsiteY46" fmla="*/ 901153 h 901154"/>
                  <a:gd name="connsiteX47" fmla="*/ 1720844 w 2441576"/>
                  <a:gd name="connsiteY47" fmla="*/ 901153 h 901154"/>
                  <a:gd name="connsiteX48" fmla="*/ 1609632 w 2441576"/>
                  <a:gd name="connsiteY48" fmla="*/ 901153 h 901154"/>
                  <a:gd name="connsiteX49" fmla="*/ 1539566 w 2441576"/>
                  <a:gd name="connsiteY49" fmla="*/ 901153 h 901154"/>
                  <a:gd name="connsiteX50" fmla="*/ 1427685 w 2441576"/>
                  <a:gd name="connsiteY50" fmla="*/ 901153 h 901154"/>
                  <a:gd name="connsiteX51" fmla="*/ 1324785 w 2441576"/>
                  <a:gd name="connsiteY51" fmla="*/ 901153 h 901154"/>
                  <a:gd name="connsiteX52" fmla="*/ 1254721 w 2441576"/>
                  <a:gd name="connsiteY52" fmla="*/ 901153 h 901154"/>
                  <a:gd name="connsiteX53" fmla="*/ 1146253 w 2441576"/>
                  <a:gd name="connsiteY53" fmla="*/ 901153 h 901154"/>
                  <a:gd name="connsiteX54" fmla="*/ 1039939 w 2441576"/>
                  <a:gd name="connsiteY54" fmla="*/ 901153 h 901154"/>
                  <a:gd name="connsiteX55" fmla="*/ 969874 w 2441576"/>
                  <a:gd name="connsiteY55" fmla="*/ 901153 h 901154"/>
                  <a:gd name="connsiteX56" fmla="*/ 864820 w 2441576"/>
                  <a:gd name="connsiteY56" fmla="*/ 901154 h 901154"/>
                  <a:gd name="connsiteX57" fmla="*/ 755093 w 2441576"/>
                  <a:gd name="connsiteY57" fmla="*/ 901153 h 901154"/>
                  <a:gd name="connsiteX58" fmla="*/ 685028 w 2441576"/>
                  <a:gd name="connsiteY58" fmla="*/ 901153 h 901154"/>
                  <a:gd name="connsiteX59" fmla="*/ 581332 w 2441576"/>
                  <a:gd name="connsiteY59" fmla="*/ 901153 h 901154"/>
                  <a:gd name="connsiteX60" fmla="*/ 471351 w 2441576"/>
                  <a:gd name="connsiteY60" fmla="*/ 901153 h 901154"/>
                  <a:gd name="connsiteX61" fmla="*/ 470246 w 2441576"/>
                  <a:gd name="connsiteY61" fmla="*/ 901153 h 901154"/>
                  <a:gd name="connsiteX62" fmla="*/ 377080 w 2441576"/>
                  <a:gd name="connsiteY62" fmla="*/ 901153 h 901154"/>
                  <a:gd name="connsiteX63" fmla="*/ 282811 w 2441576"/>
                  <a:gd name="connsiteY63" fmla="*/ 901153 h 901154"/>
                  <a:gd name="connsiteX64" fmla="*/ 188541 w 2441576"/>
                  <a:gd name="connsiteY64" fmla="*/ 901153 h 901154"/>
                  <a:gd name="connsiteX65" fmla="*/ 185400 w 2441576"/>
                  <a:gd name="connsiteY65" fmla="*/ 901153 h 901154"/>
                  <a:gd name="connsiteX66" fmla="*/ 94270 w 2441576"/>
                  <a:gd name="connsiteY66" fmla="*/ 901153 h 901154"/>
                  <a:gd name="connsiteX67" fmla="*/ 0 w 2441576"/>
                  <a:gd name="connsiteY67" fmla="*/ 901153 h 901154"/>
                  <a:gd name="connsiteX68" fmla="*/ 0 w 2441576"/>
                  <a:gd name="connsiteY68" fmla="*/ 832545 h 901154"/>
                  <a:gd name="connsiteX69" fmla="*/ 0 w 2441576"/>
                  <a:gd name="connsiteY69" fmla="*/ 760507 h 901154"/>
                  <a:gd name="connsiteX70" fmla="*/ 0 w 2441576"/>
                  <a:gd name="connsiteY70" fmla="*/ 691899 h 901154"/>
                  <a:gd name="connsiteX71" fmla="*/ 0 w 2441576"/>
                  <a:gd name="connsiteY71" fmla="*/ 608455 h 901154"/>
                  <a:gd name="connsiteX72" fmla="*/ 0 w 2441576"/>
                  <a:gd name="connsiteY72" fmla="*/ 539847 h 901154"/>
                  <a:gd name="connsiteX73" fmla="*/ 0 w 2441576"/>
                  <a:gd name="connsiteY73" fmla="*/ 456403 h 901154"/>
                  <a:gd name="connsiteX74" fmla="*/ 0 w 2441576"/>
                  <a:gd name="connsiteY74" fmla="*/ 387795 h 901154"/>
                  <a:gd name="connsiteX75" fmla="*/ 0 w 2441576"/>
                  <a:gd name="connsiteY75" fmla="*/ 304351 h 901154"/>
                  <a:gd name="connsiteX76" fmla="*/ 0 w 2441576"/>
                  <a:gd name="connsiteY76" fmla="*/ 235743 h 901154"/>
                  <a:gd name="connsiteX77" fmla="*/ 0 w 2441576"/>
                  <a:gd name="connsiteY77" fmla="*/ 152299 h 901154"/>
                  <a:gd name="connsiteX78" fmla="*/ 0 w 2441576"/>
                  <a:gd name="connsiteY78" fmla="*/ 83691 h 901154"/>
                  <a:gd name="connsiteX79" fmla="*/ 0 w 2441576"/>
                  <a:gd name="connsiteY79" fmla="*/ 247 h 901154"/>
                  <a:gd name="connsiteX0" fmla="*/ 0 w 2441576"/>
                  <a:gd name="connsiteY0" fmla="*/ 247 h 901154"/>
                  <a:gd name="connsiteX1" fmla="*/ 94270 w 2441576"/>
                  <a:gd name="connsiteY1" fmla="*/ 247 h 901154"/>
                  <a:gd name="connsiteX2" fmla="*/ 185400 w 2441576"/>
                  <a:gd name="connsiteY2" fmla="*/ 247 h 901154"/>
                  <a:gd name="connsiteX3" fmla="*/ 188541 w 2441576"/>
                  <a:gd name="connsiteY3" fmla="*/ 247 h 901154"/>
                  <a:gd name="connsiteX4" fmla="*/ 282811 w 2441576"/>
                  <a:gd name="connsiteY4" fmla="*/ 247 h 901154"/>
                  <a:gd name="connsiteX5" fmla="*/ 377080 w 2441576"/>
                  <a:gd name="connsiteY5" fmla="*/ 247 h 901154"/>
                  <a:gd name="connsiteX6" fmla="*/ 470246 w 2441576"/>
                  <a:gd name="connsiteY6" fmla="*/ 247 h 901154"/>
                  <a:gd name="connsiteX7" fmla="*/ 581332 w 2441576"/>
                  <a:gd name="connsiteY7" fmla="*/ 247 h 901154"/>
                  <a:gd name="connsiteX8" fmla="*/ 685028 w 2441576"/>
                  <a:gd name="connsiteY8" fmla="*/ 247 h 901154"/>
                  <a:gd name="connsiteX9" fmla="*/ 755093 w 2441576"/>
                  <a:gd name="connsiteY9" fmla="*/ 247 h 901154"/>
                  <a:gd name="connsiteX10" fmla="*/ 860129 w 2441576"/>
                  <a:gd name="connsiteY10" fmla="*/ 1 h 901154"/>
                  <a:gd name="connsiteX11" fmla="*/ 969874 w 2441576"/>
                  <a:gd name="connsiteY11" fmla="*/ 247 h 901154"/>
                  <a:gd name="connsiteX12" fmla="*/ 1039939 w 2441576"/>
                  <a:gd name="connsiteY12" fmla="*/ 247 h 901154"/>
                  <a:gd name="connsiteX13" fmla="*/ 1146839 w 2441576"/>
                  <a:gd name="connsiteY13" fmla="*/ 1 h 901154"/>
                  <a:gd name="connsiteX14" fmla="*/ 1254721 w 2441576"/>
                  <a:gd name="connsiteY14" fmla="*/ 247 h 901154"/>
                  <a:gd name="connsiteX15" fmla="*/ 1324785 w 2441576"/>
                  <a:gd name="connsiteY15" fmla="*/ 247 h 901154"/>
                  <a:gd name="connsiteX16" fmla="*/ 1430031 w 2441576"/>
                  <a:gd name="connsiteY16" fmla="*/ 0 h 901154"/>
                  <a:gd name="connsiteX17" fmla="*/ 1539566 w 2441576"/>
                  <a:gd name="connsiteY17" fmla="*/ 247 h 901154"/>
                  <a:gd name="connsiteX18" fmla="*/ 1609632 w 2441576"/>
                  <a:gd name="connsiteY18" fmla="*/ 247 h 901154"/>
                  <a:gd name="connsiteX19" fmla="*/ 1707946 w 2441576"/>
                  <a:gd name="connsiteY19" fmla="*/ 1 h 901154"/>
                  <a:gd name="connsiteX20" fmla="*/ 1824412 w 2441576"/>
                  <a:gd name="connsiteY20" fmla="*/ 247 h 901154"/>
                  <a:gd name="connsiteX21" fmla="*/ 1941949 w 2441576"/>
                  <a:gd name="connsiteY21" fmla="*/ 247 h 901154"/>
                  <a:gd name="connsiteX22" fmla="*/ 2094866 w 2441576"/>
                  <a:gd name="connsiteY22" fmla="*/ 247 h 901154"/>
                  <a:gd name="connsiteX23" fmla="*/ 2176781 w 2441576"/>
                  <a:gd name="connsiteY23" fmla="*/ 247 h 901154"/>
                  <a:gd name="connsiteX24" fmla="*/ 2258696 w 2441576"/>
                  <a:gd name="connsiteY24" fmla="*/ 247 h 901154"/>
                  <a:gd name="connsiteX25" fmla="*/ 2321561 w 2441576"/>
                  <a:gd name="connsiteY25" fmla="*/ 247 h 901154"/>
                  <a:gd name="connsiteX26" fmla="*/ 2441576 w 2441576"/>
                  <a:gd name="connsiteY26" fmla="*/ 247 h 901154"/>
                  <a:gd name="connsiteX27" fmla="*/ 2441576 w 2441576"/>
                  <a:gd name="connsiteY27" fmla="*/ 83691 h 901154"/>
                  <a:gd name="connsiteX28" fmla="*/ 2441576 w 2441576"/>
                  <a:gd name="connsiteY28" fmla="*/ 152299 h 901154"/>
                  <a:gd name="connsiteX29" fmla="*/ 2441576 w 2441576"/>
                  <a:gd name="connsiteY29" fmla="*/ 235743 h 901154"/>
                  <a:gd name="connsiteX30" fmla="*/ 2441576 w 2441576"/>
                  <a:gd name="connsiteY30" fmla="*/ 304351 h 901154"/>
                  <a:gd name="connsiteX31" fmla="*/ 2441576 w 2441576"/>
                  <a:gd name="connsiteY31" fmla="*/ 387795 h 901154"/>
                  <a:gd name="connsiteX32" fmla="*/ 2441576 w 2441576"/>
                  <a:gd name="connsiteY32" fmla="*/ 456403 h 901154"/>
                  <a:gd name="connsiteX33" fmla="*/ 2441576 w 2441576"/>
                  <a:gd name="connsiteY33" fmla="*/ 539847 h 901154"/>
                  <a:gd name="connsiteX34" fmla="*/ 2441576 w 2441576"/>
                  <a:gd name="connsiteY34" fmla="*/ 608455 h 901154"/>
                  <a:gd name="connsiteX35" fmla="*/ 2441576 w 2441576"/>
                  <a:gd name="connsiteY35" fmla="*/ 691899 h 901154"/>
                  <a:gd name="connsiteX36" fmla="*/ 2441576 w 2441576"/>
                  <a:gd name="connsiteY36" fmla="*/ 760507 h 901154"/>
                  <a:gd name="connsiteX37" fmla="*/ 2441576 w 2441576"/>
                  <a:gd name="connsiteY37" fmla="*/ 832545 h 901154"/>
                  <a:gd name="connsiteX38" fmla="*/ 2441576 w 2441576"/>
                  <a:gd name="connsiteY38" fmla="*/ 901153 h 901154"/>
                  <a:gd name="connsiteX39" fmla="*/ 2321561 w 2441576"/>
                  <a:gd name="connsiteY39" fmla="*/ 901153 h 901154"/>
                  <a:gd name="connsiteX40" fmla="*/ 2239646 w 2441576"/>
                  <a:gd name="connsiteY40" fmla="*/ 901153 h 901154"/>
                  <a:gd name="connsiteX41" fmla="*/ 2176781 w 2441576"/>
                  <a:gd name="connsiteY41" fmla="*/ 901153 h 901154"/>
                  <a:gd name="connsiteX42" fmla="*/ 2109259 w 2441576"/>
                  <a:gd name="connsiteY42" fmla="*/ 901153 h 901154"/>
                  <a:gd name="connsiteX43" fmla="*/ 2025730 w 2441576"/>
                  <a:gd name="connsiteY43" fmla="*/ 901153 h 901154"/>
                  <a:gd name="connsiteX44" fmla="*/ 1941949 w 2441576"/>
                  <a:gd name="connsiteY44" fmla="*/ 901153 h 901154"/>
                  <a:gd name="connsiteX45" fmla="*/ 1824412 w 2441576"/>
                  <a:gd name="connsiteY45" fmla="*/ 901153 h 901154"/>
                  <a:gd name="connsiteX46" fmla="*/ 1720844 w 2441576"/>
                  <a:gd name="connsiteY46" fmla="*/ 901153 h 901154"/>
                  <a:gd name="connsiteX47" fmla="*/ 1609632 w 2441576"/>
                  <a:gd name="connsiteY47" fmla="*/ 901153 h 901154"/>
                  <a:gd name="connsiteX48" fmla="*/ 1539566 w 2441576"/>
                  <a:gd name="connsiteY48" fmla="*/ 901153 h 901154"/>
                  <a:gd name="connsiteX49" fmla="*/ 1427685 w 2441576"/>
                  <a:gd name="connsiteY49" fmla="*/ 901153 h 901154"/>
                  <a:gd name="connsiteX50" fmla="*/ 1324785 w 2441576"/>
                  <a:gd name="connsiteY50" fmla="*/ 901153 h 901154"/>
                  <a:gd name="connsiteX51" fmla="*/ 1254721 w 2441576"/>
                  <a:gd name="connsiteY51" fmla="*/ 901153 h 901154"/>
                  <a:gd name="connsiteX52" fmla="*/ 1146253 w 2441576"/>
                  <a:gd name="connsiteY52" fmla="*/ 901153 h 901154"/>
                  <a:gd name="connsiteX53" fmla="*/ 1039939 w 2441576"/>
                  <a:gd name="connsiteY53" fmla="*/ 901153 h 901154"/>
                  <a:gd name="connsiteX54" fmla="*/ 969874 w 2441576"/>
                  <a:gd name="connsiteY54" fmla="*/ 901153 h 901154"/>
                  <a:gd name="connsiteX55" fmla="*/ 864820 w 2441576"/>
                  <a:gd name="connsiteY55" fmla="*/ 901154 h 901154"/>
                  <a:gd name="connsiteX56" fmla="*/ 755093 w 2441576"/>
                  <a:gd name="connsiteY56" fmla="*/ 901153 h 901154"/>
                  <a:gd name="connsiteX57" fmla="*/ 685028 w 2441576"/>
                  <a:gd name="connsiteY57" fmla="*/ 901153 h 901154"/>
                  <a:gd name="connsiteX58" fmla="*/ 581332 w 2441576"/>
                  <a:gd name="connsiteY58" fmla="*/ 901153 h 901154"/>
                  <a:gd name="connsiteX59" fmla="*/ 471351 w 2441576"/>
                  <a:gd name="connsiteY59" fmla="*/ 901153 h 901154"/>
                  <a:gd name="connsiteX60" fmla="*/ 470246 w 2441576"/>
                  <a:gd name="connsiteY60" fmla="*/ 901153 h 901154"/>
                  <a:gd name="connsiteX61" fmla="*/ 377080 w 2441576"/>
                  <a:gd name="connsiteY61" fmla="*/ 901153 h 901154"/>
                  <a:gd name="connsiteX62" fmla="*/ 282811 w 2441576"/>
                  <a:gd name="connsiteY62" fmla="*/ 901153 h 901154"/>
                  <a:gd name="connsiteX63" fmla="*/ 188541 w 2441576"/>
                  <a:gd name="connsiteY63" fmla="*/ 901153 h 901154"/>
                  <a:gd name="connsiteX64" fmla="*/ 185400 w 2441576"/>
                  <a:gd name="connsiteY64" fmla="*/ 901153 h 901154"/>
                  <a:gd name="connsiteX65" fmla="*/ 94270 w 2441576"/>
                  <a:gd name="connsiteY65" fmla="*/ 901153 h 901154"/>
                  <a:gd name="connsiteX66" fmla="*/ 0 w 2441576"/>
                  <a:gd name="connsiteY66" fmla="*/ 901153 h 901154"/>
                  <a:gd name="connsiteX67" fmla="*/ 0 w 2441576"/>
                  <a:gd name="connsiteY67" fmla="*/ 832545 h 901154"/>
                  <a:gd name="connsiteX68" fmla="*/ 0 w 2441576"/>
                  <a:gd name="connsiteY68" fmla="*/ 760507 h 901154"/>
                  <a:gd name="connsiteX69" fmla="*/ 0 w 2441576"/>
                  <a:gd name="connsiteY69" fmla="*/ 691899 h 901154"/>
                  <a:gd name="connsiteX70" fmla="*/ 0 w 2441576"/>
                  <a:gd name="connsiteY70" fmla="*/ 608455 h 901154"/>
                  <a:gd name="connsiteX71" fmla="*/ 0 w 2441576"/>
                  <a:gd name="connsiteY71" fmla="*/ 539847 h 901154"/>
                  <a:gd name="connsiteX72" fmla="*/ 0 w 2441576"/>
                  <a:gd name="connsiteY72" fmla="*/ 456403 h 901154"/>
                  <a:gd name="connsiteX73" fmla="*/ 0 w 2441576"/>
                  <a:gd name="connsiteY73" fmla="*/ 387795 h 901154"/>
                  <a:gd name="connsiteX74" fmla="*/ 0 w 2441576"/>
                  <a:gd name="connsiteY74" fmla="*/ 304351 h 901154"/>
                  <a:gd name="connsiteX75" fmla="*/ 0 w 2441576"/>
                  <a:gd name="connsiteY75" fmla="*/ 235743 h 901154"/>
                  <a:gd name="connsiteX76" fmla="*/ 0 w 2441576"/>
                  <a:gd name="connsiteY76" fmla="*/ 152299 h 901154"/>
                  <a:gd name="connsiteX77" fmla="*/ 0 w 2441576"/>
                  <a:gd name="connsiteY77" fmla="*/ 83691 h 901154"/>
                  <a:gd name="connsiteX78" fmla="*/ 0 w 2441576"/>
                  <a:gd name="connsiteY78" fmla="*/ 247 h 901154"/>
                  <a:gd name="connsiteX0" fmla="*/ 0 w 2441576"/>
                  <a:gd name="connsiteY0" fmla="*/ 247 h 901154"/>
                  <a:gd name="connsiteX1" fmla="*/ 94270 w 2441576"/>
                  <a:gd name="connsiteY1" fmla="*/ 247 h 901154"/>
                  <a:gd name="connsiteX2" fmla="*/ 185400 w 2441576"/>
                  <a:gd name="connsiteY2" fmla="*/ 247 h 901154"/>
                  <a:gd name="connsiteX3" fmla="*/ 282811 w 2441576"/>
                  <a:gd name="connsiteY3" fmla="*/ 247 h 901154"/>
                  <a:gd name="connsiteX4" fmla="*/ 377080 w 2441576"/>
                  <a:gd name="connsiteY4" fmla="*/ 247 h 901154"/>
                  <a:gd name="connsiteX5" fmla="*/ 470246 w 2441576"/>
                  <a:gd name="connsiteY5" fmla="*/ 247 h 901154"/>
                  <a:gd name="connsiteX6" fmla="*/ 581332 w 2441576"/>
                  <a:gd name="connsiteY6" fmla="*/ 247 h 901154"/>
                  <a:gd name="connsiteX7" fmla="*/ 685028 w 2441576"/>
                  <a:gd name="connsiteY7" fmla="*/ 247 h 901154"/>
                  <a:gd name="connsiteX8" fmla="*/ 755093 w 2441576"/>
                  <a:gd name="connsiteY8" fmla="*/ 247 h 901154"/>
                  <a:gd name="connsiteX9" fmla="*/ 860129 w 2441576"/>
                  <a:gd name="connsiteY9" fmla="*/ 1 h 901154"/>
                  <a:gd name="connsiteX10" fmla="*/ 969874 w 2441576"/>
                  <a:gd name="connsiteY10" fmla="*/ 247 h 901154"/>
                  <a:gd name="connsiteX11" fmla="*/ 1039939 w 2441576"/>
                  <a:gd name="connsiteY11" fmla="*/ 247 h 901154"/>
                  <a:gd name="connsiteX12" fmla="*/ 1146839 w 2441576"/>
                  <a:gd name="connsiteY12" fmla="*/ 1 h 901154"/>
                  <a:gd name="connsiteX13" fmla="*/ 1254721 w 2441576"/>
                  <a:gd name="connsiteY13" fmla="*/ 247 h 901154"/>
                  <a:gd name="connsiteX14" fmla="*/ 1324785 w 2441576"/>
                  <a:gd name="connsiteY14" fmla="*/ 247 h 901154"/>
                  <a:gd name="connsiteX15" fmla="*/ 1430031 w 2441576"/>
                  <a:gd name="connsiteY15" fmla="*/ 0 h 901154"/>
                  <a:gd name="connsiteX16" fmla="*/ 1539566 w 2441576"/>
                  <a:gd name="connsiteY16" fmla="*/ 247 h 901154"/>
                  <a:gd name="connsiteX17" fmla="*/ 1609632 w 2441576"/>
                  <a:gd name="connsiteY17" fmla="*/ 247 h 901154"/>
                  <a:gd name="connsiteX18" fmla="*/ 1707946 w 2441576"/>
                  <a:gd name="connsiteY18" fmla="*/ 1 h 901154"/>
                  <a:gd name="connsiteX19" fmla="*/ 1824412 w 2441576"/>
                  <a:gd name="connsiteY19" fmla="*/ 247 h 901154"/>
                  <a:gd name="connsiteX20" fmla="*/ 1941949 w 2441576"/>
                  <a:gd name="connsiteY20" fmla="*/ 247 h 901154"/>
                  <a:gd name="connsiteX21" fmla="*/ 2094866 w 2441576"/>
                  <a:gd name="connsiteY21" fmla="*/ 247 h 901154"/>
                  <a:gd name="connsiteX22" fmla="*/ 2176781 w 2441576"/>
                  <a:gd name="connsiteY22" fmla="*/ 247 h 901154"/>
                  <a:gd name="connsiteX23" fmla="*/ 2258696 w 2441576"/>
                  <a:gd name="connsiteY23" fmla="*/ 247 h 901154"/>
                  <a:gd name="connsiteX24" fmla="*/ 2321561 w 2441576"/>
                  <a:gd name="connsiteY24" fmla="*/ 247 h 901154"/>
                  <a:gd name="connsiteX25" fmla="*/ 2441576 w 2441576"/>
                  <a:gd name="connsiteY25" fmla="*/ 247 h 901154"/>
                  <a:gd name="connsiteX26" fmla="*/ 2441576 w 2441576"/>
                  <a:gd name="connsiteY26" fmla="*/ 83691 h 901154"/>
                  <a:gd name="connsiteX27" fmla="*/ 2441576 w 2441576"/>
                  <a:gd name="connsiteY27" fmla="*/ 152299 h 901154"/>
                  <a:gd name="connsiteX28" fmla="*/ 2441576 w 2441576"/>
                  <a:gd name="connsiteY28" fmla="*/ 235743 h 901154"/>
                  <a:gd name="connsiteX29" fmla="*/ 2441576 w 2441576"/>
                  <a:gd name="connsiteY29" fmla="*/ 304351 h 901154"/>
                  <a:gd name="connsiteX30" fmla="*/ 2441576 w 2441576"/>
                  <a:gd name="connsiteY30" fmla="*/ 387795 h 901154"/>
                  <a:gd name="connsiteX31" fmla="*/ 2441576 w 2441576"/>
                  <a:gd name="connsiteY31" fmla="*/ 456403 h 901154"/>
                  <a:gd name="connsiteX32" fmla="*/ 2441576 w 2441576"/>
                  <a:gd name="connsiteY32" fmla="*/ 539847 h 901154"/>
                  <a:gd name="connsiteX33" fmla="*/ 2441576 w 2441576"/>
                  <a:gd name="connsiteY33" fmla="*/ 608455 h 901154"/>
                  <a:gd name="connsiteX34" fmla="*/ 2441576 w 2441576"/>
                  <a:gd name="connsiteY34" fmla="*/ 691899 h 901154"/>
                  <a:gd name="connsiteX35" fmla="*/ 2441576 w 2441576"/>
                  <a:gd name="connsiteY35" fmla="*/ 760507 h 901154"/>
                  <a:gd name="connsiteX36" fmla="*/ 2441576 w 2441576"/>
                  <a:gd name="connsiteY36" fmla="*/ 832545 h 901154"/>
                  <a:gd name="connsiteX37" fmla="*/ 2441576 w 2441576"/>
                  <a:gd name="connsiteY37" fmla="*/ 901153 h 901154"/>
                  <a:gd name="connsiteX38" fmla="*/ 2321561 w 2441576"/>
                  <a:gd name="connsiteY38" fmla="*/ 901153 h 901154"/>
                  <a:gd name="connsiteX39" fmla="*/ 2239646 w 2441576"/>
                  <a:gd name="connsiteY39" fmla="*/ 901153 h 901154"/>
                  <a:gd name="connsiteX40" fmla="*/ 2176781 w 2441576"/>
                  <a:gd name="connsiteY40" fmla="*/ 901153 h 901154"/>
                  <a:gd name="connsiteX41" fmla="*/ 2109259 w 2441576"/>
                  <a:gd name="connsiteY41" fmla="*/ 901153 h 901154"/>
                  <a:gd name="connsiteX42" fmla="*/ 2025730 w 2441576"/>
                  <a:gd name="connsiteY42" fmla="*/ 901153 h 901154"/>
                  <a:gd name="connsiteX43" fmla="*/ 1941949 w 2441576"/>
                  <a:gd name="connsiteY43" fmla="*/ 901153 h 901154"/>
                  <a:gd name="connsiteX44" fmla="*/ 1824412 w 2441576"/>
                  <a:gd name="connsiteY44" fmla="*/ 901153 h 901154"/>
                  <a:gd name="connsiteX45" fmla="*/ 1720844 w 2441576"/>
                  <a:gd name="connsiteY45" fmla="*/ 901153 h 901154"/>
                  <a:gd name="connsiteX46" fmla="*/ 1609632 w 2441576"/>
                  <a:gd name="connsiteY46" fmla="*/ 901153 h 901154"/>
                  <a:gd name="connsiteX47" fmla="*/ 1539566 w 2441576"/>
                  <a:gd name="connsiteY47" fmla="*/ 901153 h 901154"/>
                  <a:gd name="connsiteX48" fmla="*/ 1427685 w 2441576"/>
                  <a:gd name="connsiteY48" fmla="*/ 901153 h 901154"/>
                  <a:gd name="connsiteX49" fmla="*/ 1324785 w 2441576"/>
                  <a:gd name="connsiteY49" fmla="*/ 901153 h 901154"/>
                  <a:gd name="connsiteX50" fmla="*/ 1254721 w 2441576"/>
                  <a:gd name="connsiteY50" fmla="*/ 901153 h 901154"/>
                  <a:gd name="connsiteX51" fmla="*/ 1146253 w 2441576"/>
                  <a:gd name="connsiteY51" fmla="*/ 901153 h 901154"/>
                  <a:gd name="connsiteX52" fmla="*/ 1039939 w 2441576"/>
                  <a:gd name="connsiteY52" fmla="*/ 901153 h 901154"/>
                  <a:gd name="connsiteX53" fmla="*/ 969874 w 2441576"/>
                  <a:gd name="connsiteY53" fmla="*/ 901153 h 901154"/>
                  <a:gd name="connsiteX54" fmla="*/ 864820 w 2441576"/>
                  <a:gd name="connsiteY54" fmla="*/ 901154 h 901154"/>
                  <a:gd name="connsiteX55" fmla="*/ 755093 w 2441576"/>
                  <a:gd name="connsiteY55" fmla="*/ 901153 h 901154"/>
                  <a:gd name="connsiteX56" fmla="*/ 685028 w 2441576"/>
                  <a:gd name="connsiteY56" fmla="*/ 901153 h 901154"/>
                  <a:gd name="connsiteX57" fmla="*/ 581332 w 2441576"/>
                  <a:gd name="connsiteY57" fmla="*/ 901153 h 901154"/>
                  <a:gd name="connsiteX58" fmla="*/ 471351 w 2441576"/>
                  <a:gd name="connsiteY58" fmla="*/ 901153 h 901154"/>
                  <a:gd name="connsiteX59" fmla="*/ 470246 w 2441576"/>
                  <a:gd name="connsiteY59" fmla="*/ 901153 h 901154"/>
                  <a:gd name="connsiteX60" fmla="*/ 377080 w 2441576"/>
                  <a:gd name="connsiteY60" fmla="*/ 901153 h 901154"/>
                  <a:gd name="connsiteX61" fmla="*/ 282811 w 2441576"/>
                  <a:gd name="connsiteY61" fmla="*/ 901153 h 901154"/>
                  <a:gd name="connsiteX62" fmla="*/ 188541 w 2441576"/>
                  <a:gd name="connsiteY62" fmla="*/ 901153 h 901154"/>
                  <a:gd name="connsiteX63" fmla="*/ 185400 w 2441576"/>
                  <a:gd name="connsiteY63" fmla="*/ 901153 h 901154"/>
                  <a:gd name="connsiteX64" fmla="*/ 94270 w 2441576"/>
                  <a:gd name="connsiteY64" fmla="*/ 901153 h 901154"/>
                  <a:gd name="connsiteX65" fmla="*/ 0 w 2441576"/>
                  <a:gd name="connsiteY65" fmla="*/ 901153 h 901154"/>
                  <a:gd name="connsiteX66" fmla="*/ 0 w 2441576"/>
                  <a:gd name="connsiteY66" fmla="*/ 832545 h 901154"/>
                  <a:gd name="connsiteX67" fmla="*/ 0 w 2441576"/>
                  <a:gd name="connsiteY67" fmla="*/ 760507 h 901154"/>
                  <a:gd name="connsiteX68" fmla="*/ 0 w 2441576"/>
                  <a:gd name="connsiteY68" fmla="*/ 691899 h 901154"/>
                  <a:gd name="connsiteX69" fmla="*/ 0 w 2441576"/>
                  <a:gd name="connsiteY69" fmla="*/ 608455 h 901154"/>
                  <a:gd name="connsiteX70" fmla="*/ 0 w 2441576"/>
                  <a:gd name="connsiteY70" fmla="*/ 539847 h 901154"/>
                  <a:gd name="connsiteX71" fmla="*/ 0 w 2441576"/>
                  <a:gd name="connsiteY71" fmla="*/ 456403 h 901154"/>
                  <a:gd name="connsiteX72" fmla="*/ 0 w 2441576"/>
                  <a:gd name="connsiteY72" fmla="*/ 387795 h 901154"/>
                  <a:gd name="connsiteX73" fmla="*/ 0 w 2441576"/>
                  <a:gd name="connsiteY73" fmla="*/ 304351 h 901154"/>
                  <a:gd name="connsiteX74" fmla="*/ 0 w 2441576"/>
                  <a:gd name="connsiteY74" fmla="*/ 235743 h 901154"/>
                  <a:gd name="connsiteX75" fmla="*/ 0 w 2441576"/>
                  <a:gd name="connsiteY75" fmla="*/ 152299 h 901154"/>
                  <a:gd name="connsiteX76" fmla="*/ 0 w 2441576"/>
                  <a:gd name="connsiteY76" fmla="*/ 83691 h 901154"/>
                  <a:gd name="connsiteX77" fmla="*/ 0 w 2441576"/>
                  <a:gd name="connsiteY77" fmla="*/ 247 h 901154"/>
                  <a:gd name="connsiteX0" fmla="*/ 0 w 2441576"/>
                  <a:gd name="connsiteY0" fmla="*/ 247 h 901154"/>
                  <a:gd name="connsiteX1" fmla="*/ 94270 w 2441576"/>
                  <a:gd name="connsiteY1" fmla="*/ 247 h 901154"/>
                  <a:gd name="connsiteX2" fmla="*/ 185400 w 2441576"/>
                  <a:gd name="connsiteY2" fmla="*/ 247 h 901154"/>
                  <a:gd name="connsiteX3" fmla="*/ 282811 w 2441576"/>
                  <a:gd name="connsiteY3" fmla="*/ 247 h 901154"/>
                  <a:gd name="connsiteX4" fmla="*/ 377080 w 2441576"/>
                  <a:gd name="connsiteY4" fmla="*/ 247 h 901154"/>
                  <a:gd name="connsiteX5" fmla="*/ 470246 w 2441576"/>
                  <a:gd name="connsiteY5" fmla="*/ 247 h 901154"/>
                  <a:gd name="connsiteX6" fmla="*/ 581332 w 2441576"/>
                  <a:gd name="connsiteY6" fmla="*/ 247 h 901154"/>
                  <a:gd name="connsiteX7" fmla="*/ 685028 w 2441576"/>
                  <a:gd name="connsiteY7" fmla="*/ 247 h 901154"/>
                  <a:gd name="connsiteX8" fmla="*/ 755093 w 2441576"/>
                  <a:gd name="connsiteY8" fmla="*/ 247 h 901154"/>
                  <a:gd name="connsiteX9" fmla="*/ 860129 w 2441576"/>
                  <a:gd name="connsiteY9" fmla="*/ 1 h 901154"/>
                  <a:gd name="connsiteX10" fmla="*/ 969874 w 2441576"/>
                  <a:gd name="connsiteY10" fmla="*/ 247 h 901154"/>
                  <a:gd name="connsiteX11" fmla="*/ 1039939 w 2441576"/>
                  <a:gd name="connsiteY11" fmla="*/ 247 h 901154"/>
                  <a:gd name="connsiteX12" fmla="*/ 1146839 w 2441576"/>
                  <a:gd name="connsiteY12" fmla="*/ 1 h 901154"/>
                  <a:gd name="connsiteX13" fmla="*/ 1254721 w 2441576"/>
                  <a:gd name="connsiteY13" fmla="*/ 247 h 901154"/>
                  <a:gd name="connsiteX14" fmla="*/ 1324785 w 2441576"/>
                  <a:gd name="connsiteY14" fmla="*/ 247 h 901154"/>
                  <a:gd name="connsiteX15" fmla="*/ 1430031 w 2441576"/>
                  <a:gd name="connsiteY15" fmla="*/ 0 h 901154"/>
                  <a:gd name="connsiteX16" fmla="*/ 1539566 w 2441576"/>
                  <a:gd name="connsiteY16" fmla="*/ 247 h 901154"/>
                  <a:gd name="connsiteX17" fmla="*/ 1609632 w 2441576"/>
                  <a:gd name="connsiteY17" fmla="*/ 247 h 901154"/>
                  <a:gd name="connsiteX18" fmla="*/ 1707946 w 2441576"/>
                  <a:gd name="connsiteY18" fmla="*/ 1 h 901154"/>
                  <a:gd name="connsiteX19" fmla="*/ 1824412 w 2441576"/>
                  <a:gd name="connsiteY19" fmla="*/ 247 h 901154"/>
                  <a:gd name="connsiteX20" fmla="*/ 1941949 w 2441576"/>
                  <a:gd name="connsiteY20" fmla="*/ 247 h 901154"/>
                  <a:gd name="connsiteX21" fmla="*/ 2094866 w 2441576"/>
                  <a:gd name="connsiteY21" fmla="*/ 247 h 901154"/>
                  <a:gd name="connsiteX22" fmla="*/ 2176781 w 2441576"/>
                  <a:gd name="connsiteY22" fmla="*/ 247 h 901154"/>
                  <a:gd name="connsiteX23" fmla="*/ 2258696 w 2441576"/>
                  <a:gd name="connsiteY23" fmla="*/ 247 h 901154"/>
                  <a:gd name="connsiteX24" fmla="*/ 2321561 w 2441576"/>
                  <a:gd name="connsiteY24" fmla="*/ 247 h 901154"/>
                  <a:gd name="connsiteX25" fmla="*/ 2441576 w 2441576"/>
                  <a:gd name="connsiteY25" fmla="*/ 247 h 901154"/>
                  <a:gd name="connsiteX26" fmla="*/ 2441576 w 2441576"/>
                  <a:gd name="connsiteY26" fmla="*/ 83691 h 901154"/>
                  <a:gd name="connsiteX27" fmla="*/ 2441576 w 2441576"/>
                  <a:gd name="connsiteY27" fmla="*/ 152299 h 901154"/>
                  <a:gd name="connsiteX28" fmla="*/ 2441576 w 2441576"/>
                  <a:gd name="connsiteY28" fmla="*/ 235743 h 901154"/>
                  <a:gd name="connsiteX29" fmla="*/ 2441576 w 2441576"/>
                  <a:gd name="connsiteY29" fmla="*/ 304351 h 901154"/>
                  <a:gd name="connsiteX30" fmla="*/ 2441576 w 2441576"/>
                  <a:gd name="connsiteY30" fmla="*/ 387795 h 901154"/>
                  <a:gd name="connsiteX31" fmla="*/ 2441576 w 2441576"/>
                  <a:gd name="connsiteY31" fmla="*/ 456403 h 901154"/>
                  <a:gd name="connsiteX32" fmla="*/ 2441576 w 2441576"/>
                  <a:gd name="connsiteY32" fmla="*/ 539847 h 901154"/>
                  <a:gd name="connsiteX33" fmla="*/ 2441576 w 2441576"/>
                  <a:gd name="connsiteY33" fmla="*/ 608455 h 901154"/>
                  <a:gd name="connsiteX34" fmla="*/ 2441576 w 2441576"/>
                  <a:gd name="connsiteY34" fmla="*/ 691899 h 901154"/>
                  <a:gd name="connsiteX35" fmla="*/ 2441576 w 2441576"/>
                  <a:gd name="connsiteY35" fmla="*/ 760507 h 901154"/>
                  <a:gd name="connsiteX36" fmla="*/ 2441576 w 2441576"/>
                  <a:gd name="connsiteY36" fmla="*/ 832545 h 901154"/>
                  <a:gd name="connsiteX37" fmla="*/ 2441576 w 2441576"/>
                  <a:gd name="connsiteY37" fmla="*/ 901153 h 901154"/>
                  <a:gd name="connsiteX38" fmla="*/ 2321561 w 2441576"/>
                  <a:gd name="connsiteY38" fmla="*/ 901153 h 901154"/>
                  <a:gd name="connsiteX39" fmla="*/ 2239646 w 2441576"/>
                  <a:gd name="connsiteY39" fmla="*/ 901153 h 901154"/>
                  <a:gd name="connsiteX40" fmla="*/ 2176781 w 2441576"/>
                  <a:gd name="connsiteY40" fmla="*/ 901153 h 901154"/>
                  <a:gd name="connsiteX41" fmla="*/ 2109259 w 2441576"/>
                  <a:gd name="connsiteY41" fmla="*/ 901153 h 901154"/>
                  <a:gd name="connsiteX42" fmla="*/ 2025730 w 2441576"/>
                  <a:gd name="connsiteY42" fmla="*/ 901153 h 901154"/>
                  <a:gd name="connsiteX43" fmla="*/ 1941949 w 2441576"/>
                  <a:gd name="connsiteY43" fmla="*/ 901153 h 901154"/>
                  <a:gd name="connsiteX44" fmla="*/ 1824412 w 2441576"/>
                  <a:gd name="connsiteY44" fmla="*/ 901153 h 901154"/>
                  <a:gd name="connsiteX45" fmla="*/ 1720844 w 2441576"/>
                  <a:gd name="connsiteY45" fmla="*/ 901153 h 901154"/>
                  <a:gd name="connsiteX46" fmla="*/ 1609632 w 2441576"/>
                  <a:gd name="connsiteY46" fmla="*/ 901153 h 901154"/>
                  <a:gd name="connsiteX47" fmla="*/ 1539566 w 2441576"/>
                  <a:gd name="connsiteY47" fmla="*/ 901153 h 901154"/>
                  <a:gd name="connsiteX48" fmla="*/ 1427685 w 2441576"/>
                  <a:gd name="connsiteY48" fmla="*/ 901153 h 901154"/>
                  <a:gd name="connsiteX49" fmla="*/ 1324785 w 2441576"/>
                  <a:gd name="connsiteY49" fmla="*/ 901153 h 901154"/>
                  <a:gd name="connsiteX50" fmla="*/ 1254721 w 2441576"/>
                  <a:gd name="connsiteY50" fmla="*/ 901153 h 901154"/>
                  <a:gd name="connsiteX51" fmla="*/ 1146253 w 2441576"/>
                  <a:gd name="connsiteY51" fmla="*/ 901153 h 901154"/>
                  <a:gd name="connsiteX52" fmla="*/ 1039939 w 2441576"/>
                  <a:gd name="connsiteY52" fmla="*/ 901153 h 901154"/>
                  <a:gd name="connsiteX53" fmla="*/ 969874 w 2441576"/>
                  <a:gd name="connsiteY53" fmla="*/ 901153 h 901154"/>
                  <a:gd name="connsiteX54" fmla="*/ 864820 w 2441576"/>
                  <a:gd name="connsiteY54" fmla="*/ 901154 h 901154"/>
                  <a:gd name="connsiteX55" fmla="*/ 755093 w 2441576"/>
                  <a:gd name="connsiteY55" fmla="*/ 901153 h 901154"/>
                  <a:gd name="connsiteX56" fmla="*/ 685028 w 2441576"/>
                  <a:gd name="connsiteY56" fmla="*/ 901153 h 901154"/>
                  <a:gd name="connsiteX57" fmla="*/ 581332 w 2441576"/>
                  <a:gd name="connsiteY57" fmla="*/ 901153 h 901154"/>
                  <a:gd name="connsiteX58" fmla="*/ 471351 w 2441576"/>
                  <a:gd name="connsiteY58" fmla="*/ 901153 h 901154"/>
                  <a:gd name="connsiteX59" fmla="*/ 470246 w 2441576"/>
                  <a:gd name="connsiteY59" fmla="*/ 901153 h 901154"/>
                  <a:gd name="connsiteX60" fmla="*/ 377080 w 2441576"/>
                  <a:gd name="connsiteY60" fmla="*/ 901153 h 901154"/>
                  <a:gd name="connsiteX61" fmla="*/ 282811 w 2441576"/>
                  <a:gd name="connsiteY61" fmla="*/ 901153 h 901154"/>
                  <a:gd name="connsiteX62" fmla="*/ 185400 w 2441576"/>
                  <a:gd name="connsiteY62" fmla="*/ 901153 h 901154"/>
                  <a:gd name="connsiteX63" fmla="*/ 94270 w 2441576"/>
                  <a:gd name="connsiteY63" fmla="*/ 901153 h 901154"/>
                  <a:gd name="connsiteX64" fmla="*/ 0 w 2441576"/>
                  <a:gd name="connsiteY64" fmla="*/ 901153 h 901154"/>
                  <a:gd name="connsiteX65" fmla="*/ 0 w 2441576"/>
                  <a:gd name="connsiteY65" fmla="*/ 832545 h 901154"/>
                  <a:gd name="connsiteX66" fmla="*/ 0 w 2441576"/>
                  <a:gd name="connsiteY66" fmla="*/ 760507 h 901154"/>
                  <a:gd name="connsiteX67" fmla="*/ 0 w 2441576"/>
                  <a:gd name="connsiteY67" fmla="*/ 691899 h 901154"/>
                  <a:gd name="connsiteX68" fmla="*/ 0 w 2441576"/>
                  <a:gd name="connsiteY68" fmla="*/ 608455 h 901154"/>
                  <a:gd name="connsiteX69" fmla="*/ 0 w 2441576"/>
                  <a:gd name="connsiteY69" fmla="*/ 539847 h 901154"/>
                  <a:gd name="connsiteX70" fmla="*/ 0 w 2441576"/>
                  <a:gd name="connsiteY70" fmla="*/ 456403 h 901154"/>
                  <a:gd name="connsiteX71" fmla="*/ 0 w 2441576"/>
                  <a:gd name="connsiteY71" fmla="*/ 387795 h 901154"/>
                  <a:gd name="connsiteX72" fmla="*/ 0 w 2441576"/>
                  <a:gd name="connsiteY72" fmla="*/ 304351 h 901154"/>
                  <a:gd name="connsiteX73" fmla="*/ 0 w 2441576"/>
                  <a:gd name="connsiteY73" fmla="*/ 235743 h 901154"/>
                  <a:gd name="connsiteX74" fmla="*/ 0 w 2441576"/>
                  <a:gd name="connsiteY74" fmla="*/ 152299 h 901154"/>
                  <a:gd name="connsiteX75" fmla="*/ 0 w 2441576"/>
                  <a:gd name="connsiteY75" fmla="*/ 83691 h 901154"/>
                  <a:gd name="connsiteX76" fmla="*/ 0 w 2441576"/>
                  <a:gd name="connsiteY76" fmla="*/ 247 h 901154"/>
                  <a:gd name="connsiteX0" fmla="*/ 0 w 2441576"/>
                  <a:gd name="connsiteY0" fmla="*/ 247 h 1193517"/>
                  <a:gd name="connsiteX1" fmla="*/ 94270 w 2441576"/>
                  <a:gd name="connsiteY1" fmla="*/ 247 h 1193517"/>
                  <a:gd name="connsiteX2" fmla="*/ 185400 w 2441576"/>
                  <a:gd name="connsiteY2" fmla="*/ 247 h 1193517"/>
                  <a:gd name="connsiteX3" fmla="*/ 282811 w 2441576"/>
                  <a:gd name="connsiteY3" fmla="*/ 247 h 1193517"/>
                  <a:gd name="connsiteX4" fmla="*/ 377080 w 2441576"/>
                  <a:gd name="connsiteY4" fmla="*/ 247 h 1193517"/>
                  <a:gd name="connsiteX5" fmla="*/ 470246 w 2441576"/>
                  <a:gd name="connsiteY5" fmla="*/ 247 h 1193517"/>
                  <a:gd name="connsiteX6" fmla="*/ 581332 w 2441576"/>
                  <a:gd name="connsiteY6" fmla="*/ 247 h 1193517"/>
                  <a:gd name="connsiteX7" fmla="*/ 685028 w 2441576"/>
                  <a:gd name="connsiteY7" fmla="*/ 247 h 1193517"/>
                  <a:gd name="connsiteX8" fmla="*/ 755093 w 2441576"/>
                  <a:gd name="connsiteY8" fmla="*/ 247 h 1193517"/>
                  <a:gd name="connsiteX9" fmla="*/ 860129 w 2441576"/>
                  <a:gd name="connsiteY9" fmla="*/ 1 h 1193517"/>
                  <a:gd name="connsiteX10" fmla="*/ 969874 w 2441576"/>
                  <a:gd name="connsiteY10" fmla="*/ 247 h 1193517"/>
                  <a:gd name="connsiteX11" fmla="*/ 1039939 w 2441576"/>
                  <a:gd name="connsiteY11" fmla="*/ 247 h 1193517"/>
                  <a:gd name="connsiteX12" fmla="*/ 1146839 w 2441576"/>
                  <a:gd name="connsiteY12" fmla="*/ 1 h 1193517"/>
                  <a:gd name="connsiteX13" fmla="*/ 1254721 w 2441576"/>
                  <a:gd name="connsiteY13" fmla="*/ 247 h 1193517"/>
                  <a:gd name="connsiteX14" fmla="*/ 1324785 w 2441576"/>
                  <a:gd name="connsiteY14" fmla="*/ 247 h 1193517"/>
                  <a:gd name="connsiteX15" fmla="*/ 1430031 w 2441576"/>
                  <a:gd name="connsiteY15" fmla="*/ 0 h 1193517"/>
                  <a:gd name="connsiteX16" fmla="*/ 1539566 w 2441576"/>
                  <a:gd name="connsiteY16" fmla="*/ 247 h 1193517"/>
                  <a:gd name="connsiteX17" fmla="*/ 1609632 w 2441576"/>
                  <a:gd name="connsiteY17" fmla="*/ 247 h 1193517"/>
                  <a:gd name="connsiteX18" fmla="*/ 1707946 w 2441576"/>
                  <a:gd name="connsiteY18" fmla="*/ 1 h 1193517"/>
                  <a:gd name="connsiteX19" fmla="*/ 1824412 w 2441576"/>
                  <a:gd name="connsiteY19" fmla="*/ 247 h 1193517"/>
                  <a:gd name="connsiteX20" fmla="*/ 1941949 w 2441576"/>
                  <a:gd name="connsiteY20" fmla="*/ 247 h 1193517"/>
                  <a:gd name="connsiteX21" fmla="*/ 2094866 w 2441576"/>
                  <a:gd name="connsiteY21" fmla="*/ 247 h 1193517"/>
                  <a:gd name="connsiteX22" fmla="*/ 2176781 w 2441576"/>
                  <a:gd name="connsiteY22" fmla="*/ 247 h 1193517"/>
                  <a:gd name="connsiteX23" fmla="*/ 2258696 w 2441576"/>
                  <a:gd name="connsiteY23" fmla="*/ 247 h 1193517"/>
                  <a:gd name="connsiteX24" fmla="*/ 2321561 w 2441576"/>
                  <a:gd name="connsiteY24" fmla="*/ 247 h 1193517"/>
                  <a:gd name="connsiteX25" fmla="*/ 2441576 w 2441576"/>
                  <a:gd name="connsiteY25" fmla="*/ 247 h 1193517"/>
                  <a:gd name="connsiteX26" fmla="*/ 2441576 w 2441576"/>
                  <a:gd name="connsiteY26" fmla="*/ 83691 h 1193517"/>
                  <a:gd name="connsiteX27" fmla="*/ 2441576 w 2441576"/>
                  <a:gd name="connsiteY27" fmla="*/ 152299 h 1193517"/>
                  <a:gd name="connsiteX28" fmla="*/ 2441576 w 2441576"/>
                  <a:gd name="connsiteY28" fmla="*/ 235743 h 1193517"/>
                  <a:gd name="connsiteX29" fmla="*/ 2441576 w 2441576"/>
                  <a:gd name="connsiteY29" fmla="*/ 304351 h 1193517"/>
                  <a:gd name="connsiteX30" fmla="*/ 2441576 w 2441576"/>
                  <a:gd name="connsiteY30" fmla="*/ 387795 h 1193517"/>
                  <a:gd name="connsiteX31" fmla="*/ 2441576 w 2441576"/>
                  <a:gd name="connsiteY31" fmla="*/ 456403 h 1193517"/>
                  <a:gd name="connsiteX32" fmla="*/ 2441576 w 2441576"/>
                  <a:gd name="connsiteY32" fmla="*/ 539847 h 1193517"/>
                  <a:gd name="connsiteX33" fmla="*/ 2441576 w 2441576"/>
                  <a:gd name="connsiteY33" fmla="*/ 608455 h 1193517"/>
                  <a:gd name="connsiteX34" fmla="*/ 2441576 w 2441576"/>
                  <a:gd name="connsiteY34" fmla="*/ 691899 h 1193517"/>
                  <a:gd name="connsiteX35" fmla="*/ 2441576 w 2441576"/>
                  <a:gd name="connsiteY35" fmla="*/ 760507 h 1193517"/>
                  <a:gd name="connsiteX36" fmla="*/ 2441576 w 2441576"/>
                  <a:gd name="connsiteY36" fmla="*/ 832545 h 1193517"/>
                  <a:gd name="connsiteX37" fmla="*/ 2441576 w 2441576"/>
                  <a:gd name="connsiteY37" fmla="*/ 901153 h 1193517"/>
                  <a:gd name="connsiteX38" fmla="*/ 2321561 w 2441576"/>
                  <a:gd name="connsiteY38" fmla="*/ 901153 h 1193517"/>
                  <a:gd name="connsiteX39" fmla="*/ 2239646 w 2441576"/>
                  <a:gd name="connsiteY39" fmla="*/ 901153 h 1193517"/>
                  <a:gd name="connsiteX40" fmla="*/ 2176781 w 2441576"/>
                  <a:gd name="connsiteY40" fmla="*/ 901153 h 1193517"/>
                  <a:gd name="connsiteX41" fmla="*/ 2109259 w 2441576"/>
                  <a:gd name="connsiteY41" fmla="*/ 901153 h 1193517"/>
                  <a:gd name="connsiteX42" fmla="*/ 2025730 w 2441576"/>
                  <a:gd name="connsiteY42" fmla="*/ 901153 h 1193517"/>
                  <a:gd name="connsiteX43" fmla="*/ 1941949 w 2441576"/>
                  <a:gd name="connsiteY43" fmla="*/ 901153 h 1193517"/>
                  <a:gd name="connsiteX44" fmla="*/ 1824412 w 2441576"/>
                  <a:gd name="connsiteY44" fmla="*/ 901153 h 1193517"/>
                  <a:gd name="connsiteX45" fmla="*/ 1720844 w 2441576"/>
                  <a:gd name="connsiteY45" fmla="*/ 901153 h 1193517"/>
                  <a:gd name="connsiteX46" fmla="*/ 1829119 w 2441576"/>
                  <a:gd name="connsiteY46" fmla="*/ 1193517 h 1193517"/>
                  <a:gd name="connsiteX47" fmla="*/ 1539566 w 2441576"/>
                  <a:gd name="connsiteY47" fmla="*/ 901153 h 1193517"/>
                  <a:gd name="connsiteX48" fmla="*/ 1427685 w 2441576"/>
                  <a:gd name="connsiteY48" fmla="*/ 901153 h 1193517"/>
                  <a:gd name="connsiteX49" fmla="*/ 1324785 w 2441576"/>
                  <a:gd name="connsiteY49" fmla="*/ 901153 h 1193517"/>
                  <a:gd name="connsiteX50" fmla="*/ 1254721 w 2441576"/>
                  <a:gd name="connsiteY50" fmla="*/ 901153 h 1193517"/>
                  <a:gd name="connsiteX51" fmla="*/ 1146253 w 2441576"/>
                  <a:gd name="connsiteY51" fmla="*/ 901153 h 1193517"/>
                  <a:gd name="connsiteX52" fmla="*/ 1039939 w 2441576"/>
                  <a:gd name="connsiteY52" fmla="*/ 901153 h 1193517"/>
                  <a:gd name="connsiteX53" fmla="*/ 969874 w 2441576"/>
                  <a:gd name="connsiteY53" fmla="*/ 901153 h 1193517"/>
                  <a:gd name="connsiteX54" fmla="*/ 864820 w 2441576"/>
                  <a:gd name="connsiteY54" fmla="*/ 901154 h 1193517"/>
                  <a:gd name="connsiteX55" fmla="*/ 755093 w 2441576"/>
                  <a:gd name="connsiteY55" fmla="*/ 901153 h 1193517"/>
                  <a:gd name="connsiteX56" fmla="*/ 685028 w 2441576"/>
                  <a:gd name="connsiteY56" fmla="*/ 901153 h 1193517"/>
                  <a:gd name="connsiteX57" fmla="*/ 581332 w 2441576"/>
                  <a:gd name="connsiteY57" fmla="*/ 901153 h 1193517"/>
                  <a:gd name="connsiteX58" fmla="*/ 471351 w 2441576"/>
                  <a:gd name="connsiteY58" fmla="*/ 901153 h 1193517"/>
                  <a:gd name="connsiteX59" fmla="*/ 470246 w 2441576"/>
                  <a:gd name="connsiteY59" fmla="*/ 901153 h 1193517"/>
                  <a:gd name="connsiteX60" fmla="*/ 377080 w 2441576"/>
                  <a:gd name="connsiteY60" fmla="*/ 901153 h 1193517"/>
                  <a:gd name="connsiteX61" fmla="*/ 282811 w 2441576"/>
                  <a:gd name="connsiteY61" fmla="*/ 901153 h 1193517"/>
                  <a:gd name="connsiteX62" fmla="*/ 185400 w 2441576"/>
                  <a:gd name="connsiteY62" fmla="*/ 901153 h 1193517"/>
                  <a:gd name="connsiteX63" fmla="*/ 94270 w 2441576"/>
                  <a:gd name="connsiteY63" fmla="*/ 901153 h 1193517"/>
                  <a:gd name="connsiteX64" fmla="*/ 0 w 2441576"/>
                  <a:gd name="connsiteY64" fmla="*/ 901153 h 1193517"/>
                  <a:gd name="connsiteX65" fmla="*/ 0 w 2441576"/>
                  <a:gd name="connsiteY65" fmla="*/ 832545 h 1193517"/>
                  <a:gd name="connsiteX66" fmla="*/ 0 w 2441576"/>
                  <a:gd name="connsiteY66" fmla="*/ 760507 h 1193517"/>
                  <a:gd name="connsiteX67" fmla="*/ 0 w 2441576"/>
                  <a:gd name="connsiteY67" fmla="*/ 691899 h 1193517"/>
                  <a:gd name="connsiteX68" fmla="*/ 0 w 2441576"/>
                  <a:gd name="connsiteY68" fmla="*/ 608455 h 1193517"/>
                  <a:gd name="connsiteX69" fmla="*/ 0 w 2441576"/>
                  <a:gd name="connsiteY69" fmla="*/ 539847 h 1193517"/>
                  <a:gd name="connsiteX70" fmla="*/ 0 w 2441576"/>
                  <a:gd name="connsiteY70" fmla="*/ 456403 h 1193517"/>
                  <a:gd name="connsiteX71" fmla="*/ 0 w 2441576"/>
                  <a:gd name="connsiteY71" fmla="*/ 387795 h 1193517"/>
                  <a:gd name="connsiteX72" fmla="*/ 0 w 2441576"/>
                  <a:gd name="connsiteY72" fmla="*/ 304351 h 1193517"/>
                  <a:gd name="connsiteX73" fmla="*/ 0 w 2441576"/>
                  <a:gd name="connsiteY73" fmla="*/ 235743 h 1193517"/>
                  <a:gd name="connsiteX74" fmla="*/ 0 w 2441576"/>
                  <a:gd name="connsiteY74" fmla="*/ 152299 h 1193517"/>
                  <a:gd name="connsiteX75" fmla="*/ 0 w 2441576"/>
                  <a:gd name="connsiteY75" fmla="*/ 83691 h 1193517"/>
                  <a:gd name="connsiteX76" fmla="*/ 0 w 2441576"/>
                  <a:gd name="connsiteY76" fmla="*/ 247 h 11935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</a:cxnLst>
                <a:rect l="l" t="t" r="r" b="b"/>
                <a:pathLst>
                  <a:path w="2441576" h="1193517">
                    <a:moveTo>
                      <a:pt x="0" y="247"/>
                    </a:moveTo>
                    <a:lnTo>
                      <a:pt x="94270" y="247"/>
                    </a:lnTo>
                    <a:lnTo>
                      <a:pt x="185400" y="247"/>
                    </a:lnTo>
                    <a:lnTo>
                      <a:pt x="282811" y="247"/>
                    </a:lnTo>
                    <a:lnTo>
                      <a:pt x="377080" y="247"/>
                    </a:lnTo>
                    <a:lnTo>
                      <a:pt x="470246" y="247"/>
                    </a:lnTo>
                    <a:lnTo>
                      <a:pt x="581332" y="247"/>
                    </a:lnTo>
                    <a:lnTo>
                      <a:pt x="685028" y="247"/>
                    </a:lnTo>
                    <a:lnTo>
                      <a:pt x="755093" y="247"/>
                    </a:lnTo>
                    <a:lnTo>
                      <a:pt x="860129" y="1"/>
                    </a:lnTo>
                    <a:lnTo>
                      <a:pt x="969874" y="247"/>
                    </a:lnTo>
                    <a:lnTo>
                      <a:pt x="1039939" y="247"/>
                    </a:lnTo>
                    <a:lnTo>
                      <a:pt x="1146839" y="1"/>
                    </a:lnTo>
                    <a:lnTo>
                      <a:pt x="1254721" y="247"/>
                    </a:lnTo>
                    <a:lnTo>
                      <a:pt x="1324785" y="247"/>
                    </a:lnTo>
                    <a:lnTo>
                      <a:pt x="1430031" y="0"/>
                    </a:lnTo>
                    <a:lnTo>
                      <a:pt x="1539566" y="247"/>
                    </a:lnTo>
                    <a:lnTo>
                      <a:pt x="1609632" y="247"/>
                    </a:lnTo>
                    <a:lnTo>
                      <a:pt x="1707946" y="1"/>
                    </a:lnTo>
                    <a:lnTo>
                      <a:pt x="1824412" y="247"/>
                    </a:lnTo>
                    <a:lnTo>
                      <a:pt x="1941949" y="247"/>
                    </a:lnTo>
                    <a:lnTo>
                      <a:pt x="2094866" y="247"/>
                    </a:lnTo>
                    <a:lnTo>
                      <a:pt x="2176781" y="247"/>
                    </a:lnTo>
                    <a:lnTo>
                      <a:pt x="2258696" y="247"/>
                    </a:lnTo>
                    <a:lnTo>
                      <a:pt x="2321561" y="247"/>
                    </a:lnTo>
                    <a:lnTo>
                      <a:pt x="2441576" y="247"/>
                    </a:lnTo>
                    <a:lnTo>
                      <a:pt x="2441576" y="83691"/>
                    </a:lnTo>
                    <a:lnTo>
                      <a:pt x="2441576" y="152299"/>
                    </a:lnTo>
                    <a:lnTo>
                      <a:pt x="2441576" y="235743"/>
                    </a:lnTo>
                    <a:lnTo>
                      <a:pt x="2441576" y="304351"/>
                    </a:lnTo>
                    <a:lnTo>
                      <a:pt x="2441576" y="387795"/>
                    </a:lnTo>
                    <a:lnTo>
                      <a:pt x="2441576" y="456403"/>
                    </a:lnTo>
                    <a:lnTo>
                      <a:pt x="2441576" y="539847"/>
                    </a:lnTo>
                    <a:lnTo>
                      <a:pt x="2441576" y="608455"/>
                    </a:lnTo>
                    <a:lnTo>
                      <a:pt x="2441576" y="691899"/>
                    </a:lnTo>
                    <a:lnTo>
                      <a:pt x="2441576" y="760507"/>
                    </a:lnTo>
                    <a:lnTo>
                      <a:pt x="2441576" y="832545"/>
                    </a:lnTo>
                    <a:lnTo>
                      <a:pt x="2441576" y="901153"/>
                    </a:lnTo>
                    <a:lnTo>
                      <a:pt x="2321561" y="901153"/>
                    </a:lnTo>
                    <a:lnTo>
                      <a:pt x="2239646" y="901153"/>
                    </a:lnTo>
                    <a:lnTo>
                      <a:pt x="2176781" y="901153"/>
                    </a:lnTo>
                    <a:lnTo>
                      <a:pt x="2109259" y="901153"/>
                    </a:lnTo>
                    <a:lnTo>
                      <a:pt x="2025730" y="901153"/>
                    </a:lnTo>
                    <a:lnTo>
                      <a:pt x="1941949" y="901153"/>
                    </a:lnTo>
                    <a:lnTo>
                      <a:pt x="1824412" y="901153"/>
                    </a:lnTo>
                    <a:lnTo>
                      <a:pt x="1720844" y="901153"/>
                    </a:lnTo>
                    <a:lnTo>
                      <a:pt x="1829119" y="1193517"/>
                    </a:lnTo>
                    <a:lnTo>
                      <a:pt x="1539566" y="901153"/>
                    </a:lnTo>
                    <a:lnTo>
                      <a:pt x="1427685" y="901153"/>
                    </a:lnTo>
                    <a:lnTo>
                      <a:pt x="1324785" y="901153"/>
                    </a:lnTo>
                    <a:lnTo>
                      <a:pt x="1254721" y="901153"/>
                    </a:lnTo>
                    <a:lnTo>
                      <a:pt x="1146253" y="901153"/>
                    </a:lnTo>
                    <a:lnTo>
                      <a:pt x="1039939" y="901153"/>
                    </a:lnTo>
                    <a:lnTo>
                      <a:pt x="969874" y="901153"/>
                    </a:lnTo>
                    <a:lnTo>
                      <a:pt x="864820" y="901154"/>
                    </a:lnTo>
                    <a:lnTo>
                      <a:pt x="755093" y="901153"/>
                    </a:lnTo>
                    <a:lnTo>
                      <a:pt x="685028" y="901153"/>
                    </a:lnTo>
                    <a:lnTo>
                      <a:pt x="581332" y="901153"/>
                    </a:lnTo>
                    <a:lnTo>
                      <a:pt x="471351" y="901153"/>
                    </a:lnTo>
                    <a:lnTo>
                      <a:pt x="470246" y="901153"/>
                    </a:lnTo>
                    <a:lnTo>
                      <a:pt x="377080" y="901153"/>
                    </a:lnTo>
                    <a:lnTo>
                      <a:pt x="282811" y="901153"/>
                    </a:lnTo>
                    <a:lnTo>
                      <a:pt x="185400" y="901153"/>
                    </a:lnTo>
                    <a:lnTo>
                      <a:pt x="94270" y="901153"/>
                    </a:lnTo>
                    <a:lnTo>
                      <a:pt x="0" y="901153"/>
                    </a:lnTo>
                    <a:lnTo>
                      <a:pt x="0" y="832545"/>
                    </a:lnTo>
                    <a:lnTo>
                      <a:pt x="0" y="760507"/>
                    </a:lnTo>
                    <a:lnTo>
                      <a:pt x="0" y="691899"/>
                    </a:lnTo>
                    <a:lnTo>
                      <a:pt x="0" y="608455"/>
                    </a:lnTo>
                    <a:lnTo>
                      <a:pt x="0" y="539847"/>
                    </a:lnTo>
                    <a:lnTo>
                      <a:pt x="0" y="456403"/>
                    </a:lnTo>
                    <a:lnTo>
                      <a:pt x="0" y="387795"/>
                    </a:lnTo>
                    <a:lnTo>
                      <a:pt x="0" y="304351"/>
                    </a:lnTo>
                    <a:lnTo>
                      <a:pt x="0" y="235743"/>
                    </a:lnTo>
                    <a:lnTo>
                      <a:pt x="0" y="152299"/>
                    </a:lnTo>
                    <a:lnTo>
                      <a:pt x="0" y="83691"/>
                    </a:lnTo>
                    <a:lnTo>
                      <a:pt x="0" y="247"/>
                    </a:lnTo>
                    <a:close/>
                  </a:path>
                </a:pathLst>
              </a:custGeom>
              <a:solidFill>
                <a:schemeClr val="bg2"/>
              </a:solidFill>
              <a:ln w="12700" algn="ctr">
                <a:solidFill>
                  <a:schemeClr val="accent2"/>
                </a:solidFill>
                <a:miter lim="800000"/>
                <a:headEnd/>
                <a:tailEnd/>
              </a:ln>
              <a:effectLst>
                <a:outerShdw dist="53340" dir="2700000" algn="tl" rotWithShape="0">
                  <a:schemeClr val="tx1">
                    <a:alpha val="8000"/>
                  </a:scheme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1104248"/>
                <a:endParaRPr lang="es-ES_tradnl" sz="1200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10" name="Rectangle 22"/>
              <p:cNvSpPr txBox="1"/>
              <p:nvPr>
                <p:custDataLst>
                  <p:tags r:id="rId12"/>
                </p:custDataLst>
              </p:nvPr>
            </p:nvSpPr>
            <p:spPr>
              <a:xfrm flipH="1">
                <a:off x="647741" y="2444019"/>
                <a:ext cx="930594" cy="2085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>
                  <a:buClr>
                    <a:srgbClr val="009A46"/>
                  </a:buClr>
                </a:pPr>
                <a:r>
                  <a:rPr lang="es-ES_tradnl" sz="1200" dirty="0">
                    <a:solidFill>
                      <a:srgbClr val="000000"/>
                    </a:solidFill>
                    <a:cs typeface="Arial" panose="020B0604020202020204" pitchFamily="34" charset="0"/>
                  </a:rPr>
                  <a:t>Riesgos</a:t>
                </a:r>
              </a:p>
            </p:txBody>
          </p:sp>
        </p:grpSp>
        <p:grpSp>
          <p:nvGrpSpPr>
            <p:cNvPr id="17" name="Group 16"/>
            <p:cNvGrpSpPr/>
            <p:nvPr/>
          </p:nvGrpSpPr>
          <p:grpSpPr>
            <a:xfrm>
              <a:off x="7479144" y="2071118"/>
              <a:ext cx="1049502" cy="833058"/>
              <a:chOff x="5903929" y="2958672"/>
              <a:chExt cx="1080891" cy="878690"/>
            </a:xfrm>
          </p:grpSpPr>
          <p:pic>
            <p:nvPicPr>
              <p:cNvPr id="220" name="Picture 219"/>
              <p:cNvPicPr>
                <a:picLocks noChangeAspect="1"/>
              </p:cNvPicPr>
              <p:nvPr/>
            </p:nvPicPr>
            <p:blipFill>
              <a:blip r:embed="rId2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360737" y="2958672"/>
                <a:ext cx="624083" cy="846340"/>
              </a:xfrm>
              <a:prstGeom prst="rect">
                <a:avLst/>
              </a:prstGeom>
            </p:spPr>
          </p:pic>
          <p:pic>
            <p:nvPicPr>
              <p:cNvPr id="221" name="Picture 123"/>
              <p:cNvPicPr>
                <a:picLocks noChangeAspect="1" noChangeArrowheads="1"/>
              </p:cNvPicPr>
              <p:nvPr/>
            </p:nvPicPr>
            <p:blipFill>
              <a:blip r:embed="rId2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903929" y="3063315"/>
                <a:ext cx="492555" cy="77404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sp>
        <p:nvSpPr>
          <p:cNvPr id="113" name="Freeform 112"/>
          <p:cNvSpPr/>
          <p:nvPr>
            <p:custDataLst>
              <p:tags r:id="rId7"/>
            </p:custDataLst>
          </p:nvPr>
        </p:nvSpPr>
        <p:spPr bwMode="gray">
          <a:xfrm>
            <a:off x="3340921" y="1691896"/>
            <a:ext cx="2783647" cy="406422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664208" y="0"/>
                </a:lnTo>
                <a:lnTo>
                  <a:pt x="1828800" y="457200"/>
                </a:lnTo>
                <a:lnTo>
                  <a:pt x="1664208" y="914400"/>
                </a:lnTo>
                <a:lnTo>
                  <a:pt x="0" y="914400"/>
                </a:lnTo>
                <a:lnTo>
                  <a:pt x="0" y="457200"/>
                </a:lnTo>
                <a:close/>
              </a:path>
            </a:pathLst>
          </a:custGeom>
          <a:solidFill>
            <a:schemeClr val="tx2"/>
          </a:solidFill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10406" tIns="55208" rIns="110406" bIns="55208" numCol="1" rtlCol="0" anchor="ctr" anchorCtr="0" compatLnSpc="1">
            <a:prstTxWarp prst="textNoShape">
              <a:avLst/>
            </a:prstTxWarp>
          </a:bodyPr>
          <a:lstStyle/>
          <a:p>
            <a:pPr algn="ctr" defTabSz="1104248"/>
            <a:endParaRPr lang="es-CL" sz="1200" dirty="0">
              <a:solidFill>
                <a:srgbClr val="FFFFFF"/>
              </a:solidFill>
            </a:endParaRPr>
          </a:p>
        </p:txBody>
      </p:sp>
      <p:sp>
        <p:nvSpPr>
          <p:cNvPr id="116" name="TextBox 115"/>
          <p:cNvSpPr txBox="1"/>
          <p:nvPr>
            <p:custDataLst>
              <p:tags r:id="rId8"/>
            </p:custDataLst>
          </p:nvPr>
        </p:nvSpPr>
        <p:spPr>
          <a:xfrm>
            <a:off x="3748184" y="1720120"/>
            <a:ext cx="2009024" cy="349974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0" tIns="0" rIns="0" bIns="0" rtlCol="0" anchor="ctr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9A46"/>
              </a:buClr>
            </a:pPr>
            <a:r>
              <a:rPr lang="es-CL" sz="1200" b="1" dirty="0">
                <a:solidFill>
                  <a:srgbClr val="FFFFFF"/>
                </a:solidFill>
              </a:rPr>
              <a:t>Realizar seguimiento de compromisos</a:t>
            </a:r>
          </a:p>
        </p:txBody>
      </p:sp>
      <p:sp>
        <p:nvSpPr>
          <p:cNvPr id="27" name="Freeform 26"/>
          <p:cNvSpPr/>
          <p:nvPr>
            <p:custDataLst>
              <p:tags r:id="rId9"/>
            </p:custDataLst>
          </p:nvPr>
        </p:nvSpPr>
        <p:spPr bwMode="gray">
          <a:xfrm>
            <a:off x="1450197" y="1691896"/>
            <a:ext cx="2102695" cy="406422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664208" y="0"/>
                </a:lnTo>
                <a:lnTo>
                  <a:pt x="1828800" y="457200"/>
                </a:lnTo>
                <a:lnTo>
                  <a:pt x="1664208" y="914400"/>
                </a:lnTo>
                <a:lnTo>
                  <a:pt x="0" y="914400"/>
                </a:lnTo>
                <a:lnTo>
                  <a:pt x="0" y="457200"/>
                </a:lnTo>
                <a:close/>
              </a:path>
            </a:pathLst>
          </a:custGeom>
          <a:solidFill>
            <a:schemeClr val="tx2"/>
          </a:solidFill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10406" tIns="55208" rIns="110406" bIns="55208" numCol="1" rtlCol="0" anchor="ctr" anchorCtr="0" compatLnSpc="1">
            <a:prstTxWarp prst="textNoShape">
              <a:avLst/>
            </a:prstTxWarp>
          </a:bodyPr>
          <a:lstStyle/>
          <a:p>
            <a:pPr algn="ctr" defTabSz="1104248"/>
            <a:endParaRPr lang="es-CL" sz="1200" dirty="0">
              <a:solidFill>
                <a:srgbClr val="FFFFFF"/>
              </a:solidFill>
            </a:endParaRPr>
          </a:p>
        </p:txBody>
      </p:sp>
      <p:sp>
        <p:nvSpPr>
          <p:cNvPr id="110" name="TextBox 109"/>
          <p:cNvSpPr txBox="1"/>
          <p:nvPr>
            <p:custDataLst>
              <p:tags r:id="rId10"/>
            </p:custDataLst>
          </p:nvPr>
        </p:nvSpPr>
        <p:spPr>
          <a:xfrm>
            <a:off x="1523209" y="1720120"/>
            <a:ext cx="1752247" cy="349974"/>
          </a:xfrm>
          <a:prstGeom prst="rect">
            <a:avLst/>
          </a:prstGeom>
          <a:solidFill>
            <a:schemeClr val="tx2"/>
          </a:solidFill>
          <a:ln w="9525">
            <a:noFill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10406" tIns="55208" rIns="110406" bIns="55208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defTabSz="909274">
              <a:defRPr sz="1000">
                <a:solidFill>
                  <a:srgbClr val="FFFFFF"/>
                </a:solidFill>
              </a:defRPr>
            </a:lvl1pPr>
          </a:lstStyle>
          <a:p>
            <a:r>
              <a:rPr lang="es-CL" b="1" dirty="0"/>
              <a:t>Preparar el </a:t>
            </a:r>
            <a:r>
              <a:rPr lang="es-CL" b="1" dirty="0" smtClean="0"/>
              <a:t>diálogo </a:t>
            </a:r>
          </a:p>
          <a:p>
            <a:pPr algn="l"/>
            <a:r>
              <a:rPr lang="es-CL" b="1" dirty="0" smtClean="0"/>
              <a:t>de </a:t>
            </a:r>
            <a:r>
              <a:rPr lang="es-CL" b="1" dirty="0"/>
              <a:t>desempeño</a:t>
            </a:r>
          </a:p>
        </p:txBody>
      </p:sp>
      <p:sp>
        <p:nvSpPr>
          <p:cNvPr id="65" name="Rectangle 7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837763" y="552382"/>
            <a:ext cx="876542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defTabSz="1218026" eaLnBrk="1" hangingPunct="1">
              <a:tabLst>
                <a:tab pos="367135" algn="l"/>
              </a:tabLst>
              <a:defRPr lang="x-none" sz="2000" b="1" baseline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  <a:lvl2pPr defTabSz="1218026" eaLnBrk="1" hangingPunct="1">
              <a:defRPr lang="x-none" sz="2584" b="1">
                <a:solidFill>
                  <a:schemeClr val="tx2"/>
                </a:solidFill>
              </a:defRPr>
            </a:lvl2pPr>
            <a:lvl3pPr defTabSz="1218026" eaLnBrk="1" hangingPunct="1">
              <a:defRPr lang="x-none" sz="2584" b="1">
                <a:solidFill>
                  <a:schemeClr val="tx2"/>
                </a:solidFill>
              </a:defRPr>
            </a:lvl3pPr>
            <a:lvl4pPr defTabSz="1218026" eaLnBrk="1" hangingPunct="1">
              <a:defRPr lang="x-none" sz="2584" b="1">
                <a:solidFill>
                  <a:schemeClr val="tx2"/>
                </a:solidFill>
              </a:defRPr>
            </a:lvl4pPr>
            <a:lvl5pPr defTabSz="1218026" eaLnBrk="1" hangingPunct="1">
              <a:defRPr lang="x-none" sz="2584" b="1">
                <a:solidFill>
                  <a:schemeClr val="tx2"/>
                </a:solidFill>
              </a:defRPr>
            </a:lvl5pPr>
            <a:lvl6pPr marL="621970" defTabSz="1218026" fontAlgn="base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</a:defRPr>
            </a:lvl6pPr>
            <a:lvl7pPr marL="1243941" defTabSz="1218026" fontAlgn="base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</a:defRPr>
            </a:lvl7pPr>
            <a:lvl8pPr marL="1865909" defTabSz="1218026" fontAlgn="base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</a:defRPr>
            </a:lvl8pPr>
            <a:lvl9pPr marL="2487880" defTabSz="1218026" fontAlgn="base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</a:defRPr>
            </a:lvl9pPr>
          </a:lstStyle>
          <a:p>
            <a:r>
              <a:rPr lang="es-ES" kern="0" dirty="0">
                <a:solidFill>
                  <a:srgbClr val="808080"/>
                </a:solidFill>
                <a:sym typeface="Calibri" panose="020F0502020204030204" pitchFamily="34" charset="0"/>
              </a:rPr>
              <a:t>¿Cuáles son las mejores prácticas en un Diálogo de Desempeño?</a:t>
            </a:r>
          </a:p>
        </p:txBody>
      </p:sp>
    </p:spTree>
    <p:extLst>
      <p:ext uri="{BB962C8B-B14F-4D97-AF65-F5344CB8AC3E}">
        <p14:creationId xmlns:p14="http://schemas.microsoft.com/office/powerpoint/2010/main" val="3532485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PVERSION" val="5"/>
  <p:tag name="TPFULLVERSION" val="5.3.2.24"/>
  <p:tag name="PPTVERSION" val="14"/>
  <p:tag name="TPOS" val="2"/>
  <p:tag name="APLORISREVISION" val="14"/>
  <p:tag name="ACCENT" val="4"/>
  <p:tag name="LINE" val="2"/>
  <p:tag name="ISNEWSLIDENUMBER" val="False"/>
  <p:tag name="NEWNAMES" val="True"/>
  <p:tag name="THINKCELLPRESENTATIONDONOTDELETE" val="&lt;?xml version=&quot;1.0&quot; encoding=&quot;UTF-16&quot; standalone=&quot;yes&quot;?&gt;&lt;root reqver=&quot;23045&quot;&gt;&lt;version val=&quot;251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4&quot;&gt;&lt;elem m_fUsage=&quot;2.30048999999999992383E+00&quot;&gt;&lt;m_msothmcolidx val=&quot;0&quot;/&gt;&lt;m_rgb r=&quot;66&quot; g=&quot;66&quot; b=&quot;66&quot;/&gt;&lt;m_nBrightness val=&quot;0&quot;/&gt;&lt;/elem&gt;&lt;elem m_fUsage=&quot;1.00000000000000000000E+00&quot;&gt;&lt;m_msothmcolidx val=&quot;0&quot;/&gt;&lt;m_rgb r=&quot;F2&quot; g=&quot;7F&quot; b=&quot;00&quot;/&gt;&lt;m_nBrightness val=&quot;0&quot;/&gt;&lt;/elem&gt;&lt;elem m_fUsage=&quot;7.29000000000000092371E-01&quot;&gt;&lt;m_msothmcolidx val=&quot;0&quot;/&gt;&lt;m_rgb r=&quot;CD&quot; g=&quot;20&quot; b=&quot;2C&quot;/&gt;&lt;m_nBrightness val=&quot;0&quot;/&gt;&lt;/elem&gt;&lt;elem m_fUsage=&quot;6.56100000000000127542E-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MTBTACCENT" val="Text2"/>
  <p:tag name="PREVIOUSNAME" val="C:\Users\Carlos Echevarria\Box Sync\QCP - BEST Ola 2\5. Trainings (Compartida)\Bootcamp Ola 2 Laja\Bootcamp Ola 2 día 1 v2_Sist Gestion y MyC.pptx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YePe48eyKgENdjLH2Yl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2REoC5bRuCpvPariXxAe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NY6stWykGXmxhgDqI8u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hbfM3VcEiYU2wKN5LMA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kOhMzonECkBqtdVHkUP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428.s5hEuAWbo3Nzz4A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aszBt0fU.kQ62hMrPnp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HcMfCQJUuhzNhPE6cXZ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hbfM3VcEiYU2wKN5LMA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1L0FjIXke29sSlahlgj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Yo2WegXkacCE2wcj1QB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yJ20iJF0CVoYKy9jYG9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lq4qJeebU2JTpx5goKpT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Cql10RzE6XDVmxjRQMj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oGCiXSM0en4_CdPaRYy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qpAyEG.EaMU1FMI_Igb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k.0xlhvUOlgh.WViQu0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d914dlokWbUzCdgpb1Q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2.d0QSoEu6ySSWV0u6s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Hzt.4arE6djazjyf4Jp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r8atGy40af_dfydNtt7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KE.LdqMUOyItIQH82BP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UfVOSg_PEOSeglrNfezo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_1fM6yNkeOZRegXGmx2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z6aL9CSUGhm4rW4NOYm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_H4.uz2U.6gWviYpOe1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BAfQPuR4OgU4545uuF.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Cql10RzE6XDVmxjRQMj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_1fM6yNkeOZRegXGmx2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z6aL9CSUGhm4rW4NOYm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_H4.uz2U.6gWviYpOe1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d914dlokWbUzCdgpb1Q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2.d0QSoEu6ySSWV0u6s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Hzt.4arE6djazjyf4Jp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r8atGy40af_dfydNtt7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KE.LdqMUOyItIQH82BP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UfVOSg_PEOSeglrNfezo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oGCiXSM0en4_CdPaRYy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qpAyEG.EaMU1FMI_Igb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k.0xlhvUOlgh.WViQu0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itletrackercircl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fURM4lgUGEBuWvXqTNj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YbST8TUrESsXGjSSnNJO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.UcHQtXUSoikgJKtCjj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nOb4ScZUSInjZYPZi1A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q_zvYJKE6XKANYIOfB8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HN2nu1TGuk_arxPdL3g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itletrackercircl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eJJ7Dr20yT8e0A.Bf.C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eJJ7Dr20yT8e0A.Bf.C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eJJ7Dr20yT8e0A.Bf.C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eJJ7Dr20yT8e0A.Bf.C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eJJ7Dr20yT8e0A.Bf.C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2REoC5bRuCpvPariXxAe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eJJ7Dr20yT8e0A.Bf.C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eJJ7Dr20yT8e0A.Bf.C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eJJ7Dr20yT8e0A.Bf.C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eJJ7Dr20yT8e0A.Bf.C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YePe48eyKgENdjLH2Yl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CMPC_CF_QA0592">
  <a:themeElements>
    <a:clrScheme name="Current">
      <a:dk1>
        <a:srgbClr val="000000"/>
      </a:dk1>
      <a:lt1>
        <a:srgbClr val="FFFFFF"/>
      </a:lt1>
      <a:dk2>
        <a:srgbClr val="009A46"/>
      </a:dk2>
      <a:lt2>
        <a:srgbClr val="FFFFFF"/>
      </a:lt2>
      <a:accent1>
        <a:srgbClr val="E2E2E2"/>
      </a:accent1>
      <a:accent2>
        <a:srgbClr val="92D050"/>
      </a:accent2>
      <a:accent3>
        <a:srgbClr val="808080"/>
      </a:accent3>
      <a:accent4>
        <a:srgbClr val="007033"/>
      </a:accent4>
      <a:accent5>
        <a:srgbClr val="FF6600"/>
      </a:accent5>
      <a:accent6>
        <a:srgbClr val="808080"/>
      </a:accent6>
      <a:hlink>
        <a:srgbClr val="808080"/>
      </a:hlink>
      <a:folHlink>
        <a:srgbClr val="0070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9A46"/>
        </a:dk2>
        <a:lt2>
          <a:srgbClr val="FFFFFF"/>
        </a:lt2>
        <a:accent1>
          <a:srgbClr val="E2E2E2"/>
        </a:accent1>
        <a:accent2>
          <a:srgbClr val="92D050"/>
        </a:accent2>
        <a:accent3>
          <a:srgbClr val="808080"/>
        </a:accent3>
        <a:accent4>
          <a:srgbClr val="007033"/>
        </a:accent4>
        <a:accent5>
          <a:srgbClr val="FF6600"/>
        </a:accent5>
        <a:accent6>
          <a:srgbClr val="808080"/>
        </a:accent6>
        <a:hlink>
          <a:srgbClr val="808080"/>
        </a:hlink>
        <a:folHlink>
          <a:srgbClr val="0070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CMPC_CF_QA0592.potx" id="{6AE423BA-A362-43D2-BDFF-58BFBDD04BA7}" vid="{5AA30268-DCA7-421D-BF9A-A6186ACAD70E}"/>
    </a:ext>
  </a:extLst>
</a:theme>
</file>

<file path=ppt/theme/theme10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Firm Format - Spanish">
  <a:themeElements>
    <a:clrScheme name="Custom 30">
      <a:dk1>
        <a:srgbClr val="000000"/>
      </a:dk1>
      <a:lt1>
        <a:srgbClr val="FFFFFF"/>
      </a:lt1>
      <a:dk2>
        <a:srgbClr val="009A46"/>
      </a:dk2>
      <a:lt2>
        <a:srgbClr val="FFFFFF"/>
      </a:lt2>
      <a:accent1>
        <a:srgbClr val="E2E2E2"/>
      </a:accent1>
      <a:accent2>
        <a:srgbClr val="92D050"/>
      </a:accent2>
      <a:accent3>
        <a:srgbClr val="808080"/>
      </a:accent3>
      <a:accent4>
        <a:srgbClr val="007033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CMPC ZXB678.potx" id="{569356FE-3787-45F6-8663-A7D201881B9A}" vid="{2544F58F-A739-48AC-9ACB-2C548BB0E16B}"/>
    </a:ext>
  </a:extLst>
</a:theme>
</file>

<file path=ppt/theme/theme3.xml><?xml version="1.0" encoding="utf-8"?>
<a:theme xmlns:a="http://schemas.openxmlformats.org/drawingml/2006/main" name="3_Firm Format - Spanish">
  <a:themeElements>
    <a:clrScheme name="Custom 30">
      <a:dk1>
        <a:srgbClr val="000000"/>
      </a:dk1>
      <a:lt1>
        <a:srgbClr val="FFFFFF"/>
      </a:lt1>
      <a:dk2>
        <a:srgbClr val="009A46"/>
      </a:dk2>
      <a:lt2>
        <a:srgbClr val="FFFFFF"/>
      </a:lt2>
      <a:accent1>
        <a:srgbClr val="E2E2E2"/>
      </a:accent1>
      <a:accent2>
        <a:srgbClr val="92D050"/>
      </a:accent2>
      <a:accent3>
        <a:srgbClr val="808080"/>
      </a:accent3>
      <a:accent4>
        <a:srgbClr val="007033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CMPC ZXB678.potx" id="{569356FE-3787-45F6-8663-A7D201881B9A}" vid="{2544F58F-A739-48AC-9ACB-2C548BB0E16B}"/>
    </a:ext>
  </a:extLst>
</a:theme>
</file>

<file path=ppt/theme/theme4.xml><?xml version="1.0" encoding="utf-8"?>
<a:theme xmlns:a="http://schemas.openxmlformats.org/drawingml/2006/main" name="4_Firm Format - Spanish">
  <a:themeElements>
    <a:clrScheme name="Custom 30">
      <a:dk1>
        <a:srgbClr val="000000"/>
      </a:dk1>
      <a:lt1>
        <a:srgbClr val="FFFFFF"/>
      </a:lt1>
      <a:dk2>
        <a:srgbClr val="009A46"/>
      </a:dk2>
      <a:lt2>
        <a:srgbClr val="FFFFFF"/>
      </a:lt2>
      <a:accent1>
        <a:srgbClr val="E2E2E2"/>
      </a:accent1>
      <a:accent2>
        <a:srgbClr val="92D050"/>
      </a:accent2>
      <a:accent3>
        <a:srgbClr val="808080"/>
      </a:accent3>
      <a:accent4>
        <a:srgbClr val="007033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accent4"/>
          </a:solidFill>
          <a:round/>
          <a:headEnd/>
          <a:tailEnd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>
          <a:defRPr sz="1000" dirty="0"/>
        </a:defPPr>
      </a:lst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CMPC ZXB678.potx" id="{569356FE-3787-45F6-8663-A7D201881B9A}" vid="{2544F58F-A739-48AC-9ACB-2C548BB0E16B}"/>
    </a:ext>
  </a:extLst>
</a:theme>
</file>

<file path=ppt/theme/theme5.xml><?xml version="1.0" encoding="utf-8"?>
<a:theme xmlns:a="http://schemas.openxmlformats.org/drawingml/2006/main" name="1_CMPC_CF_QA0592">
  <a:themeElements>
    <a:clrScheme name="Current">
      <a:dk1>
        <a:srgbClr val="000000"/>
      </a:dk1>
      <a:lt1>
        <a:srgbClr val="FFFFFF"/>
      </a:lt1>
      <a:dk2>
        <a:srgbClr val="009A46"/>
      </a:dk2>
      <a:lt2>
        <a:srgbClr val="FFFFFF"/>
      </a:lt2>
      <a:accent1>
        <a:srgbClr val="E2E2E2"/>
      </a:accent1>
      <a:accent2>
        <a:srgbClr val="92D050"/>
      </a:accent2>
      <a:accent3>
        <a:srgbClr val="808080"/>
      </a:accent3>
      <a:accent4>
        <a:srgbClr val="007033"/>
      </a:accent4>
      <a:accent5>
        <a:srgbClr val="FF6600"/>
      </a:accent5>
      <a:accent6>
        <a:srgbClr val="808080"/>
      </a:accent6>
      <a:hlink>
        <a:srgbClr val="808080"/>
      </a:hlink>
      <a:folHlink>
        <a:srgbClr val="0070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9A46"/>
        </a:dk2>
        <a:lt2>
          <a:srgbClr val="FFFFFF"/>
        </a:lt2>
        <a:accent1>
          <a:srgbClr val="E2E2E2"/>
        </a:accent1>
        <a:accent2>
          <a:srgbClr val="92D050"/>
        </a:accent2>
        <a:accent3>
          <a:srgbClr val="808080"/>
        </a:accent3>
        <a:accent4>
          <a:srgbClr val="007033"/>
        </a:accent4>
        <a:accent5>
          <a:srgbClr val="FF6600"/>
        </a:accent5>
        <a:accent6>
          <a:srgbClr val="808080"/>
        </a:accent6>
        <a:hlink>
          <a:srgbClr val="808080"/>
        </a:hlink>
        <a:folHlink>
          <a:srgbClr val="0070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CMPC_CF_QA0592.potx" id="{6AE423BA-A362-43D2-BDFF-58BFBDD04BA7}" vid="{5AA30268-DCA7-421D-BF9A-A6186ACAD70E}"/>
    </a:ext>
  </a:extLst>
</a:theme>
</file>

<file path=ppt/theme/theme6.xml><?xml version="1.0" encoding="utf-8"?>
<a:theme xmlns:a="http://schemas.openxmlformats.org/drawingml/2006/main" name="2_CMPC_CF_QA0592">
  <a:themeElements>
    <a:clrScheme name="Current">
      <a:dk1>
        <a:srgbClr val="000000"/>
      </a:dk1>
      <a:lt1>
        <a:srgbClr val="FFFFFF"/>
      </a:lt1>
      <a:dk2>
        <a:srgbClr val="009A46"/>
      </a:dk2>
      <a:lt2>
        <a:srgbClr val="FFFFFF"/>
      </a:lt2>
      <a:accent1>
        <a:srgbClr val="E2E2E2"/>
      </a:accent1>
      <a:accent2>
        <a:srgbClr val="92D050"/>
      </a:accent2>
      <a:accent3>
        <a:srgbClr val="808080"/>
      </a:accent3>
      <a:accent4>
        <a:srgbClr val="007033"/>
      </a:accent4>
      <a:accent5>
        <a:srgbClr val="FF6600"/>
      </a:accent5>
      <a:accent6>
        <a:srgbClr val="808080"/>
      </a:accent6>
      <a:hlink>
        <a:srgbClr val="808080"/>
      </a:hlink>
      <a:folHlink>
        <a:srgbClr val="0070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9A46"/>
        </a:dk2>
        <a:lt2>
          <a:srgbClr val="FFFFFF"/>
        </a:lt2>
        <a:accent1>
          <a:srgbClr val="E2E2E2"/>
        </a:accent1>
        <a:accent2>
          <a:srgbClr val="92D050"/>
        </a:accent2>
        <a:accent3>
          <a:srgbClr val="808080"/>
        </a:accent3>
        <a:accent4>
          <a:srgbClr val="007033"/>
        </a:accent4>
        <a:accent5>
          <a:srgbClr val="FF6600"/>
        </a:accent5>
        <a:accent6>
          <a:srgbClr val="808080"/>
        </a:accent6>
        <a:hlink>
          <a:srgbClr val="808080"/>
        </a:hlink>
        <a:folHlink>
          <a:srgbClr val="0070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CMPC_CF_QA0592.potx" id="{6AE423BA-A362-43D2-BDFF-58BFBDD04BA7}" vid="{5AA30268-DCA7-421D-BF9A-A6186ACAD70E}"/>
    </a:ext>
  </a:extLst>
</a:theme>
</file>

<file path=ppt/theme/theme7.xml><?xml version="1.0" encoding="utf-8"?>
<a:theme xmlns:a="http://schemas.openxmlformats.org/drawingml/2006/main" name="3_CMPC_CF_QA0592">
  <a:themeElements>
    <a:clrScheme name="Current">
      <a:dk1>
        <a:srgbClr val="000000"/>
      </a:dk1>
      <a:lt1>
        <a:srgbClr val="FFFFFF"/>
      </a:lt1>
      <a:dk2>
        <a:srgbClr val="009A46"/>
      </a:dk2>
      <a:lt2>
        <a:srgbClr val="FFFFFF"/>
      </a:lt2>
      <a:accent1>
        <a:srgbClr val="E2E2E2"/>
      </a:accent1>
      <a:accent2>
        <a:srgbClr val="92D050"/>
      </a:accent2>
      <a:accent3>
        <a:srgbClr val="808080"/>
      </a:accent3>
      <a:accent4>
        <a:srgbClr val="007033"/>
      </a:accent4>
      <a:accent5>
        <a:srgbClr val="FF6600"/>
      </a:accent5>
      <a:accent6>
        <a:srgbClr val="808080"/>
      </a:accent6>
      <a:hlink>
        <a:srgbClr val="808080"/>
      </a:hlink>
      <a:folHlink>
        <a:srgbClr val="0070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9A46"/>
        </a:dk2>
        <a:lt2>
          <a:srgbClr val="FFFFFF"/>
        </a:lt2>
        <a:accent1>
          <a:srgbClr val="E2E2E2"/>
        </a:accent1>
        <a:accent2>
          <a:srgbClr val="92D050"/>
        </a:accent2>
        <a:accent3>
          <a:srgbClr val="808080"/>
        </a:accent3>
        <a:accent4>
          <a:srgbClr val="007033"/>
        </a:accent4>
        <a:accent5>
          <a:srgbClr val="FF6600"/>
        </a:accent5>
        <a:accent6>
          <a:srgbClr val="808080"/>
        </a:accent6>
        <a:hlink>
          <a:srgbClr val="808080"/>
        </a:hlink>
        <a:folHlink>
          <a:srgbClr val="0070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CMPC_CF_QA0592.potx" id="{6AE423BA-A362-43D2-BDFF-58BFBDD04BA7}" vid="{5AA30268-DCA7-421D-BF9A-A6186ACAD70E}"/>
    </a:ext>
  </a:extLst>
</a:theme>
</file>

<file path=ppt/theme/theme8.xml><?xml version="1.0" encoding="utf-8"?>
<a:theme xmlns:a="http://schemas.openxmlformats.org/drawingml/2006/main" name="4_CMPC_CF_QA0592">
  <a:themeElements>
    <a:clrScheme name="Current">
      <a:dk1>
        <a:srgbClr val="000000"/>
      </a:dk1>
      <a:lt1>
        <a:srgbClr val="FFFFFF"/>
      </a:lt1>
      <a:dk2>
        <a:srgbClr val="009A46"/>
      </a:dk2>
      <a:lt2>
        <a:srgbClr val="FFFFFF"/>
      </a:lt2>
      <a:accent1>
        <a:srgbClr val="E2E2E2"/>
      </a:accent1>
      <a:accent2>
        <a:srgbClr val="92D050"/>
      </a:accent2>
      <a:accent3>
        <a:srgbClr val="808080"/>
      </a:accent3>
      <a:accent4>
        <a:srgbClr val="007033"/>
      </a:accent4>
      <a:accent5>
        <a:srgbClr val="FF6600"/>
      </a:accent5>
      <a:accent6>
        <a:srgbClr val="808080"/>
      </a:accent6>
      <a:hlink>
        <a:srgbClr val="808080"/>
      </a:hlink>
      <a:folHlink>
        <a:srgbClr val="0070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9A46"/>
        </a:dk2>
        <a:lt2>
          <a:srgbClr val="FFFFFF"/>
        </a:lt2>
        <a:accent1>
          <a:srgbClr val="E2E2E2"/>
        </a:accent1>
        <a:accent2>
          <a:srgbClr val="92D050"/>
        </a:accent2>
        <a:accent3>
          <a:srgbClr val="808080"/>
        </a:accent3>
        <a:accent4>
          <a:srgbClr val="007033"/>
        </a:accent4>
        <a:accent5>
          <a:srgbClr val="FF6600"/>
        </a:accent5>
        <a:accent6>
          <a:srgbClr val="808080"/>
        </a:accent6>
        <a:hlink>
          <a:srgbClr val="808080"/>
        </a:hlink>
        <a:folHlink>
          <a:srgbClr val="0070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CMPC_CF_QA0592.potx" id="{6AE423BA-A362-43D2-BDFF-58BFBDD04BA7}" vid="{5AA30268-DCA7-421D-BF9A-A6186ACAD70E}"/>
    </a:ext>
  </a:extLst>
</a:theme>
</file>

<file path=ppt/theme/theme9.xml><?xml version="1.0" encoding="utf-8"?>
<a:theme xmlns:a="http://schemas.openxmlformats.org/drawingml/2006/main" name="5_CMPC_CF_QA0592">
  <a:themeElements>
    <a:clrScheme name="Current">
      <a:dk1>
        <a:srgbClr val="000000"/>
      </a:dk1>
      <a:lt1>
        <a:srgbClr val="FFFFFF"/>
      </a:lt1>
      <a:dk2>
        <a:srgbClr val="009A46"/>
      </a:dk2>
      <a:lt2>
        <a:srgbClr val="FFFFFF"/>
      </a:lt2>
      <a:accent1>
        <a:srgbClr val="E2E2E2"/>
      </a:accent1>
      <a:accent2>
        <a:srgbClr val="92D050"/>
      </a:accent2>
      <a:accent3>
        <a:srgbClr val="808080"/>
      </a:accent3>
      <a:accent4>
        <a:srgbClr val="007033"/>
      </a:accent4>
      <a:accent5>
        <a:srgbClr val="FF6600"/>
      </a:accent5>
      <a:accent6>
        <a:srgbClr val="808080"/>
      </a:accent6>
      <a:hlink>
        <a:srgbClr val="808080"/>
      </a:hlink>
      <a:folHlink>
        <a:srgbClr val="0070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9A46"/>
        </a:dk2>
        <a:lt2>
          <a:srgbClr val="FFFFFF"/>
        </a:lt2>
        <a:accent1>
          <a:srgbClr val="E2E2E2"/>
        </a:accent1>
        <a:accent2>
          <a:srgbClr val="92D050"/>
        </a:accent2>
        <a:accent3>
          <a:srgbClr val="808080"/>
        </a:accent3>
        <a:accent4>
          <a:srgbClr val="007033"/>
        </a:accent4>
        <a:accent5>
          <a:srgbClr val="FF6600"/>
        </a:accent5>
        <a:accent6>
          <a:srgbClr val="808080"/>
        </a:accent6>
        <a:hlink>
          <a:srgbClr val="808080"/>
        </a:hlink>
        <a:folHlink>
          <a:srgbClr val="0070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CMPC_CF_QA0592.potx" id="{6AE423BA-A362-43D2-BDFF-58BFBDD04BA7}" vid="{5AA30268-DCA7-421D-BF9A-A6186ACAD70E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Application xmlns="http://www.sap.com/cof/powerpoint/application">
  <Version>2</Version>
  <Revision>2.3.0.57241</Revision>
</Application>
</file>

<file path=customXml/item2.xml><?xml version="1.0" encoding="utf-8"?>
<Application xmlns="http://www.sap.com/cof/ao/powerpoint/application">
  <com.sap.ip.bi.pioneer>
    <Version>4</Version>
    <AAO_Revision>2.3.0.57241</AAO_Revision>
    <RefreshOnOpen>False</RefreshOnOpen>
    <PlanningModeSetToChangeMode>True</PlanningModeSetToChangeMode>
    <Cleaned>False</Cleaned>
    <ForcePromptOnInitialRefresh>False</ForcePromptOnInitialRefresh>
    <StorePromptsInDocument>True</StorePromptsInDocument>
    <MergeVariables>False</MergeVariables>
    <WorkingMode>Local</WorkingMode>
    <RefreshPlanningObjectsOnRefreshAll>True</RefreshPlanningObjectsOnRefreshAll>
    <Items/>
  </com.sap.ip.bi.pioneer>
</Application>
</file>

<file path=customXml/itemProps1.xml><?xml version="1.0" encoding="utf-8"?>
<ds:datastoreItem xmlns:ds="http://schemas.openxmlformats.org/officeDocument/2006/customXml" ds:itemID="{083BAA94-E87F-43B0-90F6-1B49375B40EF}">
  <ds:schemaRefs>
    <ds:schemaRef ds:uri="http://www.sap.com/cof/powerpoint/application"/>
  </ds:schemaRefs>
</ds:datastoreItem>
</file>

<file path=customXml/itemProps2.xml><?xml version="1.0" encoding="utf-8"?>
<ds:datastoreItem xmlns:ds="http://schemas.openxmlformats.org/officeDocument/2006/customXml" ds:itemID="{D9A6E7C1-A4E3-47C6-933E-DF0665D442F8}">
  <ds:schemaRefs>
    <ds:schemaRef ds:uri="http://www.sap.com/cof/ao/powerpoint/applic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MPC_CF_QA0592</Template>
  <TotalTime>0</TotalTime>
  <Words>1863</Words>
  <Application>Microsoft Office PowerPoint</Application>
  <PresentationFormat>Panorámica</PresentationFormat>
  <Paragraphs>265</Paragraphs>
  <Slides>11</Slides>
  <Notes>8</Notes>
  <HiddenSlides>0</HiddenSlides>
  <MMClips>0</MMClips>
  <ScaleCrop>false</ScaleCrop>
  <HeadingPairs>
    <vt:vector size="8" baseType="variant">
      <vt:variant>
        <vt:lpstr>Fuentes usadas</vt:lpstr>
      </vt:variant>
      <vt:variant>
        <vt:i4>4</vt:i4>
      </vt:variant>
      <vt:variant>
        <vt:lpstr>Tema</vt:lpstr>
      </vt:variant>
      <vt:variant>
        <vt:i4>9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1</vt:i4>
      </vt:variant>
    </vt:vector>
  </HeadingPairs>
  <TitlesOfParts>
    <vt:vector size="25" baseType="lpstr">
      <vt:lpstr>ＭＳ Ｐゴシック</vt:lpstr>
      <vt:lpstr>Arial</vt:lpstr>
      <vt:lpstr>Calibri</vt:lpstr>
      <vt:lpstr>Wingdings</vt:lpstr>
      <vt:lpstr>CMPC_CF_QA0592</vt:lpstr>
      <vt:lpstr>2_Firm Format - Spanish</vt:lpstr>
      <vt:lpstr>3_Firm Format - Spanish</vt:lpstr>
      <vt:lpstr>4_Firm Format - Spanish</vt:lpstr>
      <vt:lpstr>1_CMPC_CF_QA0592</vt:lpstr>
      <vt:lpstr>2_CMPC_CF_QA0592</vt:lpstr>
      <vt:lpstr>3_CMPC_CF_QA0592</vt:lpstr>
      <vt:lpstr>4_CMPC_CF_QA0592</vt:lpstr>
      <vt:lpstr>5_CMPC_CF_QA0592</vt:lpstr>
      <vt:lpstr>Diapositiva de think-cell</vt:lpstr>
      <vt:lpstr>Objetivo Común </vt:lpstr>
      <vt:lpstr>Para lograr esta transformación, el modelo operacional best conlleva tres sistemas que debemos gestionar de forma integrada</vt:lpstr>
      <vt:lpstr>El Sistema de Gestión está compuesto de cuatro subsistemas</vt:lpstr>
      <vt:lpstr>…y que funcionan interconectados, reforzándose mutuamente, como en cualquier otro sistema complejo</vt:lpstr>
      <vt:lpstr>Los KPI y las metas crean un vínculo entre la aspiración y la ejecución  y una infraestructura que permite un seguimiento simple</vt:lpstr>
      <vt:lpstr>Los KPIs seleccionados tienen que ser relevantes para el área y cumplir con cinco criterios clave</vt:lpstr>
      <vt:lpstr>Los diálogos de desempeño son una de dos herramientas utilizadas para detectar desviaciones de la aspiración</vt:lpstr>
      <vt:lpstr>Presentación de PowerPoint</vt:lpstr>
      <vt:lpstr>Presentación de PowerPoint</vt:lpstr>
      <vt:lpstr>Ejemplo DdD real</vt:lpstr>
      <vt:lpstr>Objetivo Común </vt:lpstr>
    </vt:vector>
  </TitlesOfParts>
  <Manager/>
  <Company/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09-09T11:04:28Z</cp:lastPrinted>
  <dcterms:created xsi:type="dcterms:W3CDTF">2018-06-04T13:59:39Z</dcterms:created>
  <dcterms:modified xsi:type="dcterms:W3CDTF">2019-08-09T17:47:39Z</dcterms:modified>
  <cp:category/>
  <cp:contentStatus/>
  <dc:language/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GCompatibilityCheck Run By">
    <vt:lpwstr>Balaji Alluru</vt:lpwstr>
  </property>
  <property fmtid="{D5CDD505-2E9C-101B-9397-08002B2CF9AE}" pid="3" name="VGCompatibilityCheck Run On ">
    <vt:lpwstr>5/30/2018 11:16:36 PM</vt:lpwstr>
  </property>
</Properties>
</file>